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comments/modernComment_102_0.xml" ContentType="application/vnd.ms-powerpoint.comments+xml"/>
  <Override PartName="/ppt/tags/tag11.xml" ContentType="application/vnd.openxmlformats-officedocument.presentationml.tags+xml"/>
  <Override PartName="/ppt/notesSlides/notesSlide2.xml" ContentType="application/vnd.openxmlformats-officedocument.presentationml.notesSlide+xml"/>
  <Override PartName="/ppt/comments/modernComment_103_0.xml" ContentType="application/vnd.ms-powerpoint.comments+xml"/>
  <Override PartName="/ppt/notesSlides/notesSlide3.xml" ContentType="application/vnd.openxmlformats-officedocument.presentationml.notesSlide+xml"/>
  <Override PartName="/ppt/comments/modernComment_7FFFFEBA_2F3F598.xml" ContentType="application/vnd.ms-powerpoint.comment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comments/modernComment_7FFFFEAD_4EE0626F.xml" ContentType="application/vnd.ms-powerpoint.comments+xml"/>
  <Override PartName="/ppt/notesSlides/notesSlide7.xml" ContentType="application/vnd.openxmlformats-officedocument.presentationml.notesSlide+xml"/>
  <Override PartName="/ppt/comments/modernComment_106_0.xml" ContentType="application/vnd.ms-powerpoint.comments+xml"/>
  <Override PartName="/ppt/notesSlides/notesSlide8.xml" ContentType="application/vnd.openxmlformats-officedocument.presentationml.notesSlide+xml"/>
  <Override PartName="/ppt/comments/modernComment_107_0.xml" ContentType="application/vnd.ms-powerpoint.comment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omments/modernComment_10A_0.xml" ContentType="application/vnd.ms-powerpoint.comments+xml"/>
  <Override PartName="/ppt/notesSlides/notesSlide11.xml" ContentType="application/vnd.openxmlformats-officedocument.presentationml.notesSlide+xml"/>
  <Override PartName="/ppt/comments/modernComment_117_4AAA62A2.xml" ContentType="application/vnd.ms-powerpoint.comment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omments/modernComment_7FFFFEB5_27FB1D9F.xml" ContentType="application/vnd.ms-powerpoint.comment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omments/modernComment_108_0.xml" ContentType="application/vnd.ms-powerpoint.comment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omments/modernComment_7FFFD22A_D794FD72.xml" ContentType="application/vnd.ms-powerpoint.comments+xml"/>
  <Override PartName="/ppt/notesSlides/notesSlide22.xml" ContentType="application/vnd.openxmlformats-officedocument.presentationml.notesSlide+xml"/>
  <Override PartName="/ppt/comments/modernComment_7FFFFEAB_A761E530.xml" ContentType="application/vnd.ms-powerpoint.comment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omments/modernComment_7FFFFEB3_75C19485.xml" ContentType="application/vnd.ms-powerpoint.comments+xml"/>
  <Override PartName="/ppt/notesSlides/notesSlide26.xml" ContentType="application/vnd.openxmlformats-officedocument.presentationml.notesSlide+xml"/>
  <Override PartName="/ppt/comments/modernComment_10F_0.xml" ContentType="application/vnd.ms-powerpoint.comment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4.xml" ContentType="application/vnd.openxmlformats-officedocument.presentationml.tags+xml"/>
  <Override PartName="/ppt/notesSlides/notesSlide29.xml" ContentType="application/vnd.openxmlformats-officedocument.presentationml.notesSlide+xml"/>
  <Override PartName="/ppt/comments/modernComment_110_0.xml" ContentType="application/vnd.ms-powerpoint.comments+xml"/>
  <Override PartName="/ppt/notesSlides/notesSlide30.xml" ContentType="application/vnd.openxmlformats-officedocument.presentationml.notesSlide+xml"/>
  <Override PartName="/ppt/comments/modernComment_7FFFFEB4_994EACED.xml" ContentType="application/vnd.ms-powerpoint.comment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omments/modernComment_112_0.xml" ContentType="application/vnd.ms-powerpoint.comments+xml"/>
  <Override PartName="/ppt/notesSlides/notesSlide3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740" r:id="rId4"/>
    <p:sldMasterId id="2147483741" r:id="rId5"/>
    <p:sldMasterId id="2147484258" r:id="rId6"/>
    <p:sldMasterId id="2147484299" r:id="rId7"/>
  </p:sldMasterIdLst>
  <p:notesMasterIdLst>
    <p:notesMasterId r:id="rId43"/>
  </p:notesMasterIdLst>
  <p:sldIdLst>
    <p:sldId id="258" r:id="rId8"/>
    <p:sldId id="259" r:id="rId9"/>
    <p:sldId id="2147483322" r:id="rId10"/>
    <p:sldId id="2147483321" r:id="rId11"/>
    <p:sldId id="2147483312" r:id="rId12"/>
    <p:sldId id="2147483309" r:id="rId13"/>
    <p:sldId id="2147483320" r:id="rId14"/>
    <p:sldId id="262" r:id="rId15"/>
    <p:sldId id="263" r:id="rId16"/>
    <p:sldId id="2147483327" r:id="rId17"/>
    <p:sldId id="2147483319" r:id="rId18"/>
    <p:sldId id="266" r:id="rId19"/>
    <p:sldId id="279" r:id="rId20"/>
    <p:sldId id="280" r:id="rId21"/>
    <p:sldId id="2147483326" r:id="rId22"/>
    <p:sldId id="2147483317" r:id="rId23"/>
    <p:sldId id="2147483323" r:id="rId24"/>
    <p:sldId id="264" r:id="rId25"/>
    <p:sldId id="267" r:id="rId26"/>
    <p:sldId id="268" r:id="rId27"/>
    <p:sldId id="269" r:id="rId28"/>
    <p:sldId id="2147483318" r:id="rId29"/>
    <p:sldId id="2147471914" r:id="rId30"/>
    <p:sldId id="2147483307" r:id="rId31"/>
    <p:sldId id="2147483324" r:id="rId32"/>
    <p:sldId id="2147483313" r:id="rId33"/>
    <p:sldId id="2147483315" r:id="rId34"/>
    <p:sldId id="271" r:id="rId35"/>
    <p:sldId id="2147483311" r:id="rId36"/>
    <p:sldId id="2147483325" r:id="rId37"/>
    <p:sldId id="272" r:id="rId38"/>
    <p:sldId id="2147483316" r:id="rId39"/>
    <p:sldId id="273" r:id="rId40"/>
    <p:sldId id="274" r:id="rId41"/>
    <p:sldId id="275" r:id="rId42"/>
  </p:sldIdLst>
  <p:sldSz cx="24377650" cy="13716000"/>
  <p:notesSz cx="6858000" cy="9144000"/>
  <p:embeddedFontLst>
    <p:embeddedFont>
      <p:font typeface="Century Gothic" panose="020B0502020202020204" pitchFamily="34" charset="0"/>
      <p:regular r:id="rId44"/>
      <p:bold r:id="rId45"/>
      <p:italic r:id="rId46"/>
      <p:boldItalic r:id="rId47"/>
    </p:embeddedFont>
    <p:embeddedFont>
      <p:font typeface="KPMG Bold" panose="020B0803030202040204" pitchFamily="34" charset="0"/>
      <p:bold r:id="rId48"/>
      <p:boldItalic r:id="rId49"/>
    </p:embeddedFont>
    <p:embeddedFont>
      <p:font typeface="Montserrat" panose="00000500000000000000"/>
      <p:regular r:id="rId50"/>
      <p:bold r:id="rId51"/>
      <p:italic r:id="rId52"/>
      <p:boldItalic r:id="rId53"/>
    </p:embeddedFont>
    <p:embeddedFont>
      <p:font typeface="Montserrat Black"/>
      <p:bold r:id="rId54"/>
      <p:boldItalic r:id="rId55"/>
    </p:embeddedFont>
    <p:embeddedFont>
      <p:font typeface="Montserrat Medium"/>
      <p:regular r:id="rId56"/>
      <p:bold r:id="rId57"/>
      <p:italic r:id="rId58"/>
      <p:boldItalic r:id="rId59"/>
    </p:embeddedFont>
    <p:embeddedFont>
      <p:font typeface="Open Sans" panose="020B0606030504020204"/>
      <p:regular r:id="rId60"/>
      <p:bold r:id="rId61"/>
      <p:italic r:id="rId62"/>
      <p:boldItalic r:id="rId63"/>
    </p:embeddedFont>
    <p:embeddedFont>
      <p:font typeface="Open Sans Light"/>
      <p:regular r:id="rId64"/>
      <p:bold r:id="rId65"/>
      <p:italic r:id="rId66"/>
      <p:boldItalic r:id="rId67"/>
    </p:embeddedFont>
    <p:embeddedFont>
      <p:font typeface="Times" panose="02020603050405020304" pitchFamily="18" charset="0"/>
      <p:regular r:id="rId68"/>
      <p:bold r:id="rId69"/>
      <p:italic r:id="rId70"/>
      <p:boldItalic r:id="rId71"/>
    </p:embeddedFont>
  </p:embeddedFontLst>
  <p:custDataLst>
    <p:tags r:id="rId72"/>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57FCD3D4-3F6E-4A38-92E2-D6AA2E52EE8E}">
          <p14:sldIdLst>
            <p14:sldId id="258"/>
            <p14:sldId id="259"/>
            <p14:sldId id="2147483322"/>
            <p14:sldId id="2147483321"/>
            <p14:sldId id="2147483312"/>
            <p14:sldId id="2147483309"/>
            <p14:sldId id="2147483320"/>
            <p14:sldId id="262"/>
            <p14:sldId id="263"/>
            <p14:sldId id="2147483327"/>
            <p14:sldId id="2147483319"/>
            <p14:sldId id="266"/>
            <p14:sldId id="279"/>
            <p14:sldId id="280"/>
            <p14:sldId id="2147483326"/>
            <p14:sldId id="2147483317"/>
            <p14:sldId id="2147483323"/>
            <p14:sldId id="264"/>
            <p14:sldId id="267"/>
            <p14:sldId id="268"/>
            <p14:sldId id="269"/>
            <p14:sldId id="2147483318"/>
            <p14:sldId id="2147471914"/>
            <p14:sldId id="2147483307"/>
            <p14:sldId id="2147483324"/>
            <p14:sldId id="2147483313"/>
            <p14:sldId id="2147483315"/>
            <p14:sldId id="271"/>
            <p14:sldId id="2147483311"/>
            <p14:sldId id="2147483325"/>
            <p14:sldId id="272"/>
            <p14:sldId id="2147483316"/>
            <p14:sldId id="273"/>
            <p14:sldId id="274"/>
            <p14:sldId id="275"/>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08CD112-A2BF-C2B6-1D1C-6EF0C709E30F}" name="Curley, Jessica" initials="CJ" userId="S::jcurley@kpmg.com::4b32ea25-2004-4161-81db-bd48c7a31010" providerId="AD"/>
  <p188:author id="{5A607524-182C-245A-3FCC-62D95C69C8B2}" name="Curley, Jessica" initials="JC" userId="Curley, Jessica" providerId="None"/>
  <p188:author id="{9226EB5E-9B04-B549-EE21-C332E212DA5E}" name="Leach, Jim" initials="" userId="S::jimleach@kpmg.com::ddf46336-50a8-4a7d-b986-a585ab343462" providerId="AD"/>
  <p188:author id="{08B00983-48C7-E182-A1D1-8902BCEE8455}" name="Dao, Khoi" initials="" userId="S::khoidao@kpmg.com::a5adfc0e-8c39-4741-8c2e-fd6800982d0d" providerId="AD"/>
  <p188:author id="{E10475CF-2E04-8722-C3B3-1CF6BD627174}" name="Madiraju, Anika" initials="MA" userId="S::amadiraju@kpmg.com::d070081e-1593-46cf-b0f5-117c439ad280"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7FF8F"/>
    <a:srgbClr val="C1F400"/>
    <a:srgbClr val="0563C1"/>
    <a:srgbClr val="FA62E4"/>
    <a:srgbClr val="CB17E9"/>
    <a:srgbClr val="D29500"/>
    <a:srgbClr val="808080"/>
    <a:srgbClr val="C0C0C0"/>
    <a:srgbClr val="B07DE4"/>
    <a:srgbClr val="002A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6E319D4-6F16-4142-9981-3D1412CB1F05}" v="4" dt="2024-08-23T16:22:38.325"/>
    <p1510:client id="{92C6B114-5718-4890-9AD6-B96482E56587}" v="2132" dt="2024-08-14T20:14:39.612"/>
  </p1510:revLst>
</p1510:revInfo>
</file>

<file path=ppt/tableStyles.xml><?xml version="1.0" encoding="utf-8"?>
<a:tblStyleLst xmlns:a="http://schemas.openxmlformats.org/drawingml/2006/main" def="{808865FD-88DD-49D3-9B5D-C45A42B467EB}">
  <a:tblStyle styleId="{808865FD-88DD-49D3-9B5D-C45A42B467EB}"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1" d="100"/>
          <a:sy n="51" d="100"/>
        </p:scale>
        <p:origin x="144" y="18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font" Target="fonts/font4.fntdata"/><Relationship Id="rId63" Type="http://schemas.openxmlformats.org/officeDocument/2006/relationships/font" Target="fonts/font20.fntdata"/><Relationship Id="rId68" Type="http://schemas.openxmlformats.org/officeDocument/2006/relationships/font" Target="fonts/font25.fntdata"/><Relationship Id="rId16" Type="http://schemas.openxmlformats.org/officeDocument/2006/relationships/slide" Target="slides/slide9.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font" Target="fonts/font2.fntdata"/><Relationship Id="rId53" Type="http://schemas.openxmlformats.org/officeDocument/2006/relationships/font" Target="fonts/font10.fntdata"/><Relationship Id="rId58" Type="http://schemas.openxmlformats.org/officeDocument/2006/relationships/font" Target="fonts/font15.fntdata"/><Relationship Id="rId66" Type="http://schemas.openxmlformats.org/officeDocument/2006/relationships/font" Target="fonts/font23.fntdata"/><Relationship Id="rId74"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font" Target="fonts/font18.fntdata"/><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notesMaster" Target="notesMasters/notesMaster1.xml"/><Relationship Id="rId48" Type="http://schemas.openxmlformats.org/officeDocument/2006/relationships/font" Target="fonts/font5.fntdata"/><Relationship Id="rId56" Type="http://schemas.openxmlformats.org/officeDocument/2006/relationships/font" Target="fonts/font13.fntdata"/><Relationship Id="rId64" Type="http://schemas.openxmlformats.org/officeDocument/2006/relationships/font" Target="fonts/font21.fntdata"/><Relationship Id="rId69" Type="http://schemas.openxmlformats.org/officeDocument/2006/relationships/font" Target="fonts/font26.fntdata"/><Relationship Id="rId77" Type="http://schemas.microsoft.com/office/2015/10/relationships/revisionInfo" Target="revisionInfo.xml"/><Relationship Id="rId8" Type="http://schemas.openxmlformats.org/officeDocument/2006/relationships/slide" Target="slides/slide1.xml"/><Relationship Id="rId51" Type="http://schemas.openxmlformats.org/officeDocument/2006/relationships/font" Target="fonts/font8.fntdata"/><Relationship Id="rId72"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font" Target="fonts/font3.fntdata"/><Relationship Id="rId59" Type="http://schemas.openxmlformats.org/officeDocument/2006/relationships/font" Target="fonts/font16.fntdata"/><Relationship Id="rId67" Type="http://schemas.openxmlformats.org/officeDocument/2006/relationships/font" Target="fonts/font24.fntdata"/><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font" Target="fonts/font11.fntdata"/><Relationship Id="rId62" Type="http://schemas.openxmlformats.org/officeDocument/2006/relationships/font" Target="fonts/font19.fntdata"/><Relationship Id="rId70" Type="http://schemas.openxmlformats.org/officeDocument/2006/relationships/font" Target="fonts/font27.fntdata"/><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font" Target="fonts/font6.fntdata"/><Relationship Id="rId57" Type="http://schemas.openxmlformats.org/officeDocument/2006/relationships/font" Target="fonts/font14.fntdata"/><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font" Target="fonts/font1.fntdata"/><Relationship Id="rId52" Type="http://schemas.openxmlformats.org/officeDocument/2006/relationships/font" Target="fonts/font9.fntdata"/><Relationship Id="rId60" Type="http://schemas.openxmlformats.org/officeDocument/2006/relationships/font" Target="fonts/font17.fntdata"/><Relationship Id="rId65" Type="http://schemas.openxmlformats.org/officeDocument/2006/relationships/font" Target="fonts/font22.fntdata"/><Relationship Id="rId73" Type="http://schemas.openxmlformats.org/officeDocument/2006/relationships/presProps" Target="presProps.xml"/><Relationship Id="rId78"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font" Target="fonts/font7.fntdata"/><Relationship Id="rId55" Type="http://schemas.openxmlformats.org/officeDocument/2006/relationships/font" Target="fonts/font12.fntdata"/><Relationship Id="rId76"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font" Target="fonts/font28.fntdata"/><Relationship Id="rId2" Type="http://schemas.openxmlformats.org/officeDocument/2006/relationships/customXml" Target="../customXml/item2.xml"/><Relationship Id="rId29" Type="http://schemas.openxmlformats.org/officeDocument/2006/relationships/slide" Target="slides/slide22.xml"/></Relationships>
</file>

<file path=ppt/comments/modernComment_102_0.xml><?xml version="1.0" encoding="utf-8"?>
<p188:cmLst xmlns:a="http://schemas.openxmlformats.org/drawingml/2006/main" xmlns:r="http://schemas.openxmlformats.org/officeDocument/2006/relationships" xmlns:p188="http://schemas.microsoft.com/office/powerpoint/2018/8/main">
  <p188:cm id="{26A79A7B-644E-4796-A3B4-5F99E563C6BB}" authorId="{E10475CF-2E04-8722-C3B3-1CF6BD627174}" status="resolved" created="2024-07-29T21:08:17.261" complete="100000">
    <ac:txMkLst xmlns:ac="http://schemas.microsoft.com/office/drawing/2013/main/command">
      <pc:docMk xmlns:pc="http://schemas.microsoft.com/office/powerpoint/2013/main/command"/>
      <pc:sldMk xmlns:pc="http://schemas.microsoft.com/office/powerpoint/2013/main/command" cId="0" sldId="258"/>
      <ac:spMk id="1305" creationId="{00000000-0000-0000-0000-000000000000}"/>
      <ac:txMk cp="0" len="251">
        <ac:context len="252" hash="3979531704"/>
      </ac:txMk>
    </ac:txMkLst>
    <p188:txBody>
      <a:bodyPr/>
      <a:lstStyle/>
      <a:p>
        <a:r>
          <a:rPr lang="en-US"/>
          <a:t>Remove when done</a:t>
        </a:r>
      </a:p>
    </p188:txBody>
  </p188:cm>
</p188:cmLst>
</file>

<file path=ppt/comments/modernComment_103_0.xml><?xml version="1.0" encoding="utf-8"?>
<p188:cmLst xmlns:a="http://schemas.openxmlformats.org/drawingml/2006/main" xmlns:r="http://schemas.openxmlformats.org/officeDocument/2006/relationships" xmlns:p188="http://schemas.microsoft.com/office/powerpoint/2018/8/main">
  <p188:cm id="{EABE0700-2060-4B86-B785-35A9C80058D8}" authorId="{E10475CF-2E04-8722-C3B3-1CF6BD627174}" status="resolved" created="2024-07-30T03:51:27.385" complete="100000">
    <ac:txMkLst xmlns:ac="http://schemas.microsoft.com/office/drawing/2013/main/command">
      <pc:docMk xmlns:pc="http://schemas.microsoft.com/office/powerpoint/2013/main/command"/>
      <pc:sldMk xmlns:pc="http://schemas.microsoft.com/office/powerpoint/2013/main/command" cId="0" sldId="259"/>
      <ac:spMk id="1311" creationId="{00000000-0000-0000-0000-000000000000}"/>
      <ac:txMk cp="25" len="18">
        <ac:context len="46" hash="2773392404"/>
      </ac:txMk>
    </ac:txMkLst>
    <p188:pos x="16595795" y="591850"/>
    <p188:replyLst>
      <p188:reply id="{3732DBD5-19D5-401A-8A00-A2CD364EA367}" authorId="{9226EB5E-9B04-B549-EE21-C332E212DA5E}" created="2024-08-01T19:56:23.307">
        <p188:txBody>
          <a:bodyPr/>
          <a:lstStyle/>
          <a:p>
            <a:r>
              <a:rPr lang="en-US"/>
              <a:t>I just emailed the group of those I think are still involved.</a:t>
            </a:r>
          </a:p>
        </p188:txBody>
      </p188:reply>
    </p188:replyLst>
    <p188:txBody>
      <a:bodyPr/>
      <a:lstStyle/>
      <a:p>
        <a:r>
          <a:rPr lang="en-US"/>
          <a:t>[@Curley, Jessica] do I add in all of the people listed here as challenge advisors? https://kpmgus.sharepoint.com/:x:/r/sites/US-BreakThroughTechSprinternship/_layouts/15/Doc.aspx?sourcedoc=%7B5E2A0573-39F2-4796-B4E9-6063B99C73A6%7D&amp;file=Mentors%20-%20BTT%20AI%20Studio%202024.xlsx&amp;action=default&amp;mobileredirect=true</a:t>
        </a:r>
      </a:p>
    </p188:txBody>
  </p188:cm>
  <p188:cm id="{F59EABFF-4D62-41B8-A49E-71E26786A584}" authorId="{E10475CF-2E04-8722-C3B3-1CF6BD627174}" status="resolved" created="2024-07-30T18:48:25.687" startDate="2024-08-12T13:17:55.785" dueDate="2024-08-12T13:17:55.785" assignedTo="{E10475CF-2E04-8722-C3B3-1CF6BD627174}" complete="100000" title="@Madiraju, Anika their images are in the folder https://kpmgus.sharepoint.com/:f:/r/sites/US-BreakThroughTechSprinternship/Shared%20Documents/AI%20Studio/BTT%20AI%202024/pictures?csf=1&amp;web=1&amp;e=2dFKYk and team assignments are in the table on this slide. …">
    <ac:txMkLst xmlns:ac="http://schemas.microsoft.com/office/drawing/2013/main/command">
      <pc:docMk xmlns:pc="http://schemas.microsoft.com/office/powerpoint/2013/main/command"/>
      <pc:sldMk xmlns:pc="http://schemas.microsoft.com/office/powerpoint/2013/main/command" cId="0" sldId="259"/>
      <ac:spMk id="1311" creationId="{00000000-0000-0000-0000-000000000000}"/>
      <ac:txMk cp="25" len="19">
        <ac:context len="46" hash="2773392404"/>
      </ac:txMk>
    </ac:txMkLst>
    <p188:pos x="17108588" y="696353"/>
    <p188:replyLst>
      <p188:reply id="{C25D07C2-09C1-444B-9C4E-C9FD9A462D4B}" authorId="{9226EB5E-9B04-B549-EE21-C332E212DA5E}" created="2024-08-01T19:56:34.062">
        <p188:txBody>
          <a:bodyPr/>
          <a:lstStyle/>
          <a:p>
            <a:r>
              <a:rPr lang="en-US"/>
              <a:t>Yeah I've asked folks to send, we'll get them added.</a:t>
            </a:r>
          </a:p>
        </p188:txBody>
        <p188:extLst>
          <p:ext xmlns:p="http://schemas.openxmlformats.org/presentationml/2006/main" uri="{57CB4572-C831-44C2-8A1C-0ADB6CCDFE69}">
            <p223:reactions xmlns:p223="http://schemas.microsoft.com/office/powerpoint/2022/03/main">
              <p223:rxn type="👍">
                <p223:instance time="2024-08-01T20:00:39.436" authorId="{5A607524-182C-245A-3FCC-62D95C69C8B2}"/>
              </p223:rxn>
            </p223:reactions>
          </p:ext>
        </p188:extLst>
      </p188:reply>
      <p188:reply id="{CFFC697C-929C-40D2-A1ED-1749D9E9CD27}" authorId="{5A607524-182C-245A-3FCC-62D95C69C8B2}" created="2024-08-01T20:00:44.303">
        <p188:txBody>
          <a:bodyPr/>
          <a:lstStyle/>
          <a:p>
            <a:r>
              <a:rPr lang="en-US"/>
              <a:t>Added my deets here</a:t>
            </a:r>
          </a:p>
        </p188:txBody>
      </p188:reply>
      <p188:reply id="{1394E172-3104-4BEF-A75D-093FF2F69494}" authorId="{408CD112-A2BF-C2B6-1D1C-6EF0C709E30F}" created="2024-08-12T13:17:55.785">
        <p188:txBody>
          <a:bodyPr/>
          <a:lstStyle/>
          <a:p>
            <a:r>
              <a:rPr lang="en-US"/>
              <a:t>[@Madiraju, Anika]  their images are in the folder https://kpmgus.sharepoint.com/:f:/r/sites/US-BreakThroughTechSprinternship/Shared%20Documents/AI%20Studio/BTT%20AI%202024/pictures?csf=1&amp;web=1&amp;e=2dFKYk
and team assignments are in the table on this slide. Can you add their details? 
You will also see their details in this file (emails, job title) https://kpmgus.sharepoint.com/:x:/r/sites/US-BreakThroughTechSprinternship/Shared%20Documents/AI%20Studio/BTT%20AI%202024/Mentors%20-%20BTT%20AI%20Studio%202024.xlsx?d=w5e2a057339f24796b4e96063b99c73a6&amp;csf=1&amp;web=1&amp;e=5I0Y9j</a:t>
            </a:r>
          </a:p>
        </p188:txBody>
      </p188:reply>
    </p188:replyLst>
    <p188:txBody>
      <a:bodyPr/>
      <a:lstStyle/>
      <a:p>
        <a:r>
          <a:rPr lang="en-US"/>
          <a:t>[@Leach, Jim] Would the challenge advisors be able to add their headshot and information?</a:t>
        </a:r>
      </a:p>
    </p188:txBody>
    <p188:extLst>
      <p:ext xmlns:p="http://schemas.openxmlformats.org/presentationml/2006/main" uri="{5BB2D875-25FF-4072-B9AC-8F64D62656EB}">
        <p228:taskDetails xmlns:p228="http://schemas.microsoft.com/office/powerpoint/2022/08/main">
          <p228:history>
            <p228:event time="2024-08-12T13:17:55.785" id="{6FD6A166-6FC9-4B73-A7AE-5FC751A803FB}">
              <p228:atrbtn authorId="{408CD112-A2BF-C2B6-1D1C-6EF0C709E30F}"/>
              <p228:anchr>
                <p228:comment id="{1394E172-3104-4BEF-A75D-093FF2F69494}"/>
              </p228:anchr>
              <p228:add/>
            </p228:event>
            <p228:event time="2024-08-12T13:17:55.785" id="{19C7A5D2-735A-4468-884B-7D0A731814AF}">
              <p228:atrbtn authorId="{408CD112-A2BF-C2B6-1D1C-6EF0C709E30F}"/>
              <p228:anchr>
                <p228:comment id="{1394E172-3104-4BEF-A75D-093FF2F69494}"/>
              </p228:anchr>
              <p228:asgn authorId="{E10475CF-2E04-8722-C3B3-1CF6BD627174}"/>
            </p228:event>
            <p228:event time="2024-08-12T13:17:55.785" id="{6DA9D8EA-F665-4917-8B82-8BCC628DB9FA}">
              <p228:atrbtn authorId="{408CD112-A2BF-C2B6-1D1C-6EF0C709E30F}"/>
              <p228:anchr>
                <p228:comment id="{1394E172-3104-4BEF-A75D-093FF2F69494}"/>
              </p228:anchr>
              <p228:date stDt="2024-08-12T13:17:55.785" endDt="2024-08-12T13:17:55.785"/>
            </p228:event>
            <p228:event time="2024-08-12T13:17:55.785" id="{B85FA29C-4FEE-4090-97F7-FCA4C1886DCD}">
              <p228:atrbtn authorId="{408CD112-A2BF-C2B6-1D1C-6EF0C709E30F}"/>
              <p228:anchr>
                <p228:comment id="{1394E172-3104-4BEF-A75D-093FF2F69494}"/>
              </p228:anchr>
              <p228:title val="@Madiraju, Anika their images are in the folder https://kpmgus.sharepoint.com/:f:/r/sites/US-BreakThroughTechSprinternship/Shared%20Documents/AI%20Studio/BTT%20AI%202024/pictures?csf=1&amp;web=1&amp;e=2dFKYk and team assignments are in the table on this slide. …"/>
            </p228:event>
            <p228:event time="2024-08-12T15:17:40.109" id="{649D92C4-1C10-42D4-8E3C-DBE7D8821B28}">
              <p228:atrbtn authorId="{9226EB5E-9B04-B549-EE21-C332E212DA5E}"/>
              <p228:anchr>
                <p228:comment id="{00000000-0000-0000-0000-000000000000}"/>
              </p228:anchr>
              <p228:pcntCmplt val="100000"/>
            </p228:event>
          </p228:history>
        </p228:taskDetails>
      </p:ext>
    </p188:extLst>
  </p188:cm>
  <p188:cm id="{226B82D8-249A-4890-8001-57A5AD8A1E1A}" authorId="{E10475CF-2E04-8722-C3B3-1CF6BD627174}" status="resolved" created="2024-08-12T14:22:23.902" complete="100000">
    <ac:deMkLst xmlns:ac="http://schemas.microsoft.com/office/drawing/2013/main/command">
      <pc:docMk xmlns:pc="http://schemas.microsoft.com/office/powerpoint/2013/main/command"/>
      <pc:sldMk xmlns:pc="http://schemas.microsoft.com/office/powerpoint/2013/main/command" cId="0" sldId="259"/>
      <ac:picMk id="38" creationId="{A1FDC56F-D94A-96B8-73F0-B749D7A1FB63}"/>
    </ac:deMkLst>
    <p188:replyLst>
      <p188:reply id="{BB8F6831-86CF-4189-BF1F-3BEDEBD4C279}" authorId="{9226EB5E-9B04-B549-EE21-C332E212DA5E}" created="2024-08-12T15:17:28.160">
        <p188:txBody>
          <a:bodyPr/>
          <a:lstStyle/>
          <a:p>
            <a:r>
              <a:rPr lang="en-US"/>
              <a:t>[@Dao, Khoi] can we get your headshot, too, please?</a:t>
            </a:r>
          </a:p>
        </p188:txBody>
      </p188:reply>
      <p188:reply id="{2F6BF9A0-8982-48BF-A78E-240252BFA018}" authorId="{08B00983-48C7-E182-A1D1-8902BCEE8455}" created="2024-08-12T15:28:39.486">
        <p188:txBody>
          <a:bodyPr/>
          <a:lstStyle/>
          <a:p>
            <a:r>
              <a:rPr lang="en-US"/>
              <a:t>done</a:t>
            </a:r>
          </a:p>
        </p188:txBody>
      </p188:reply>
    </p188:replyLst>
    <p188:txBody>
      <a:bodyPr/>
      <a:lstStyle/>
      <a:p>
        <a:r>
          <a:rPr lang="en-US"/>
          <a:t>Update</a:t>
        </a:r>
      </a:p>
    </p188:txBody>
    <p188:extLst>
      <p:ext xmlns:p="http://schemas.openxmlformats.org/presentationml/2006/main" uri="{57CB4572-C831-44C2-8A1C-0ADB6CCDFE69}">
        <p223:reactions xmlns:p223="http://schemas.microsoft.com/office/powerpoint/2022/03/main">
          <p223:rxn type="👍">
            <p223:instance time="2024-08-12T15:28:48.477" authorId="{5A607524-182C-245A-3FCC-62D95C69C8B2}"/>
          </p223:rxn>
        </p223:reactions>
      </p:ext>
    </p188:extLst>
  </p188:cm>
</p188:cmLst>
</file>

<file path=ppt/comments/modernComment_106_0.xml><?xml version="1.0" encoding="utf-8"?>
<p188:cmLst xmlns:a="http://schemas.openxmlformats.org/drawingml/2006/main" xmlns:r="http://schemas.openxmlformats.org/officeDocument/2006/relationships" xmlns:p188="http://schemas.microsoft.com/office/powerpoint/2018/8/main">
  <p188:cm id="{40912BF9-5D45-4F45-9297-FD3E1B46969E}" authorId="{E10475CF-2E04-8722-C3B3-1CF6BD627174}" created="2024-07-31T16:11:11.882">
    <ac:txMkLst xmlns:ac="http://schemas.microsoft.com/office/drawing/2013/main/command">
      <pc:docMk xmlns:pc="http://schemas.microsoft.com/office/powerpoint/2013/main/command"/>
      <pc:sldMk xmlns:pc="http://schemas.microsoft.com/office/powerpoint/2013/main/command" cId="0" sldId="262"/>
      <ac:spMk id="1348" creationId="{00000000-0000-0000-0000-000000000000}"/>
      <ac:txMk cp="330" len="21">
        <ac:context len="1124" hash="113352756"/>
      </ac:txMk>
    </ac:txMkLst>
    <p188:pos x="5833545" y="4587810"/>
    <p188:txBody>
      <a:bodyPr/>
      <a:lstStyle/>
      <a:p>
        <a:r>
          <a:rPr lang="en-US"/>
          <a:t>Instruction: [List the specific goals you’d like the students to try to achieve over the next 3 months]</a:t>
        </a:r>
      </a:p>
    </p188:txBody>
  </p188:cm>
  <p188:cm id="{8747A79E-C335-4623-9A9F-B4D0F58A077D}" authorId="{E10475CF-2E04-8722-C3B3-1CF6BD627174}" created="2024-07-31T16:12:02.307">
    <ac:txMkLst xmlns:ac="http://schemas.microsoft.com/office/drawing/2013/main/command">
      <pc:docMk xmlns:pc="http://schemas.microsoft.com/office/powerpoint/2013/main/command"/>
      <pc:sldMk xmlns:pc="http://schemas.microsoft.com/office/powerpoint/2013/main/command" cId="0" sldId="262"/>
      <ac:spMk id="1348" creationId="{00000000-0000-0000-0000-000000000000}"/>
      <ac:txMk cp="768" len="16">
        <ac:context len="1124" hash="113352756"/>
      </ac:txMk>
    </ac:txMkLst>
    <p188:pos x="4827705" y="9007410"/>
    <p188:txBody>
      <a:bodyPr/>
      <a:lstStyle/>
      <a:p>
        <a:r>
          <a:rPr lang="en-US"/>
          <a:t>Instruction: [Summarize what you’d like the students to present back to your company in December] </a:t>
        </a:r>
      </a:p>
    </p188:txBody>
  </p188:cm>
  <p188:cm id="{88D6A22A-248C-404F-9AE1-EC24A55A4113}" authorId="{5A607524-182C-245A-3FCC-62D95C69C8B2}" created="2024-07-31T20:25:29.002">
    <ac:txMkLst xmlns:ac="http://schemas.microsoft.com/office/drawing/2013/main/command">
      <pc:docMk xmlns:pc="http://schemas.microsoft.com/office/powerpoint/2013/main/command"/>
      <pc:sldMk xmlns:pc="http://schemas.microsoft.com/office/powerpoint/2013/main/command" cId="0" sldId="262"/>
      <ac:spMk id="1348" creationId="{00000000-0000-0000-0000-000000000000}"/>
      <ac:txMk cp="692" len="25">
        <ac:context len="1124" hash="113352756"/>
      </ac:txMk>
    </ac:txMkLst>
    <p188:pos x="7845225" y="7269068"/>
    <p188:txBody>
      <a:bodyPr/>
      <a:lstStyle/>
      <a:p>
        <a:r>
          <a:rPr lang="en-US"/>
          <a:t>Update if using more data</a:t>
        </a:r>
      </a:p>
    </p188:txBody>
  </p188:cm>
</p188:cmLst>
</file>

<file path=ppt/comments/modernComment_107_0.xml><?xml version="1.0" encoding="utf-8"?>
<p188:cmLst xmlns:a="http://schemas.openxmlformats.org/drawingml/2006/main" xmlns:r="http://schemas.openxmlformats.org/officeDocument/2006/relationships" xmlns:p188="http://schemas.microsoft.com/office/powerpoint/2018/8/main">
  <p188:cm id="{09EBA861-4187-4382-908A-E0892EB9BA28}" authorId="{E10475CF-2E04-8722-C3B3-1CF6BD627174}" status="resolved" created="2024-07-31T16:18:12.031" complete="100000">
    <ac:txMkLst xmlns:ac="http://schemas.microsoft.com/office/drawing/2013/main/command">
      <pc:docMk xmlns:pc="http://schemas.microsoft.com/office/powerpoint/2013/main/command"/>
      <pc:sldMk xmlns:pc="http://schemas.microsoft.com/office/powerpoint/2013/main/command" cId="0" sldId="263"/>
      <ac:spMk id="1354" creationId="{00000000-0000-0000-0000-000000000000}"/>
      <ac:txMk cp="0">
        <ac:context len="52" hash="4292168605"/>
      </ac:txMk>
    </ac:txMkLst>
    <p188:pos x="6615376" y="804385"/>
    <p188:txBody>
      <a:bodyPr/>
      <a:lstStyle/>
      <a:p>
        <a:r>
          <a:rPr lang="en-US"/>
          <a:t>Instruction: 
[Provide info on the industry your company operates in]
[Explain the business problem that the Challenge Project addresses or pertains to]
[Explain the importance of this project to your company (or, if it’s a representative challenge for educational purposes, why this project is relevant to the students’ growth as future AI/ML professionals)]</a:t>
        </a:r>
      </a:p>
    </p188:txBody>
  </p188:cm>
  <p188:cm id="{86B3F51A-699D-479E-B59A-9C0502EA8B2D}" authorId="{5A607524-182C-245A-3FCC-62D95C69C8B2}" status="resolved" created="2024-07-31T20:13:31.633" complete="100000">
    <pc:sldMkLst xmlns:pc="http://schemas.microsoft.com/office/powerpoint/2013/main/command">
      <pc:docMk/>
      <pc:sldMk cId="0" sldId="263"/>
    </pc:sldMkLst>
    <p188:txBody>
      <a:bodyPr/>
      <a:lstStyle/>
      <a:p>
        <a:r>
          <a:rPr lang="en-US"/>
          <a:t>This is where C5LA would speak</a:t>
        </a:r>
      </a:p>
    </p188:txBody>
    <p188:extLst>
      <p:ext xmlns:p="http://schemas.openxmlformats.org/presentationml/2006/main" uri="{57CB4572-C831-44C2-8A1C-0ADB6CCDFE69}">
        <p223:reactions xmlns:p223="http://schemas.microsoft.com/office/powerpoint/2022/03/main">
          <p223:rxn type="👍">
            <p223:instance time="2024-08-07T17:23:40.400" authorId="{9226EB5E-9B04-B549-EE21-C332E212DA5E}"/>
          </p223:rxn>
        </p223:reactions>
      </p:ext>
    </p188:extLst>
  </p188:cm>
</p188:cmLst>
</file>

<file path=ppt/comments/modernComment_108_0.xml><?xml version="1.0" encoding="utf-8"?>
<p188:cmLst xmlns:a="http://schemas.openxmlformats.org/drawingml/2006/main" xmlns:r="http://schemas.openxmlformats.org/officeDocument/2006/relationships" xmlns:p188="http://schemas.microsoft.com/office/powerpoint/2018/8/main">
  <p188:cm id="{C4D2B2E8-BC60-4D1F-92EF-D29FC03A91DA}" authorId="{E10475CF-2E04-8722-C3B3-1CF6BD627174}" status="resolved" created="2024-07-31T16:58:28.698" startDate="2024-07-31T20:03:59.819" dueDate="2024-07-31T20:03:59.819" assignedTo="{9226EB5E-9B04-B549-EE21-C332E212DA5E}" complete="100000" title="@Leach, Jim the last two bullets primarily">
    <ac:txMkLst xmlns:ac="http://schemas.microsoft.com/office/drawing/2013/main/command">
      <pc:docMk xmlns:pc="http://schemas.microsoft.com/office/powerpoint/2013/main/command"/>
      <pc:sldMk xmlns:pc="http://schemas.microsoft.com/office/powerpoint/2013/main/command" cId="0" sldId="264"/>
      <ac:spMk id="1363" creationId="{00000000-0000-0000-0000-000000000000}"/>
      <ac:txMk cp="0" len="21">
        <ac:context len="23" hash="2549344428"/>
      </ac:txMk>
    </ac:txMkLst>
    <p188:pos x="9297616" y="804385"/>
    <p188:replyLst>
      <p188:reply id="{921B7101-4A3C-4DBC-A6D5-C6C2ADCFF855}" authorId="{5A607524-182C-245A-3FCC-62D95C69C8B2}" created="2024-07-31T20:03:59.819">
        <p188:txBody>
          <a:bodyPr/>
          <a:lstStyle/>
          <a:p>
            <a:r>
              <a:rPr lang="en-US"/>
              <a:t>[@Leach, Jim]  the last two bullets primarily</a:t>
            </a:r>
          </a:p>
        </p188:txBody>
      </p188:reply>
      <p188:reply id="{8914C0CA-3158-48F3-8F9E-0325B740F826}" authorId="{9226EB5E-9B04-B549-EE21-C332E212DA5E}" created="2024-08-07T18:47:14.617">
        <p188:txBody>
          <a:bodyPr/>
          <a:lstStyle/>
          <a:p>
            <a:r>
              <a:rPr lang="en-US"/>
              <a:t>Yep. I removed time series as I'm 99.9% sure they don’t cover that in their syllabus</a:t>
            </a:r>
          </a:p>
        </p188:txBody>
      </p188:reply>
    </p188:replyLst>
    <p188:txBody>
      <a:bodyPr/>
      <a:lstStyle/>
      <a:p>
        <a:r>
          <a:rPr lang="en-US"/>
          <a:t>[@Leach, Jim] Can you please fill out this slide?</a:t>
        </a:r>
      </a:p>
    </p188:txBody>
    <p188:extLst>
      <p:ext xmlns:p="http://schemas.openxmlformats.org/presentationml/2006/main" uri="{5BB2D875-25FF-4072-B9AC-8F64D62656EB}">
        <p228:taskDetails xmlns:p228="http://schemas.microsoft.com/office/powerpoint/2022/08/main">
          <p228:history>
            <p228:event time="2024-07-31T20:03:59.820" id="{592F3DA6-F9AA-4E2C-8F56-FBBF79DC297B}">
              <p228:atrbtn authorId="{5A607524-182C-245A-3FCC-62D95C69C8B2}"/>
              <p228:anchr>
                <p228:comment id="{921B7101-4A3C-4DBC-A6D5-C6C2ADCFF855}"/>
              </p228:anchr>
              <p228:add/>
            </p228:event>
            <p228:event time="2024-07-31T20:03:59.820" id="{5457A9DD-F1F7-4145-9B80-1FC0142E53F8}">
              <p228:atrbtn authorId="{5A607524-182C-245A-3FCC-62D95C69C8B2}"/>
              <p228:anchr>
                <p228:comment id="{921B7101-4A3C-4DBC-A6D5-C6C2ADCFF855}"/>
              </p228:anchr>
              <p228:asgn authorId="{9226EB5E-9B04-B549-EE21-C332E212DA5E}"/>
            </p228:event>
            <p228:event time="2024-07-31T20:03:59.820" id="{96BFE63A-24C4-4AC1-90BB-0E153308A7A2}">
              <p228:atrbtn authorId="{5A607524-182C-245A-3FCC-62D95C69C8B2}"/>
              <p228:anchr>
                <p228:comment id="{921B7101-4A3C-4DBC-A6D5-C6C2ADCFF855}"/>
              </p228:anchr>
              <p228:date stDt="2024-07-31T20:03:59.819" endDt="2024-07-31T20:03:59.819"/>
            </p228:event>
            <p228:event time="2024-07-31T20:03:59.820" id="{53409FE7-AC6F-4CDF-AAAD-E35E8B98EF6D}">
              <p228:atrbtn authorId="{5A607524-182C-245A-3FCC-62D95C69C8B2}"/>
              <p228:anchr>
                <p228:comment id="{921B7101-4A3C-4DBC-A6D5-C6C2ADCFF855}"/>
              </p228:anchr>
              <p228:title val="@Leach, Jim the last two bullets primarily"/>
            </p228:event>
          </p228:history>
        </p228:taskDetails>
      </p:ext>
    </p188:extLst>
  </p188:cm>
</p188:cmLst>
</file>

<file path=ppt/comments/modernComment_10A_0.xml><?xml version="1.0" encoding="utf-8"?>
<p188:cmLst xmlns:a="http://schemas.openxmlformats.org/drawingml/2006/main" xmlns:r="http://schemas.openxmlformats.org/officeDocument/2006/relationships" xmlns:p188="http://schemas.microsoft.com/office/powerpoint/2018/8/main">
  <p188:cm id="{10D19D6E-D6F3-4054-A565-2E053DCA675C}" authorId="{E10475CF-2E04-8722-C3B3-1CF6BD627174}" status="resolved" created="2024-07-31T18:02:35.560" complete="100000">
    <ac:txMkLst xmlns:ac="http://schemas.microsoft.com/office/drawing/2013/main/command">
      <pc:docMk xmlns:pc="http://schemas.microsoft.com/office/powerpoint/2013/main/command"/>
      <pc:sldMk xmlns:pc="http://schemas.microsoft.com/office/powerpoint/2013/main/command" cId="0" sldId="266"/>
      <ac:spMk id="1388" creationId="{00000000-0000-0000-0000-000000000000}"/>
      <ac:txMk cp="0" len="13">
        <ac:context len="15" hash="191596907"/>
      </ac:txMk>
    </ac:txMkLst>
    <p188:pos x="5761935" y="804385"/>
    <p188:txBody>
      <a:bodyPr/>
      <a:lstStyle/>
      <a:p>
        <a:r>
          <a:rPr lang="en-US"/>
          <a:t>Instructions: 
[Describe the datasets that your company is making available (or public datasets that you’d like the students to use); include information on the source, format, etc.]
[Note any data quality considerations or potential challenges]
[Explain any preprocessing tasks that the students will need to undertake]
[Provide a direct link to the datasets on this slide. If the data is from a public source, provide the download URL along with a link to the associated documentation/dictionary. Otherwise, provide a link to the cloud storage location where you have stored the files for students to access.] </a:t>
        </a:r>
      </a:p>
    </p188:txBody>
  </p188:cm>
</p188:cmLst>
</file>

<file path=ppt/comments/modernComment_10F_0.xml><?xml version="1.0" encoding="utf-8"?>
<p188:cmLst xmlns:a="http://schemas.openxmlformats.org/drawingml/2006/main" xmlns:r="http://schemas.openxmlformats.org/officeDocument/2006/relationships" xmlns:p188="http://schemas.microsoft.com/office/powerpoint/2018/8/main">
  <p188:cm id="{8C684831-681E-4EEF-84D1-7EE517FD87D4}" authorId="{E10475CF-2E04-8722-C3B3-1CF6BD627174}" status="resolved" created="2024-07-31T19:34:42.981" complete="100000">
    <ac:txMkLst xmlns:ac="http://schemas.microsoft.com/office/drawing/2013/main/command">
      <pc:docMk xmlns:pc="http://schemas.microsoft.com/office/powerpoint/2013/main/command"/>
      <pc:sldMk xmlns:pc="http://schemas.microsoft.com/office/powerpoint/2013/main/command" cId="0" sldId="271"/>
      <ac:spMk id="1461" creationId="{00000000-0000-0000-0000-000000000000}"/>
      <ac:txMk cp="0" len="18">
        <ac:context len="19" hash="3500591819"/>
      </ac:txMk>
    </ac:txMkLst>
    <p188:pos x="11507920" y="792810"/>
    <p188:txBody>
      <a:bodyPr/>
      <a:lstStyle/>
      <a:p>
        <a:r>
          <a:rPr lang="en-US"/>
          <a:t>[@Curley, Jessica] are the next 2 slides an ok starting point for this? These slides should be tasks for Milestone 1, which is Maker 1. I am not sure what Maker 1 is though</a:t>
        </a:r>
      </a:p>
    </p188:txBody>
  </p188:cm>
  <p188:cm id="{84D1E03F-726E-4653-8DD4-15DD8BB9D380}" authorId="{5A607524-182C-245A-3FCC-62D95C69C8B2}" status="resolved" created="2024-08-01T17:34:14.670" startDate="2024-08-01T17:34:14.670" dueDate="2024-08-01T17:34:14.670" assignedTo="{9226EB5E-9B04-B549-EE21-C332E212DA5E}" complete="100000" title="@Leach, Jim @Dao, Khoi do you have any add'l language to add to this?">
    <ac:deMkLst xmlns:ac="http://schemas.microsoft.com/office/drawing/2013/main/command">
      <pc:docMk xmlns:pc="http://schemas.microsoft.com/office/powerpoint/2013/main/command"/>
      <pc:sldMk xmlns:pc="http://schemas.microsoft.com/office/powerpoint/2013/main/command" cId="0" sldId="271"/>
      <ac:spMk id="1461" creationId="{00000000-0000-0000-0000-000000000000}"/>
    </ac:deMkLst>
    <p188:txBody>
      <a:bodyPr/>
      <a:lstStyle/>
      <a:p>
        <a:r>
          <a:rPr lang="en-US"/>
          <a:t>[@Leach, Jim]  [@Dao, Khoi] do you have any add'l language to add to this?</a:t>
        </a:r>
      </a:p>
    </p188:txBody>
    <p188:extLst>
      <p:ext xmlns:p="http://schemas.openxmlformats.org/presentationml/2006/main" uri="{5BB2D875-25FF-4072-B9AC-8F64D62656EB}">
        <p228:taskDetails xmlns:p228="http://schemas.microsoft.com/office/powerpoint/2022/08/main">
          <p228:history>
            <p228:event time="2024-08-01T17:34:14.670" id="{988C4991-AAB9-4FF4-95FD-F38890CF5E4F}">
              <p228:atrbtn authorId="{5A607524-182C-245A-3FCC-62D95C69C8B2}"/>
              <p228:anchr>
                <p228:comment id="{84D1E03F-726E-4653-8DD4-15DD8BB9D380}"/>
              </p228:anchr>
              <p228:add/>
            </p228:event>
            <p228:event time="2024-08-01T17:34:14.670" id="{AF91F92F-348C-4A65-918F-63BD4C5B3436}">
              <p228:atrbtn authorId="{5A607524-182C-245A-3FCC-62D95C69C8B2}"/>
              <p228:anchr>
                <p228:comment id="{84D1E03F-726E-4653-8DD4-15DD8BB9D380}"/>
              </p228:anchr>
              <p228:asgn authorId="{9226EB5E-9B04-B549-EE21-C332E212DA5E}"/>
            </p228:event>
            <p228:event time="2024-08-01T17:34:14.670" id="{9C3E324F-0F3A-4B6D-B19C-87D3D807775E}">
              <p228:atrbtn authorId="{5A607524-182C-245A-3FCC-62D95C69C8B2}"/>
              <p228:anchr>
                <p228:comment id="{84D1E03F-726E-4653-8DD4-15DD8BB9D380}"/>
              </p228:anchr>
              <p228:title val="@Leach, Jim @Dao, Khoi do you have any add'l language to add to this?"/>
            </p228:event>
            <p228:event time="2024-08-01T17:34:14.670" id="{B7D2B69E-C0DF-4332-A855-76497AB41EAD}">
              <p228:atrbtn authorId="{5A607524-182C-245A-3FCC-62D95C69C8B2}"/>
              <p228:anchr>
                <p228:comment id="{84D1E03F-726E-4653-8DD4-15DD8BB9D380}"/>
              </p228:anchr>
              <p228:date stDt="2024-08-01T17:34:14.670" endDt="2024-08-01T17:34:14.670"/>
            </p228:event>
            <p228:event time="2024-08-09T16:04:47.380" id="{2B023DC9-024B-4C39-9EAD-AB3A994ED8C6}">
              <p228:atrbtn authorId="{9226EB5E-9B04-B549-EE21-C332E212DA5E}"/>
              <p228:anchr>
                <p228:comment id="{00000000-0000-0000-0000-000000000000}"/>
              </p228:anchr>
              <p228:pcntCmplt val="100000"/>
            </p228:event>
          </p228:history>
        </p228:taskDetails>
      </p:ext>
    </p188:extLst>
  </p188:cm>
</p188:cmLst>
</file>

<file path=ppt/comments/modernComment_110_0.xml><?xml version="1.0" encoding="utf-8"?>
<p188:cmLst xmlns:a="http://schemas.openxmlformats.org/drawingml/2006/main" xmlns:r="http://schemas.openxmlformats.org/officeDocument/2006/relationships" xmlns:p188="http://schemas.microsoft.com/office/powerpoint/2018/8/main">
  <p188:cm id="{30F46AEC-FF50-4F0A-9BDA-9E7251496867}" authorId="{5A607524-182C-245A-3FCC-62D95C69C8B2}" status="resolved" created="2024-08-01T18:26:11.314" startDate="2024-08-01T18:26:11.314" dueDate="2024-08-01T18:26:11.314" assignedTo="{08B00983-48C7-E182-A1D1-8902BCEE8455}" complete="100000" title="@Dao, Khoi @Leach, Jim any other points Aligned with Milestone 2?">
    <ac:txMkLst xmlns:ac="http://schemas.microsoft.com/office/drawing/2013/main/command">
      <pc:docMk xmlns:pc="http://schemas.microsoft.com/office/powerpoint/2013/main/command"/>
      <pc:sldMk xmlns:pc="http://schemas.microsoft.com/office/powerpoint/2013/main/command" cId="0" sldId="272"/>
      <ac:spMk id="1469" creationId="{00000000-0000-0000-0000-000000000000}"/>
      <ac:txMk cp="232" len="89">
        <ac:context len="322" hash="2874915780"/>
      </ac:txMk>
    </ac:txMkLst>
    <p188:pos x="8766319" y="4272286"/>
    <p188:txBody>
      <a:bodyPr/>
      <a:lstStyle/>
      <a:p>
        <a:r>
          <a:rPr lang="en-US"/>
          <a:t>[@Dao, Khoi]  [@Leach, Jim]  any other points Aligned with Milestone 2?</a:t>
        </a:r>
      </a:p>
    </p188:txBody>
    <p188:extLst>
      <p:ext xmlns:p="http://schemas.openxmlformats.org/presentationml/2006/main" uri="{5BB2D875-25FF-4072-B9AC-8F64D62656EB}">
        <p228:taskDetails xmlns:p228="http://schemas.microsoft.com/office/powerpoint/2022/08/main">
          <p228:history>
            <p228:event time="2024-08-01T18:26:11.314" id="{8A89B89E-3D57-4B62-BEEF-467F1C77E0EF}">
              <p228:atrbtn authorId="{5A607524-182C-245A-3FCC-62D95C69C8B2}"/>
              <p228:anchr>
                <p228:comment id="{30F46AEC-FF50-4F0A-9BDA-9E7251496867}"/>
              </p228:anchr>
              <p228:add/>
            </p228:event>
            <p228:event time="2024-08-01T18:26:11.314" id="{63ABC555-A892-4DAD-9CDA-733C2F1A58D7}">
              <p228:atrbtn authorId="{5A607524-182C-245A-3FCC-62D95C69C8B2}"/>
              <p228:anchr>
                <p228:comment id="{30F46AEC-FF50-4F0A-9BDA-9E7251496867}"/>
              </p228:anchr>
              <p228:asgn authorId="{08B00983-48C7-E182-A1D1-8902BCEE8455}"/>
            </p228:event>
            <p228:event time="2024-08-01T18:26:11.314" id="{4308FC46-B7F5-44BD-BD81-15A2DCD589A2}">
              <p228:atrbtn authorId="{5A607524-182C-245A-3FCC-62D95C69C8B2}"/>
              <p228:anchr>
                <p228:comment id="{30F46AEC-FF50-4F0A-9BDA-9E7251496867}"/>
              </p228:anchr>
              <p228:title val="@Dao, Khoi @Leach, Jim any other points Aligned with Milestone 2?"/>
            </p228:event>
            <p228:event time="2024-08-01T18:26:11.314" id="{9599C235-70B3-4E42-AAD3-FD4EF3D931EE}">
              <p228:atrbtn authorId="{5A607524-182C-245A-3FCC-62D95C69C8B2}"/>
              <p228:anchr>
                <p228:comment id="{30F46AEC-FF50-4F0A-9BDA-9E7251496867}"/>
              </p228:anchr>
              <p228:date stDt="2024-08-01T18:26:11.314" endDt="2024-08-01T18:26:11.314"/>
            </p228:event>
            <p228:event time="2024-08-09T16:07:47.068" id="{D59492CD-2517-408D-A3EF-9794BBC645BC}">
              <p228:atrbtn authorId="{9226EB5E-9B04-B549-EE21-C332E212DA5E}"/>
              <p228:anchr>
                <p228:comment id="{00000000-0000-0000-0000-000000000000}"/>
              </p228:anchr>
              <p228:pcntCmplt val="100000"/>
            </p228:event>
          </p228:history>
        </p228:taskDetails>
      </p:ext>
    </p188:extLst>
  </p188:cm>
</p188:cmLst>
</file>

<file path=ppt/comments/modernComment_112_0.xml><?xml version="1.0" encoding="utf-8"?>
<p188:cmLst xmlns:a="http://schemas.openxmlformats.org/drawingml/2006/main" xmlns:r="http://schemas.openxmlformats.org/officeDocument/2006/relationships" xmlns:p188="http://schemas.microsoft.com/office/powerpoint/2018/8/main">
  <p188:cm id="{0094DF10-C81D-4157-871E-FD6B6F803553}" authorId="{E10475CF-2E04-8722-C3B3-1CF6BD627174}" status="resolved" created="2024-07-31T20:04:27.872" complete="100000">
    <ac:deMkLst xmlns:ac="http://schemas.microsoft.com/office/drawing/2013/main/command">
      <pc:docMk xmlns:pc="http://schemas.microsoft.com/office/powerpoint/2013/main/command"/>
      <pc:sldMk xmlns:pc="http://schemas.microsoft.com/office/powerpoint/2013/main/command" cId="0" sldId="274"/>
      <ac:spMk id="1486" creationId="{00000000-0000-0000-0000-000000000000}"/>
    </ac:deMkLst>
    <p188:txBody>
      <a:bodyPr/>
      <a:lstStyle/>
      <a:p>
        <a:r>
          <a:rPr lang="en-US"/>
          <a:t>Instruction: [Add any additional next steps that you want to emphasize (e.g., access the dataset; set up dev/PM tools; do research)]</a:t>
        </a:r>
      </a:p>
    </p188:txBody>
  </p188:cm>
  <p188:cm id="{5B6A305C-26F7-485C-887E-81A7D70B4F55}" authorId="{E10475CF-2E04-8722-C3B3-1CF6BD627174}" status="resolved" created="2024-07-31T20:18:27.743" complete="100000">
    <ac:txMkLst xmlns:ac="http://schemas.microsoft.com/office/drawing/2013/main/command">
      <pc:docMk xmlns:pc="http://schemas.microsoft.com/office/powerpoint/2013/main/command"/>
      <pc:sldMk xmlns:pc="http://schemas.microsoft.com/office/powerpoint/2013/main/command" cId="0" sldId="274"/>
      <ac:spMk id="1486" creationId="{00000000-0000-0000-0000-000000000000}"/>
      <ac:txMk cp="0" len="10">
        <ac:context len="170" hash="1487589505"/>
      </ac:txMk>
    </ac:txMkLst>
    <p188:pos x="4386110" y="1091384"/>
    <p188:txBody>
      <a:bodyPr/>
      <a:lstStyle/>
      <a:p>
        <a:r>
          <a:rPr lang="en-US"/>
          <a:t>Review and see if there's anything we want to add</a:t>
        </a:r>
      </a:p>
    </p188:txBody>
  </p188:cm>
</p188:cmLst>
</file>

<file path=ppt/comments/modernComment_117_4AAA62A2.xml><?xml version="1.0" encoding="utf-8"?>
<p188:cmLst xmlns:a="http://schemas.openxmlformats.org/drawingml/2006/main" xmlns:r="http://schemas.openxmlformats.org/officeDocument/2006/relationships" xmlns:p188="http://schemas.microsoft.com/office/powerpoint/2018/8/main">
  <p188:cm id="{CE45BADC-E705-4708-90B5-FEBD92DBCBC8}" authorId="{5A607524-182C-245A-3FCC-62D95C69C8B2}" status="resolved" created="2024-07-31T20:13:52.987" complete="100000">
    <ac:deMkLst xmlns:ac="http://schemas.microsoft.com/office/drawing/2013/main/command">
      <pc:docMk xmlns:pc="http://schemas.microsoft.com/office/powerpoint/2013/main/command"/>
      <pc:sldMk xmlns:pc="http://schemas.microsoft.com/office/powerpoint/2013/main/command" cId="1252680354" sldId="279"/>
      <ac:spMk id="1389" creationId="{00000000-0000-0000-0000-000000000000}"/>
    </ac:deMkLst>
    <p188:txBody>
      <a:bodyPr/>
      <a:lstStyle/>
      <a:p>
        <a:r>
          <a:rPr lang="en-US"/>
          <a:t>C5LA to give add'l context</a:t>
        </a:r>
      </a:p>
    </p188:txBody>
    <p188:extLst>
      <p:ext xmlns:p="http://schemas.openxmlformats.org/presentationml/2006/main" uri="{57CB4572-C831-44C2-8A1C-0ADB6CCDFE69}">
        <p223:reactions xmlns:p223="http://schemas.microsoft.com/office/powerpoint/2022/03/main">
          <p223:rxn type="👍">
            <p223:instance time="2024-08-07T17:26:15.717" authorId="{9226EB5E-9B04-B549-EE21-C332E212DA5E}"/>
          </p223:rxn>
        </p223:reactions>
      </p:ext>
    </p188:extLst>
  </p188:cm>
</p188:cmLst>
</file>

<file path=ppt/comments/modernComment_7FFFD22A_D794FD72.xml><?xml version="1.0" encoding="utf-8"?>
<p188:cmLst xmlns:a="http://schemas.openxmlformats.org/drawingml/2006/main" xmlns:r="http://schemas.openxmlformats.org/officeDocument/2006/relationships" xmlns:p188="http://schemas.microsoft.com/office/powerpoint/2018/8/main">
  <p188:cm id="{34321B7C-FD26-459F-B773-8E0D27FE94F3}" authorId="{E10475CF-2E04-8722-C3B3-1CF6BD627174}" created="2024-07-16T21:11:55.973">
    <ac:txMkLst xmlns:ac="http://schemas.microsoft.com/office/drawing/2013/main/command">
      <pc:docMk xmlns:pc="http://schemas.microsoft.com/office/powerpoint/2013/main/command"/>
      <pc:sldMk xmlns:pc="http://schemas.microsoft.com/office/powerpoint/2013/main/command" cId="3616865650" sldId="2147471914"/>
      <ac:spMk id="11" creationId="{D764B632-D98C-1B69-E37D-B1CFE6A5AC58}"/>
      <ac:txMk cp="10" len="10">
        <ac:context len="22" hash="2619272685"/>
      </ac:txMk>
    </ac:txMkLst>
    <p188:pos x="1178907" y="989138"/>
    <p188:txBody>
      <a:bodyPr/>
      <a:lstStyle/>
      <a:p>
        <a:r>
          <a:rPr lang="en-US"/>
          <a:t>Update dates</a:t>
        </a:r>
      </a:p>
    </p188:txBody>
  </p188:cm>
</p188:cmLst>
</file>

<file path=ppt/comments/modernComment_7FFFFEAB_A761E530.xml><?xml version="1.0" encoding="utf-8"?>
<p188:cmLst xmlns:a="http://schemas.openxmlformats.org/drawingml/2006/main" xmlns:r="http://schemas.openxmlformats.org/officeDocument/2006/relationships" xmlns:p188="http://schemas.microsoft.com/office/powerpoint/2018/8/main">
  <p188:cm id="{1B601A80-9DAD-4CB2-80EC-E6D14A3A6A3E}" authorId="{E10475CF-2E04-8722-C3B3-1CF6BD627174}" created="2024-07-31T18:55:23.702">
    <ac:txMkLst xmlns:ac="http://schemas.microsoft.com/office/drawing/2013/main/command">
      <pc:docMk xmlns:pc="http://schemas.microsoft.com/office/powerpoint/2013/main/command"/>
      <pc:sldMk xmlns:pc="http://schemas.microsoft.com/office/powerpoint/2013/main/command" cId="2808210736" sldId="2147483307"/>
      <ac:spMk id="21" creationId="{38CB11AF-D4D6-96FA-49A8-6E469D6120B5}"/>
      <ac:txMk cp="200">
        <ac:context len="201" hash="4130891976"/>
      </ac:txMk>
    </ac:txMkLst>
    <p188:pos x="7888472" y="1936840"/>
    <p188:txBody>
      <a:bodyPr/>
      <a:lstStyle/>
      <a:p>
        <a:r>
          <a:rPr lang="en-US"/>
          <a:t>Re-word</a:t>
        </a:r>
      </a:p>
    </p188:txBody>
  </p188:cm>
  <p188:cm id="{833FFB7B-9448-4024-9737-F114E7D4E85E}" authorId="{5A607524-182C-245A-3FCC-62D95C69C8B2}" created="2024-08-01T14:44:47.541">
    <pc:sldMkLst xmlns:pc="http://schemas.microsoft.com/office/powerpoint/2013/main/command">
      <pc:docMk/>
      <pc:sldMk cId="2808210736" sldId="2147483307"/>
    </pc:sldMkLst>
    <p188:txBody>
      <a:bodyPr/>
      <a:lstStyle/>
      <a:p>
        <a:r>
          <a:rPr lang="en-US"/>
          <a:t>Repeat this slide 3 x for eaech milestone section</a:t>
        </a:r>
      </a:p>
    </p188:txBody>
  </p188:cm>
</p188:cmLst>
</file>

<file path=ppt/comments/modernComment_7FFFFEAD_4EE0626F.xml><?xml version="1.0" encoding="utf-8"?>
<p188:cmLst xmlns:a="http://schemas.openxmlformats.org/drawingml/2006/main" xmlns:r="http://schemas.openxmlformats.org/officeDocument/2006/relationships" xmlns:p188="http://schemas.microsoft.com/office/powerpoint/2018/8/main">
  <p188:cm id="{61447D23-FC58-4F4B-B6BE-F037F4589F97}" authorId="{5A607524-182C-245A-3FCC-62D95C69C8B2}" status="resolved" created="2024-08-01T15:50:41.452" startDate="2024-08-01T15:50:41.452" dueDate="2024-08-01T15:50:41.452" assignedTo="{08B00983-48C7-E182-A1D1-8902BCEE8455}" complete="100000" title="@Leach, Jim @Dao, Khoi can you add some background on your group?">
    <pc:sldMkLst xmlns:pc="http://schemas.microsoft.com/office/powerpoint/2013/main/command">
      <pc:docMk/>
      <pc:sldMk cId="1323328111" sldId="2147483309"/>
    </pc:sldMkLst>
    <p188:txBody>
      <a:bodyPr/>
      <a:lstStyle/>
      <a:p>
        <a:r>
          <a:rPr lang="en-US"/>
          <a:t>[@Leach, Jim] [@Dao, Khoi] can you add some background on your group?</a:t>
        </a:r>
      </a:p>
    </p188:txBody>
    <p188:extLst>
      <p:ext xmlns:p="http://schemas.openxmlformats.org/presentationml/2006/main" uri="{5BB2D875-25FF-4072-B9AC-8F64D62656EB}">
        <p228:taskDetails xmlns:p228="http://schemas.microsoft.com/office/powerpoint/2022/08/main">
          <p228:history>
            <p228:event time="2024-08-01T15:50:41.452" id="{080E098B-1CAE-42D6-8153-9C23DC12CA2A}">
              <p228:atrbtn authorId="{5A607524-182C-245A-3FCC-62D95C69C8B2}"/>
              <p228:anchr>
                <p228:comment id="{61447D23-FC58-4F4B-B6BE-F037F4589F97}"/>
              </p228:anchr>
              <p228:add/>
            </p228:event>
            <p228:event time="2024-08-01T15:50:41.452" id="{1341A90B-C091-4EA3-972E-BBAC307A33CB}">
              <p228:atrbtn authorId="{5A607524-182C-245A-3FCC-62D95C69C8B2}"/>
              <p228:anchr>
                <p228:comment id="{61447D23-FC58-4F4B-B6BE-F037F4589F97}"/>
              </p228:anchr>
              <p228:asgn authorId="{08B00983-48C7-E182-A1D1-8902BCEE8455}"/>
            </p228:event>
            <p228:event time="2024-08-01T15:50:41.452" id="{DC6CCB65-AE22-43C8-B357-ADFDA80BBE47}">
              <p228:atrbtn authorId="{5A607524-182C-245A-3FCC-62D95C69C8B2}"/>
              <p228:anchr>
                <p228:comment id="{61447D23-FC58-4F4B-B6BE-F037F4589F97}"/>
              </p228:anchr>
              <p228:title val="@Leach, Jim @Dao, Khoi can you add some background on your group?"/>
            </p228:event>
            <p228:event time="2024-08-01T15:50:41.452" id="{F4E0515F-77E6-4A5D-B2AC-A5FBEFE899DB}">
              <p228:atrbtn authorId="{5A607524-182C-245A-3FCC-62D95C69C8B2}"/>
              <p228:anchr>
                <p228:comment id="{61447D23-FC58-4F4B-B6BE-F037F4589F97}"/>
              </p228:anchr>
              <p228:date stDt="2024-08-01T15:50:41.452" endDt="2024-08-01T15:50:41.452"/>
            </p228:event>
            <p228:event time="2024-08-07T17:22:54.367" id="{6A4CE968-25FE-4934-B140-75EC822BE888}">
              <p228:atrbtn authorId="{9226EB5E-9B04-B549-EE21-C332E212DA5E}"/>
              <p228:anchr>
                <p228:comment id="{00000000-0000-0000-0000-000000000000}"/>
              </p228:anchr>
              <p228:pcntCmplt val="100000"/>
            </p228:event>
          </p228:history>
        </p228:taskDetails>
      </p:ext>
    </p188:extLst>
  </p188:cm>
</p188:cmLst>
</file>

<file path=ppt/comments/modernComment_7FFFFEB3_75C19485.xml><?xml version="1.0" encoding="utf-8"?>
<p188:cmLst xmlns:a="http://schemas.openxmlformats.org/drawingml/2006/main" xmlns:r="http://schemas.openxmlformats.org/officeDocument/2006/relationships" xmlns:p188="http://schemas.microsoft.com/office/powerpoint/2018/8/main">
  <p188:cm id="{904F1CBC-3731-4608-8742-CC8B39EFE362}" authorId="{5A607524-182C-245A-3FCC-62D95C69C8B2}" created="2024-08-01T17:44:36.582" startDate="2024-08-01T17:44:36.582" dueDate="2024-08-01T17:44:36.582" assignedTo="{9226EB5E-9B04-B549-EE21-C332E212DA5E}" title="@Leach, Jim @Dao, Khoi ">
    <ac:deMkLst xmlns:ac="http://schemas.microsoft.com/office/drawing/2013/main/command">
      <pc:docMk xmlns:pc="http://schemas.microsoft.com/office/powerpoint/2013/main/command"/>
      <pc:sldMk xmlns:pc="http://schemas.microsoft.com/office/powerpoint/2013/main/command" cId="1975620741" sldId="2147483315"/>
      <ac:spMk id="1464" creationId="{00000000-0000-0000-0000-000000000000}"/>
    </ac:deMkLst>
    <p188:replyLst>
      <p188:reply id="{90ACD3E1-586D-41E7-8C92-14A643A04895}" authorId="{08B00983-48C7-E182-A1D1-8902BCEE8455}" created="2024-08-12T15:25:27.924">
        <p188:txBody>
          <a:bodyPr/>
          <a:lstStyle/>
          <a:p>
            <a:r>
              <a:rPr lang="en-US"/>
              <a:t>Looks good to me
</a:t>
            </a:r>
          </a:p>
        </p188:txBody>
      </p188:reply>
    </p188:replyLst>
    <p188:txBody>
      <a:bodyPr/>
      <a:lstStyle/>
      <a:p>
        <a:r>
          <a:rPr lang="en-US"/>
          <a:t>[@Leach, Jim] [@Dao, Khoi] are there additional points?</a:t>
        </a:r>
      </a:p>
    </p188:txBody>
    <p188:extLst>
      <p:ext xmlns:p="http://schemas.openxmlformats.org/presentationml/2006/main" uri="{5BB2D875-25FF-4072-B9AC-8F64D62656EB}">
        <p228:taskDetails xmlns:p228="http://schemas.microsoft.com/office/powerpoint/2022/08/main">
          <p228:history>
            <p228:event time="2024-08-01T17:44:36.582" id="{9A77012B-AB0B-41C9-8BDE-156E89B500C1}">
              <p228:atrbtn authorId="{5A607524-182C-245A-3FCC-62D95C69C8B2}"/>
              <p228:anchr>
                <p228:comment id="{904F1CBC-3731-4608-8742-CC8B39EFE362}"/>
              </p228:anchr>
              <p228:add/>
            </p228:event>
            <p228:event time="2024-08-01T17:44:36.582" id="{913FC89C-0F18-48D2-B8CF-65F267AB593D}">
              <p228:atrbtn authorId="{5A607524-182C-245A-3FCC-62D95C69C8B2}"/>
              <p228:anchr>
                <p228:comment id="{904F1CBC-3731-4608-8742-CC8B39EFE362}"/>
              </p228:anchr>
              <p228:asgn authorId="{9226EB5E-9B04-B549-EE21-C332E212DA5E}"/>
            </p228:event>
            <p228:event time="2024-08-01T17:44:36.582" id="{552E14D5-9F0F-4709-8710-21C5BB15D865}">
              <p228:atrbtn authorId="{5A607524-182C-245A-3FCC-62D95C69C8B2}"/>
              <p228:anchr>
                <p228:comment id="{904F1CBC-3731-4608-8742-CC8B39EFE362}"/>
              </p228:anchr>
              <p228:title val="@Leach, Jim @Dao, Khoi "/>
            </p228:event>
            <p228:event time="2024-08-01T17:44:36.582" id="{1D1FC07A-0296-4C6A-83D7-A3B2B78E6EA1}">
              <p228:atrbtn authorId="{5A607524-182C-245A-3FCC-62D95C69C8B2}"/>
              <p228:anchr>
                <p228:comment id="{904F1CBC-3731-4608-8742-CC8B39EFE362}"/>
              </p228:anchr>
              <p228:date stDt="2024-08-01T17:44:36.582" endDt="2024-08-01T17:44:36.582"/>
            </p228:event>
          </p228:history>
        </p228:taskDetails>
      </p:ext>
    </p188:extLst>
  </p188:cm>
</p188:cmLst>
</file>

<file path=ppt/comments/modernComment_7FFFFEB4_994EACED.xml><?xml version="1.0" encoding="utf-8"?>
<p188:cmLst xmlns:a="http://schemas.openxmlformats.org/drawingml/2006/main" xmlns:r="http://schemas.openxmlformats.org/officeDocument/2006/relationships" xmlns:p188="http://schemas.microsoft.com/office/powerpoint/2018/8/main">
  <p188:cm id="{9CBEADEE-71A5-468E-A0FE-3C6C18174EF4}" authorId="{5A607524-182C-245A-3FCC-62D95C69C8B2}" status="resolved" created="2024-08-01T18:37:29.531" startDate="2024-08-01T18:37:29.531" dueDate="2024-08-01T18:37:29.531" assignedTo="{08B00983-48C7-E182-A1D1-8902BCEE8455}" complete="100000" title="@Dao, Khoi @Leach, Jim anything else they need to have ready for their final milestone?">
    <ac:txMkLst xmlns:ac="http://schemas.microsoft.com/office/drawing/2013/main/command">
      <pc:docMk xmlns:pc="http://schemas.microsoft.com/office/powerpoint/2013/main/command"/>
      <pc:sldMk xmlns:pc="http://schemas.microsoft.com/office/powerpoint/2013/main/command" cId="2572070125" sldId="2147483316"/>
      <ac:spMk id="5" creationId="{E864E1B8-7FE8-DDDA-4F9D-23BCFEBE77CD}"/>
      <ac:txMk cp="115" len="95">
        <ac:context len="211" hash="952408302"/>
      </ac:txMk>
    </ac:txMkLst>
    <p188:pos x="8766319" y="3005524"/>
    <p188:txBody>
      <a:bodyPr/>
      <a:lstStyle/>
      <a:p>
        <a:r>
          <a:rPr lang="en-US"/>
          <a:t>[@Dao, Khoi] [@Leach, Jim]  anything else they need to have ready for their final milestone?</a:t>
        </a:r>
      </a:p>
    </p188:txBody>
    <p188:extLst>
      <p:ext xmlns:p="http://schemas.openxmlformats.org/presentationml/2006/main" uri="{5BB2D875-25FF-4072-B9AC-8F64D62656EB}">
        <p228:taskDetails xmlns:p228="http://schemas.microsoft.com/office/powerpoint/2022/08/main">
          <p228:history>
            <p228:event time="2024-08-01T18:37:29.531" id="{DAD3FB74-BD3A-46FD-9F95-0B5A70E0E349}">
              <p228:atrbtn authorId="{5A607524-182C-245A-3FCC-62D95C69C8B2}"/>
              <p228:anchr>
                <p228:comment id="{9CBEADEE-71A5-468E-A0FE-3C6C18174EF4}"/>
              </p228:anchr>
              <p228:add/>
            </p228:event>
            <p228:event time="2024-08-01T18:37:29.531" id="{B8AD77CD-7AC6-420C-85BB-2AD9AEA0FA06}">
              <p228:atrbtn authorId="{5A607524-182C-245A-3FCC-62D95C69C8B2}"/>
              <p228:anchr>
                <p228:comment id="{9CBEADEE-71A5-468E-A0FE-3C6C18174EF4}"/>
              </p228:anchr>
              <p228:asgn authorId="{08B00983-48C7-E182-A1D1-8902BCEE8455}"/>
            </p228:event>
            <p228:event time="2024-08-01T18:37:29.531" id="{CC41FD16-79F9-44CD-9C25-BD1D3E16FF08}">
              <p228:atrbtn authorId="{5A607524-182C-245A-3FCC-62D95C69C8B2}"/>
              <p228:anchr>
                <p228:comment id="{9CBEADEE-71A5-468E-A0FE-3C6C18174EF4}"/>
              </p228:anchr>
              <p228:title val="@Dao, Khoi @Leach, Jim anything else they need to have ready for their final milestone?"/>
            </p228:event>
            <p228:event time="2024-08-01T18:37:29.531" id="{326D6BA7-FB31-414A-B2B1-1125D54B0758}">
              <p228:atrbtn authorId="{5A607524-182C-245A-3FCC-62D95C69C8B2}"/>
              <p228:anchr>
                <p228:comment id="{9CBEADEE-71A5-468E-A0FE-3C6C18174EF4}"/>
              </p228:anchr>
              <p228:date stDt="2024-08-01T18:37:29.531" endDt="2024-08-01T18:37:29.531"/>
            </p228:event>
            <p228:event time="2024-08-09T16:08:21.436" id="{4306C880-6CBD-4433-9411-75CBF4F103D6}">
              <p228:atrbtn authorId="{9226EB5E-9B04-B549-EE21-C332E212DA5E}"/>
              <p228:anchr>
                <p228:comment id="{00000000-0000-0000-0000-000000000000}"/>
              </p228:anchr>
              <p228:pcntCmplt val="100000"/>
            </p228:event>
          </p228:history>
        </p228:taskDetails>
      </p:ext>
    </p188:extLst>
  </p188:cm>
</p188:cmLst>
</file>

<file path=ppt/comments/modernComment_7FFFFEB5_27FB1D9F.xml><?xml version="1.0" encoding="utf-8"?>
<p188:cmLst xmlns:a="http://schemas.openxmlformats.org/drawingml/2006/main" xmlns:r="http://schemas.openxmlformats.org/officeDocument/2006/relationships" xmlns:p188="http://schemas.microsoft.com/office/powerpoint/2018/8/main">
  <p188:cm id="{8D5C85D7-E11F-4170-B1FE-61B74E41924B}" authorId="{5A607524-182C-245A-3FCC-62D95C69C8B2}" created="2024-08-01T14:49:08.202">
    <ac:deMkLst xmlns:ac="http://schemas.microsoft.com/office/drawing/2013/main/command">
      <pc:docMk xmlns:pc="http://schemas.microsoft.com/office/powerpoint/2013/main/command"/>
      <pc:sldMk xmlns:pc="http://schemas.microsoft.com/office/powerpoint/2013/main/command" cId="670768543" sldId="2147483317"/>
      <ac:spMk id="1399" creationId="{00000000-0000-0000-0000-000000000000}"/>
    </ac:deMkLst>
    <p188:replyLst>
      <p188:reply id="{5EAE9078-44F3-4CC2-A8AA-A8F47F1E26AD}" authorId="{9226EB5E-9B04-B549-EE21-C332E212DA5E}" created="2024-08-07T17:28:43.342">
        <p188:txBody>
          <a:bodyPr/>
          <a:lstStyle/>
          <a:p>
            <a:r>
              <a:rPr lang="en-US"/>
              <a:t>Is this where we need to add SFTP access instructions?</a:t>
            </a:r>
          </a:p>
        </p188:txBody>
      </p188:reply>
      <p188:reply id="{03B70291-0C5E-4CF1-97CF-403233289B46}" authorId="{5A607524-182C-245A-3FCC-62D95C69C8B2}" created="2024-08-07T20:34:58.794">
        <p188:txBody>
          <a:bodyPr/>
          <a:lstStyle/>
          <a:p>
            <a:r>
              <a:rPr lang="en-US"/>
              <a:t>Yes, they'll be the same as what we give to the CA's. </a:t>
            </a:r>
          </a:p>
        </p188:txBody>
      </p188:reply>
    </p188:replyLst>
    <p188:txBody>
      <a:bodyPr/>
      <a:lstStyle/>
      <a:p>
        <a:r>
          <a:rPr lang="en-US"/>
          <a:t>Instructions on accessing the data and saving</a:t>
        </a:r>
      </a:p>
    </p188:txBody>
  </p188:cm>
  <p188:cm id="{1B1A8E56-6DA5-44E3-B3EC-86CF475E8AF4}" authorId="{5A607524-182C-245A-3FCC-62D95C69C8B2}" created="2024-08-01T14:49:33.005">
    <ac:deMkLst xmlns:ac="http://schemas.microsoft.com/office/drawing/2013/main/command">
      <pc:docMk xmlns:pc="http://schemas.microsoft.com/office/powerpoint/2013/main/command"/>
      <pc:sldMk xmlns:pc="http://schemas.microsoft.com/office/powerpoint/2013/main/command" cId="670768543" sldId="2147483317"/>
      <ac:spMk id="1397" creationId="{00000000-0000-0000-0000-000000000000}"/>
    </ac:deMkLst>
    <p188:txBody>
      <a:bodyPr/>
      <a:lstStyle/>
      <a:p>
        <a:r>
          <a:rPr lang="en-US"/>
          <a:t>Add the agreement for using the data given its from a client source</a:t>
        </a:r>
      </a:p>
    </p188:txBody>
  </p188:cm>
  <p188:cm id="{4B2225CE-B3E3-4056-82BB-B48BB8E466D6}" authorId="{5A607524-182C-245A-3FCC-62D95C69C8B2}" created="2024-08-07T20:45:07.331">
    <ac:deMkLst xmlns:ac="http://schemas.microsoft.com/office/drawing/2013/main/command">
      <pc:docMk xmlns:pc="http://schemas.microsoft.com/office/powerpoint/2013/main/command"/>
      <pc:sldMk xmlns:pc="http://schemas.microsoft.com/office/powerpoint/2013/main/command" cId="670768543" sldId="2147483317"/>
      <ac:spMk id="1399" creationId="{00000000-0000-0000-0000-000000000000}"/>
    </ac:deMkLst>
    <p188:txBody>
      <a:bodyPr/>
      <a:lstStyle/>
      <a:p>
        <a:r>
          <a:rPr lang="en-US"/>
          <a:t>LINK</a:t>
        </a:r>
      </a:p>
    </p188:txBody>
  </p188:cm>
</p188:cmLst>
</file>

<file path=ppt/comments/modernComment_7FFFFEBA_2F3F598.xml><?xml version="1.0" encoding="utf-8"?>
<p188:cmLst xmlns:a="http://schemas.openxmlformats.org/drawingml/2006/main" xmlns:r="http://schemas.openxmlformats.org/officeDocument/2006/relationships" xmlns:p188="http://schemas.microsoft.com/office/powerpoint/2018/8/main">
  <p188:cm id="{501E37E2-70A6-4B0C-B455-11D70FC55A7B}" authorId="{5A607524-182C-245A-3FCC-62D95C69C8B2}" created="2024-08-01T14:51:48.965">
    <pc:sldMkLst xmlns:pc="http://schemas.microsoft.com/office/powerpoint/2013/main/command">
      <pc:docMk/>
      <pc:sldMk cId="49542552" sldId="2147483322"/>
    </pc:sldMkLst>
    <p188:txBody>
      <a:bodyPr/>
      <a:lstStyle/>
      <a:p>
        <a:r>
          <a:rPr lang="en-US"/>
          <a:t>Fill out at end</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96"/>
        <p:cNvGrpSpPr/>
        <p:nvPr/>
      </p:nvGrpSpPr>
      <p:grpSpPr>
        <a:xfrm>
          <a:off x="0" y="0"/>
          <a:ext cx="0" cy="0"/>
          <a:chOff x="0" y="0"/>
          <a:chExt cx="0" cy="0"/>
        </a:xfrm>
      </p:grpSpPr>
      <p:sp>
        <p:nvSpPr>
          <p:cNvPr id="1297" name="Google Shape;1297;p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100"/>
              <a:buFont typeface="Arial"/>
              <a:buNone/>
            </a:pPr>
            <a:r>
              <a:rPr lang="en-US" sz="1400" b="1">
                <a:latin typeface="Arial"/>
                <a:ea typeface="Arial"/>
                <a:cs typeface="Arial"/>
                <a:sym typeface="Arial"/>
              </a:rPr>
              <a:t>Why this slide is important:</a:t>
            </a:r>
            <a:endParaRPr sz="1400" b="1">
              <a:latin typeface="Arial"/>
              <a:ea typeface="Arial"/>
              <a:cs typeface="Arial"/>
              <a:sym typeface="Arial"/>
            </a:endParaRPr>
          </a:p>
          <a:p>
            <a:pPr marL="457200" lvl="0" indent="-317500" algn="l" rtl="0">
              <a:spcBef>
                <a:spcPts val="0"/>
              </a:spcBef>
              <a:spcAft>
                <a:spcPts val="0"/>
              </a:spcAft>
              <a:buSzPts val="1400"/>
              <a:buFont typeface="Arial"/>
              <a:buChar char="●"/>
            </a:pPr>
            <a:r>
              <a:rPr lang="en-US" sz="1400">
                <a:latin typeface="Arial"/>
                <a:ea typeface="Arial"/>
                <a:cs typeface="Arial"/>
                <a:sym typeface="Arial"/>
              </a:rPr>
              <a:t>Sets the stage and context for your presentation </a:t>
            </a:r>
            <a:endParaRPr sz="1400">
              <a:latin typeface="Arial"/>
              <a:ea typeface="Arial"/>
              <a:cs typeface="Arial"/>
              <a:sym typeface="Arial"/>
            </a:endParaRPr>
          </a:p>
          <a:p>
            <a:pPr marL="0" lvl="0" indent="0" algn="l" rtl="0">
              <a:spcBef>
                <a:spcPts val="0"/>
              </a:spcBef>
              <a:spcAft>
                <a:spcPts val="0"/>
              </a:spcAft>
              <a:buClr>
                <a:schemeClr val="dk1"/>
              </a:buClr>
              <a:buSzPts val="1100"/>
              <a:buFont typeface="Arial"/>
              <a:buNone/>
            </a:pPr>
            <a:endParaRPr sz="1400">
              <a:latin typeface="Arial"/>
              <a:ea typeface="Arial"/>
              <a:cs typeface="Arial"/>
              <a:sym typeface="Arial"/>
            </a:endParaRPr>
          </a:p>
          <a:p>
            <a:pPr marL="0" lvl="0" indent="0" algn="l" rtl="0">
              <a:spcBef>
                <a:spcPts val="0"/>
              </a:spcBef>
              <a:spcAft>
                <a:spcPts val="0"/>
              </a:spcAft>
              <a:buClr>
                <a:schemeClr val="dk1"/>
              </a:buClr>
              <a:buSzPts val="1100"/>
              <a:buFont typeface="Arial"/>
              <a:buNone/>
            </a:pPr>
            <a:r>
              <a:rPr lang="en-US" sz="1400" b="1">
                <a:latin typeface="Arial"/>
                <a:ea typeface="Arial"/>
                <a:cs typeface="Arial"/>
                <a:sym typeface="Arial"/>
              </a:rPr>
              <a:t>Guidance on filling in / presenting this slide:</a:t>
            </a:r>
            <a:endParaRPr sz="1400" b="1">
              <a:latin typeface="Arial"/>
              <a:ea typeface="Arial"/>
              <a:cs typeface="Arial"/>
              <a:sym typeface="Arial"/>
            </a:endParaRPr>
          </a:p>
          <a:p>
            <a:pPr marL="457200" lvl="0" indent="-317500" algn="l" rtl="0">
              <a:spcBef>
                <a:spcPts val="0"/>
              </a:spcBef>
              <a:spcAft>
                <a:spcPts val="0"/>
              </a:spcAft>
              <a:buClr>
                <a:schemeClr val="dk1"/>
              </a:buClr>
              <a:buSzPts val="1400"/>
              <a:buFont typeface="Arial"/>
              <a:buChar char="●"/>
            </a:pPr>
            <a:r>
              <a:rPr lang="en-US" sz="1400">
                <a:latin typeface="Arial"/>
                <a:ea typeface="Arial"/>
                <a:cs typeface="Arial"/>
                <a:sym typeface="Arial"/>
              </a:rPr>
              <a:t>Make sure the project title is concise and reflects the essence of your project </a:t>
            </a:r>
            <a:endParaRPr sz="1400">
              <a:latin typeface="Arial"/>
              <a:ea typeface="Arial"/>
              <a:cs typeface="Arial"/>
              <a:sym typeface="Arial"/>
            </a:endParaRPr>
          </a:p>
          <a:p>
            <a:pPr marL="457200" lvl="0" indent="-317500" algn="l" rtl="0">
              <a:spcBef>
                <a:spcPts val="0"/>
              </a:spcBef>
              <a:spcAft>
                <a:spcPts val="0"/>
              </a:spcAft>
              <a:buClr>
                <a:schemeClr val="dk1"/>
              </a:buClr>
              <a:buSzPts val="1400"/>
              <a:buChar char="●"/>
            </a:pPr>
            <a:r>
              <a:rPr lang="en-US" sz="1400">
                <a:latin typeface="Arial"/>
                <a:ea typeface="Arial"/>
                <a:cs typeface="Arial"/>
                <a:sym typeface="Arial"/>
              </a:rPr>
              <a:t>You should ideally use the same title that you included in your official Challenge Project submission</a:t>
            </a:r>
            <a:endParaRPr sz="1400">
              <a:latin typeface="Arial"/>
              <a:ea typeface="Arial"/>
              <a:cs typeface="Arial"/>
              <a:sym typeface="Arial"/>
            </a:endParaRPr>
          </a:p>
          <a:p>
            <a:pPr marL="0" lvl="0" indent="0" algn="l" rtl="0">
              <a:spcBef>
                <a:spcPts val="0"/>
              </a:spcBef>
              <a:spcAft>
                <a:spcPts val="0"/>
              </a:spcAft>
              <a:buNone/>
            </a:pPr>
            <a:endParaRPr sz="1400">
              <a:latin typeface="Arial"/>
              <a:ea typeface="Arial"/>
              <a:cs typeface="Arial"/>
              <a:sym typeface="Arial"/>
            </a:endParaRPr>
          </a:p>
          <a:p>
            <a:pPr marL="0" lvl="0" indent="0" algn="l" rtl="0">
              <a:lnSpc>
                <a:spcPct val="100000"/>
              </a:lnSpc>
              <a:spcBef>
                <a:spcPts val="0"/>
              </a:spcBef>
              <a:spcAft>
                <a:spcPts val="0"/>
              </a:spcAft>
              <a:buNone/>
            </a:pPr>
            <a:r>
              <a:rPr lang="en-US" sz="1400" b="1">
                <a:highlight>
                  <a:srgbClr val="FFFF00"/>
                </a:highlight>
                <a:latin typeface="Arial"/>
                <a:ea typeface="Arial"/>
                <a:cs typeface="Arial"/>
                <a:sym typeface="Arial"/>
              </a:rPr>
              <a:t>General tips for your first meeting with the students: </a:t>
            </a:r>
            <a:endParaRPr sz="1400" b="1">
              <a:highlight>
                <a:srgbClr val="FFFF00"/>
              </a:highlight>
              <a:latin typeface="Arial"/>
              <a:ea typeface="Arial"/>
              <a:cs typeface="Arial"/>
              <a:sym typeface="Arial"/>
            </a:endParaRPr>
          </a:p>
          <a:p>
            <a:pPr marL="457200" lvl="0" indent="-317500" algn="l" rtl="0">
              <a:lnSpc>
                <a:spcPct val="100000"/>
              </a:lnSpc>
              <a:spcBef>
                <a:spcPts val="0"/>
              </a:spcBef>
              <a:spcAft>
                <a:spcPts val="0"/>
              </a:spcAft>
              <a:buSzPts val="1400"/>
              <a:buFont typeface="Arial"/>
              <a:buChar char="●"/>
            </a:pPr>
            <a:r>
              <a:rPr lang="en-US" sz="1400">
                <a:latin typeface="Arial"/>
                <a:ea typeface="Arial"/>
                <a:cs typeface="Arial"/>
                <a:sym typeface="Arial"/>
              </a:rPr>
              <a:t>Make sure your camera is on, and greet students with a smile </a:t>
            </a:r>
            <a:endParaRPr sz="1400">
              <a:latin typeface="Arial"/>
              <a:ea typeface="Arial"/>
              <a:cs typeface="Arial"/>
              <a:sym typeface="Arial"/>
            </a:endParaRPr>
          </a:p>
          <a:p>
            <a:pPr marL="457200" lvl="0" indent="-317500" algn="l" rtl="0">
              <a:lnSpc>
                <a:spcPct val="100000"/>
              </a:lnSpc>
              <a:spcBef>
                <a:spcPts val="0"/>
              </a:spcBef>
              <a:spcAft>
                <a:spcPts val="0"/>
              </a:spcAft>
              <a:buSzPts val="1400"/>
              <a:buFont typeface="Arial"/>
              <a:buChar char="●"/>
            </a:pPr>
            <a:r>
              <a:rPr lang="en-US" sz="1400">
                <a:latin typeface="Arial"/>
                <a:ea typeface="Arial"/>
                <a:cs typeface="Arial"/>
                <a:sym typeface="Arial"/>
              </a:rPr>
              <a:t>Spend time getting to know the students, including their backgrounds and interests </a:t>
            </a:r>
            <a:endParaRPr sz="1400">
              <a:latin typeface="Arial"/>
              <a:ea typeface="Arial"/>
              <a:cs typeface="Arial"/>
              <a:sym typeface="Arial"/>
            </a:endParaRPr>
          </a:p>
          <a:p>
            <a:pPr marL="457200" lvl="0" indent="-317500" algn="l" rtl="0">
              <a:lnSpc>
                <a:spcPct val="100000"/>
              </a:lnSpc>
              <a:spcBef>
                <a:spcPts val="0"/>
              </a:spcBef>
              <a:spcAft>
                <a:spcPts val="0"/>
              </a:spcAft>
              <a:buSzPts val="1400"/>
              <a:buFont typeface="Arial"/>
              <a:buChar char="●"/>
            </a:pPr>
            <a:r>
              <a:rPr lang="en-US" sz="1400">
                <a:latin typeface="Arial"/>
                <a:ea typeface="Arial"/>
                <a:cs typeface="Arial"/>
                <a:sym typeface="Arial"/>
              </a:rPr>
              <a:t>Share more about yourself - what you do for work, what you do for fun, etc.  </a:t>
            </a:r>
            <a:endParaRPr sz="1400">
              <a:latin typeface="Arial"/>
              <a:ea typeface="Arial"/>
              <a:cs typeface="Arial"/>
              <a:sym typeface="Arial"/>
            </a:endParaRPr>
          </a:p>
          <a:p>
            <a:pPr marL="457200" lvl="0" indent="-317500" algn="l" rtl="0">
              <a:lnSpc>
                <a:spcPct val="100000"/>
              </a:lnSpc>
              <a:spcBef>
                <a:spcPts val="0"/>
              </a:spcBef>
              <a:spcAft>
                <a:spcPts val="0"/>
              </a:spcAft>
              <a:buSzPts val="1400"/>
              <a:buFont typeface="Arial"/>
              <a:buChar char="●"/>
            </a:pPr>
            <a:r>
              <a:rPr lang="en-US" sz="1400">
                <a:latin typeface="Arial"/>
                <a:ea typeface="Arial"/>
                <a:cs typeface="Arial"/>
                <a:sym typeface="Arial"/>
              </a:rPr>
              <a:t>Keep in mind that students have varying levels of experience in data science / AI topics </a:t>
            </a:r>
            <a:endParaRPr sz="1400">
              <a:latin typeface="Arial"/>
              <a:ea typeface="Arial"/>
              <a:cs typeface="Arial"/>
              <a:sym typeface="Arial"/>
            </a:endParaRPr>
          </a:p>
          <a:p>
            <a:pPr marL="457200" lvl="0" indent="-317500" algn="l" rtl="0">
              <a:lnSpc>
                <a:spcPct val="100000"/>
              </a:lnSpc>
              <a:spcBef>
                <a:spcPts val="0"/>
              </a:spcBef>
              <a:spcAft>
                <a:spcPts val="0"/>
              </a:spcAft>
              <a:buSzPts val="1400"/>
              <a:buFont typeface="Arial"/>
              <a:buChar char="●"/>
            </a:pPr>
            <a:r>
              <a:rPr lang="en-US" sz="1400">
                <a:latin typeface="Arial"/>
                <a:ea typeface="Arial"/>
                <a:cs typeface="Arial"/>
                <a:sym typeface="Arial"/>
              </a:rPr>
              <a:t>Listen to and answer students’ questions about the project with patience and understanding </a:t>
            </a:r>
            <a:endParaRPr sz="1400">
              <a:latin typeface="Arial"/>
              <a:ea typeface="Arial"/>
              <a:cs typeface="Arial"/>
              <a:sym typeface="Arial"/>
            </a:endParaRPr>
          </a:p>
          <a:p>
            <a:pPr marL="457200" lvl="0" indent="-317500" algn="l" rtl="0">
              <a:lnSpc>
                <a:spcPct val="100000"/>
              </a:lnSpc>
              <a:spcBef>
                <a:spcPts val="0"/>
              </a:spcBef>
              <a:spcAft>
                <a:spcPts val="0"/>
              </a:spcAft>
              <a:buSzPts val="1400"/>
              <a:buFont typeface="Arial"/>
              <a:buChar char="●"/>
            </a:pPr>
            <a:r>
              <a:rPr lang="en-US" sz="1400">
                <a:latin typeface="Arial"/>
                <a:ea typeface="Arial"/>
                <a:cs typeface="Arial"/>
                <a:sym typeface="Arial"/>
              </a:rPr>
              <a:t>Decide on and confirm your next meeting with them in the first week of September; remind them to send out a calendar invite for this meeting and your recurring meetings going forward  </a:t>
            </a:r>
            <a:endParaRPr sz="1400">
              <a:latin typeface="Arial"/>
              <a:ea typeface="Arial"/>
              <a:cs typeface="Arial"/>
              <a:sym typeface="Arial"/>
            </a:endParaRPr>
          </a:p>
        </p:txBody>
      </p:sp>
      <p:sp>
        <p:nvSpPr>
          <p:cNvPr id="1298" name="Google Shape;1298;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83"/>
        <p:cNvGrpSpPr/>
        <p:nvPr/>
      </p:nvGrpSpPr>
      <p:grpSpPr>
        <a:xfrm>
          <a:off x="0" y="0"/>
          <a:ext cx="0" cy="0"/>
          <a:chOff x="0" y="0"/>
          <a:chExt cx="0" cy="0"/>
        </a:xfrm>
      </p:grpSpPr>
      <p:sp>
        <p:nvSpPr>
          <p:cNvPr id="1384" name="Google Shape;1384;g28f87540acf_0_88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85" name="Google Shape;1385;g28f87540acf_0_88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100"/>
              <a:buFont typeface="Arial"/>
              <a:buNone/>
            </a:pPr>
            <a:r>
              <a:rPr lang="en-US" sz="1400">
                <a:highlight>
                  <a:srgbClr val="FFFF00"/>
                </a:highlight>
                <a:latin typeface="Arial"/>
                <a:ea typeface="Arial"/>
                <a:cs typeface="Arial"/>
                <a:sym typeface="Arial"/>
              </a:rPr>
              <a:t>We’re providing 3 datasets</a:t>
            </a:r>
          </a:p>
          <a:p>
            <a:pPr marL="0" lvl="0" indent="0" algn="l" rtl="0">
              <a:spcBef>
                <a:spcPts val="0"/>
              </a:spcBef>
              <a:spcAft>
                <a:spcPts val="0"/>
              </a:spcAft>
              <a:buClr>
                <a:schemeClr val="dk1"/>
              </a:buClr>
              <a:buSzPts val="1100"/>
              <a:buFont typeface="Arial"/>
              <a:buNone/>
            </a:pPr>
            <a:r>
              <a:rPr lang="en-US" sz="1400">
                <a:highlight>
                  <a:srgbClr val="FFFF00"/>
                </a:highlight>
                <a:latin typeface="Arial"/>
                <a:ea typeface="Arial"/>
                <a:cs typeface="Arial"/>
                <a:sym typeface="Arial"/>
              </a:rPr>
              <a:t>You’ll have access through our Secure File transfer protocol site</a:t>
            </a:r>
          </a:p>
          <a:p>
            <a:pPr marL="0" lvl="0" indent="0" algn="l" rtl="0">
              <a:spcBef>
                <a:spcPts val="0"/>
              </a:spcBef>
              <a:spcAft>
                <a:spcPts val="0"/>
              </a:spcAft>
              <a:buClr>
                <a:schemeClr val="dk1"/>
              </a:buClr>
              <a:buSzPts val="1100"/>
              <a:buFont typeface="Arial"/>
              <a:buNone/>
            </a:pPr>
            <a:r>
              <a:rPr lang="en-US" sz="1400">
                <a:highlight>
                  <a:srgbClr val="FFFF00"/>
                </a:highlight>
                <a:latin typeface="Arial"/>
                <a:ea typeface="Arial"/>
                <a:cs typeface="Arial"/>
                <a:sym typeface="Arial"/>
              </a:rPr>
              <a:t>They’re relatively small and you can open them via excel or csvs</a:t>
            </a:r>
          </a:p>
        </p:txBody>
      </p:sp>
      <p:sp>
        <p:nvSpPr>
          <p:cNvPr id="1386" name="Google Shape;1386;g28f87540acf_0_880: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t>12</a:t>
            </a:fld>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83"/>
        <p:cNvGrpSpPr/>
        <p:nvPr/>
      </p:nvGrpSpPr>
      <p:grpSpPr>
        <a:xfrm>
          <a:off x="0" y="0"/>
          <a:ext cx="0" cy="0"/>
          <a:chOff x="0" y="0"/>
          <a:chExt cx="0" cy="0"/>
        </a:xfrm>
      </p:grpSpPr>
      <p:sp>
        <p:nvSpPr>
          <p:cNvPr id="1384" name="Google Shape;1384;g28f87540acf_0_88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85" name="Google Shape;1385;g28f87540acf_0_88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100"/>
              <a:buFont typeface="Arial"/>
              <a:buNone/>
            </a:pPr>
            <a:endParaRPr sz="1400">
              <a:highlight>
                <a:srgbClr val="FFFF00"/>
              </a:highlight>
              <a:latin typeface="Arial"/>
              <a:ea typeface="Arial"/>
              <a:cs typeface="Arial"/>
              <a:sym typeface="Arial"/>
            </a:endParaRPr>
          </a:p>
        </p:txBody>
      </p:sp>
      <p:sp>
        <p:nvSpPr>
          <p:cNvPr id="1386" name="Google Shape;1386;g28f87540acf_0_880: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t>13</a:t>
            </a:fld>
            <a:endParaRPr/>
          </a:p>
        </p:txBody>
      </p:sp>
    </p:spTree>
    <p:extLst>
      <p:ext uri="{BB962C8B-B14F-4D97-AF65-F5344CB8AC3E}">
        <p14:creationId xmlns:p14="http://schemas.microsoft.com/office/powerpoint/2010/main" val="26656296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83"/>
        <p:cNvGrpSpPr/>
        <p:nvPr/>
      </p:nvGrpSpPr>
      <p:grpSpPr>
        <a:xfrm>
          <a:off x="0" y="0"/>
          <a:ext cx="0" cy="0"/>
          <a:chOff x="0" y="0"/>
          <a:chExt cx="0" cy="0"/>
        </a:xfrm>
      </p:grpSpPr>
      <p:sp>
        <p:nvSpPr>
          <p:cNvPr id="1384" name="Google Shape;1384;g28f87540acf_0_88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85" name="Google Shape;1385;g28f87540acf_0_88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100"/>
              <a:buFont typeface="Arial"/>
              <a:buNone/>
            </a:pPr>
            <a:endParaRPr sz="1400">
              <a:highlight>
                <a:srgbClr val="FFFF00"/>
              </a:highlight>
              <a:latin typeface="Arial"/>
              <a:ea typeface="Arial"/>
              <a:cs typeface="Arial"/>
              <a:sym typeface="Arial"/>
            </a:endParaRPr>
          </a:p>
        </p:txBody>
      </p:sp>
      <p:sp>
        <p:nvSpPr>
          <p:cNvPr id="1386" name="Google Shape;1386;g28f87540acf_0_880: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t>14</a:t>
            </a:fld>
            <a:endParaRPr/>
          </a:p>
        </p:txBody>
      </p:sp>
    </p:spTree>
    <p:extLst>
      <p:ext uri="{BB962C8B-B14F-4D97-AF65-F5344CB8AC3E}">
        <p14:creationId xmlns:p14="http://schemas.microsoft.com/office/powerpoint/2010/main" val="5677322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83"/>
        <p:cNvGrpSpPr/>
        <p:nvPr/>
      </p:nvGrpSpPr>
      <p:grpSpPr>
        <a:xfrm>
          <a:off x="0" y="0"/>
          <a:ext cx="0" cy="0"/>
          <a:chOff x="0" y="0"/>
          <a:chExt cx="0" cy="0"/>
        </a:xfrm>
      </p:grpSpPr>
      <p:sp>
        <p:nvSpPr>
          <p:cNvPr id="1384" name="Google Shape;1384;g28f87540acf_0_88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85" name="Google Shape;1385;g28f87540acf_0_88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100"/>
              <a:buFont typeface="Arial"/>
              <a:buNone/>
            </a:pPr>
            <a:r>
              <a:rPr lang="en-US" sz="1400" b="1">
                <a:latin typeface="Arial"/>
                <a:ea typeface="Arial"/>
                <a:cs typeface="Arial"/>
                <a:sym typeface="Arial"/>
              </a:rPr>
              <a:t>Why this slide is important:</a:t>
            </a:r>
            <a:endParaRPr sz="1400" b="1">
              <a:latin typeface="Arial"/>
              <a:ea typeface="Arial"/>
              <a:cs typeface="Arial"/>
              <a:sym typeface="Arial"/>
            </a:endParaRPr>
          </a:p>
          <a:p>
            <a:pPr marL="457200" lvl="0" indent="-317500" algn="l" rtl="0">
              <a:lnSpc>
                <a:spcPct val="115000"/>
              </a:lnSpc>
              <a:spcBef>
                <a:spcPts val="0"/>
              </a:spcBef>
              <a:spcAft>
                <a:spcPts val="0"/>
              </a:spcAft>
              <a:buSzPts val="1400"/>
              <a:buFont typeface="Arial"/>
              <a:buChar char="●"/>
            </a:pPr>
            <a:r>
              <a:rPr lang="en-US" sz="1400">
                <a:latin typeface="Arial"/>
                <a:ea typeface="Arial"/>
                <a:cs typeface="Arial"/>
                <a:sym typeface="Arial"/>
              </a:rPr>
              <a:t>Students often struggle at the beginning of their project if dataset details are not clear and comprehensive</a:t>
            </a:r>
            <a:endParaRPr sz="1400">
              <a:latin typeface="Arial"/>
              <a:ea typeface="Arial"/>
              <a:cs typeface="Arial"/>
              <a:sym typeface="Arial"/>
            </a:endParaRPr>
          </a:p>
          <a:p>
            <a:pPr marL="0" lvl="0" indent="0" algn="l" rtl="0">
              <a:spcBef>
                <a:spcPts val="0"/>
              </a:spcBef>
              <a:spcAft>
                <a:spcPts val="0"/>
              </a:spcAft>
              <a:buClr>
                <a:schemeClr val="dk1"/>
              </a:buClr>
              <a:buSzPts val="1100"/>
              <a:buFont typeface="Arial"/>
              <a:buNone/>
            </a:pPr>
            <a:endParaRPr sz="1400">
              <a:latin typeface="Arial"/>
              <a:ea typeface="Arial"/>
              <a:cs typeface="Arial"/>
              <a:sym typeface="Arial"/>
            </a:endParaRPr>
          </a:p>
          <a:p>
            <a:pPr marL="0" lvl="0" indent="0" algn="l" rtl="0">
              <a:spcBef>
                <a:spcPts val="0"/>
              </a:spcBef>
              <a:spcAft>
                <a:spcPts val="0"/>
              </a:spcAft>
              <a:buNone/>
            </a:pPr>
            <a:r>
              <a:rPr lang="en-US" sz="1400" b="1">
                <a:latin typeface="Arial"/>
                <a:ea typeface="Arial"/>
                <a:cs typeface="Arial"/>
                <a:sym typeface="Arial"/>
              </a:rPr>
              <a:t>Guidance on filling in / presenting this slide:</a:t>
            </a:r>
            <a:endParaRPr sz="1400" b="1">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Char char="●"/>
            </a:pPr>
            <a:r>
              <a:rPr lang="en-US" sz="1400">
                <a:latin typeface="Arial"/>
                <a:ea typeface="Arial"/>
                <a:cs typeface="Arial"/>
                <a:sym typeface="Arial"/>
              </a:rPr>
              <a:t>Include a screenshot of the data if possible</a:t>
            </a:r>
            <a:endParaRPr sz="1400">
              <a:latin typeface="Arial"/>
              <a:ea typeface="Arial"/>
              <a:cs typeface="Arial"/>
              <a:sym typeface="Arial"/>
            </a:endParaRPr>
          </a:p>
          <a:p>
            <a:pPr marL="457200" lvl="0" indent="-317500" algn="l" rtl="0">
              <a:lnSpc>
                <a:spcPct val="115000"/>
              </a:lnSpc>
              <a:spcBef>
                <a:spcPts val="0"/>
              </a:spcBef>
              <a:spcAft>
                <a:spcPts val="0"/>
              </a:spcAft>
              <a:buSzPts val="1400"/>
              <a:buFont typeface="Arial"/>
              <a:buChar char="●"/>
            </a:pPr>
            <a:r>
              <a:rPr lang="en-US" sz="1400">
                <a:highlight>
                  <a:srgbClr val="FFFF00"/>
                </a:highlight>
                <a:latin typeface="Arial"/>
                <a:ea typeface="Arial"/>
                <a:cs typeface="Arial"/>
                <a:sym typeface="Arial"/>
              </a:rPr>
              <a:t>Most importantly: Don’t forget to provide a link to download the dataset!</a:t>
            </a:r>
            <a:endParaRPr sz="1400">
              <a:highlight>
                <a:srgbClr val="FFFF00"/>
              </a:highlight>
              <a:latin typeface="Arial"/>
              <a:ea typeface="Arial"/>
              <a:cs typeface="Arial"/>
              <a:sym typeface="Arial"/>
            </a:endParaRPr>
          </a:p>
        </p:txBody>
      </p:sp>
      <p:sp>
        <p:nvSpPr>
          <p:cNvPr id="1386" name="Google Shape;1386;g28f87540acf_0_880: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t>15</a:t>
            </a:fld>
            <a:endParaRPr/>
          </a:p>
        </p:txBody>
      </p:sp>
    </p:spTree>
    <p:extLst>
      <p:ext uri="{BB962C8B-B14F-4D97-AF65-F5344CB8AC3E}">
        <p14:creationId xmlns:p14="http://schemas.microsoft.com/office/powerpoint/2010/main" val="3096307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92"/>
        <p:cNvGrpSpPr/>
        <p:nvPr/>
      </p:nvGrpSpPr>
      <p:grpSpPr>
        <a:xfrm>
          <a:off x="0" y="0"/>
          <a:ext cx="0" cy="0"/>
          <a:chOff x="0" y="0"/>
          <a:chExt cx="0" cy="0"/>
        </a:xfrm>
      </p:grpSpPr>
      <p:sp>
        <p:nvSpPr>
          <p:cNvPr id="1393" name="Google Shape;1393;g2eb22256fb0_0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94" name="Google Shape;1394;g2eb22256fb0_0_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100"/>
              <a:buFont typeface="Arial"/>
              <a:buNone/>
            </a:pPr>
            <a:r>
              <a:rPr lang="en-US" sz="1400">
                <a:latin typeface="Arial"/>
                <a:ea typeface="Arial"/>
                <a:cs typeface="Arial"/>
                <a:sym typeface="Arial"/>
              </a:rPr>
              <a:t>You will get an email with your username, and another email with your password. Your username is likely your email address</a:t>
            </a:r>
          </a:p>
          <a:p>
            <a:pPr marL="0" lvl="0" indent="0" algn="l" rtl="0">
              <a:spcBef>
                <a:spcPts val="0"/>
              </a:spcBef>
              <a:spcAft>
                <a:spcPts val="0"/>
              </a:spcAft>
              <a:buClr>
                <a:schemeClr val="dk1"/>
              </a:buClr>
              <a:buSzPts val="1100"/>
              <a:buFont typeface="Arial"/>
              <a:buNone/>
            </a:pPr>
            <a:r>
              <a:rPr lang="en-US" sz="1400">
                <a:latin typeface="Arial"/>
                <a:ea typeface="Arial"/>
                <a:cs typeface="Arial"/>
                <a:sym typeface="Arial"/>
              </a:rPr>
              <a:t>. Your password will be temporary and expect you to create a new password</a:t>
            </a:r>
          </a:p>
        </p:txBody>
      </p:sp>
      <p:sp>
        <p:nvSpPr>
          <p:cNvPr id="1395" name="Google Shape;1395;g2eb22256fb0_0_0: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t>16</a:t>
            </a:fld>
            <a:endParaRPr/>
          </a:p>
        </p:txBody>
      </p:sp>
    </p:spTree>
    <p:extLst>
      <p:ext uri="{BB962C8B-B14F-4D97-AF65-F5344CB8AC3E}">
        <p14:creationId xmlns:p14="http://schemas.microsoft.com/office/powerpoint/2010/main" val="11872753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im to take this section</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1517667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58"/>
        <p:cNvGrpSpPr/>
        <p:nvPr/>
      </p:nvGrpSpPr>
      <p:grpSpPr>
        <a:xfrm>
          <a:off x="0" y="0"/>
          <a:ext cx="0" cy="0"/>
          <a:chOff x="0" y="0"/>
          <a:chExt cx="0" cy="0"/>
        </a:xfrm>
      </p:grpSpPr>
      <p:sp>
        <p:nvSpPr>
          <p:cNvPr id="1359" name="Google Shape;1359;g28f87540acf_0_86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60" name="Google Shape;1360;g28f87540acf_0_862: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100"/>
              <a:buFont typeface="Arial"/>
              <a:buNone/>
            </a:pPr>
            <a:r>
              <a:rPr lang="en-US" sz="1400" b="1">
                <a:latin typeface="Arial"/>
                <a:ea typeface="Arial"/>
                <a:cs typeface="Arial"/>
                <a:sym typeface="Arial"/>
              </a:rPr>
              <a:t>Why this slide is important:</a:t>
            </a:r>
            <a:endParaRPr sz="1400" b="1">
              <a:latin typeface="Arial"/>
              <a:ea typeface="Arial"/>
              <a:cs typeface="Arial"/>
              <a:sym typeface="Arial"/>
            </a:endParaRPr>
          </a:p>
          <a:p>
            <a:pPr marL="457200" lvl="0" indent="-317500" algn="l" rtl="0">
              <a:lnSpc>
                <a:spcPct val="115000"/>
              </a:lnSpc>
              <a:spcBef>
                <a:spcPts val="0"/>
              </a:spcBef>
              <a:spcAft>
                <a:spcPts val="0"/>
              </a:spcAft>
              <a:buSzPts val="1400"/>
              <a:buFont typeface="Arial"/>
              <a:buChar char="●"/>
            </a:pPr>
            <a:r>
              <a:rPr lang="en-US" sz="1400">
                <a:latin typeface="Arial"/>
                <a:ea typeface="Arial"/>
                <a:cs typeface="Arial"/>
                <a:sym typeface="Arial"/>
              </a:rPr>
              <a:t>Provides a starting point for students who are new to AI/ML and have not worked on a project like this before</a:t>
            </a:r>
            <a:endParaRPr sz="1400">
              <a:latin typeface="Arial"/>
              <a:ea typeface="Arial"/>
              <a:cs typeface="Arial"/>
              <a:sym typeface="Arial"/>
            </a:endParaRPr>
          </a:p>
          <a:p>
            <a:pPr marL="0" lvl="0" indent="0" algn="l" rtl="0">
              <a:spcBef>
                <a:spcPts val="0"/>
              </a:spcBef>
              <a:spcAft>
                <a:spcPts val="0"/>
              </a:spcAft>
              <a:buClr>
                <a:schemeClr val="dk1"/>
              </a:buClr>
              <a:buSzPts val="1100"/>
              <a:buFont typeface="Arial"/>
              <a:buNone/>
            </a:pPr>
            <a:endParaRPr sz="1400">
              <a:latin typeface="Arial"/>
              <a:ea typeface="Arial"/>
              <a:cs typeface="Arial"/>
              <a:sym typeface="Arial"/>
            </a:endParaRPr>
          </a:p>
          <a:p>
            <a:pPr marL="0" lvl="0" indent="0" algn="l" rtl="0">
              <a:spcBef>
                <a:spcPts val="0"/>
              </a:spcBef>
              <a:spcAft>
                <a:spcPts val="0"/>
              </a:spcAft>
              <a:buNone/>
            </a:pPr>
            <a:r>
              <a:rPr lang="en-US" sz="1400" b="1">
                <a:latin typeface="Arial"/>
                <a:ea typeface="Arial"/>
                <a:cs typeface="Arial"/>
                <a:sym typeface="Arial"/>
              </a:rPr>
              <a:t>Guidance on filling in / presenting this slide:</a:t>
            </a:r>
            <a:endParaRPr sz="1400" b="1">
              <a:latin typeface="Arial"/>
              <a:ea typeface="Arial"/>
              <a:cs typeface="Arial"/>
              <a:sym typeface="Arial"/>
            </a:endParaRPr>
          </a:p>
          <a:p>
            <a:pPr marL="457200" lvl="0" indent="-317500" algn="l" rtl="0">
              <a:lnSpc>
                <a:spcPct val="115000"/>
              </a:lnSpc>
              <a:spcBef>
                <a:spcPts val="0"/>
              </a:spcBef>
              <a:spcAft>
                <a:spcPts val="0"/>
              </a:spcAft>
              <a:buSzPts val="1400"/>
              <a:buFont typeface="Arial"/>
              <a:buChar char="●"/>
            </a:pPr>
            <a:r>
              <a:rPr lang="en-US" sz="1400">
                <a:latin typeface="Arial"/>
                <a:ea typeface="Arial"/>
                <a:cs typeface="Arial"/>
                <a:sym typeface="Arial"/>
              </a:rPr>
              <a:t>Try to be as specific as possible here, so the students have a good understanding of the problem space and where to begin</a:t>
            </a:r>
            <a:endParaRPr sz="1400">
              <a:latin typeface="Arial"/>
              <a:ea typeface="Arial"/>
              <a:cs typeface="Arial"/>
              <a:sym typeface="Arial"/>
            </a:endParaRPr>
          </a:p>
          <a:p>
            <a:pPr marL="457200" lvl="0" indent="-317500" algn="l" rtl="0">
              <a:lnSpc>
                <a:spcPct val="115000"/>
              </a:lnSpc>
              <a:spcBef>
                <a:spcPts val="0"/>
              </a:spcBef>
              <a:spcAft>
                <a:spcPts val="0"/>
              </a:spcAft>
              <a:buSzPts val="1400"/>
              <a:buFont typeface="Arial"/>
              <a:buChar char="●"/>
            </a:pPr>
            <a:r>
              <a:rPr lang="en-US" sz="1400">
                <a:latin typeface="Arial"/>
                <a:ea typeface="Arial"/>
                <a:cs typeface="Arial"/>
                <a:sym typeface="Arial"/>
              </a:rPr>
              <a:t>Remember that the students will likely have limited experience with unsupervised learning, NLP, and deep learning</a:t>
            </a:r>
            <a:endParaRPr sz="1400">
              <a:latin typeface="Arial"/>
              <a:ea typeface="Arial"/>
              <a:cs typeface="Arial"/>
              <a:sym typeface="Arial"/>
            </a:endParaRPr>
          </a:p>
          <a:p>
            <a:pPr marL="457200" lvl="0" indent="-317500" algn="l" rtl="0">
              <a:lnSpc>
                <a:spcPct val="115000"/>
              </a:lnSpc>
              <a:spcBef>
                <a:spcPts val="0"/>
              </a:spcBef>
              <a:spcAft>
                <a:spcPts val="0"/>
              </a:spcAft>
              <a:buSzPts val="1400"/>
              <a:buFont typeface="Arial"/>
              <a:buChar char="●"/>
            </a:pPr>
            <a:r>
              <a:rPr lang="en-US" sz="1400" i="1">
                <a:latin typeface="Arial"/>
                <a:ea typeface="Arial"/>
                <a:cs typeface="Arial"/>
                <a:sym typeface="Arial"/>
              </a:rPr>
              <a:t>During the meeting with your student team: </a:t>
            </a:r>
            <a:r>
              <a:rPr lang="en-US" sz="1400">
                <a:latin typeface="Arial"/>
                <a:ea typeface="Arial"/>
                <a:cs typeface="Arial"/>
                <a:sym typeface="Arial"/>
              </a:rPr>
              <a:t>Consider pausing here to ask if the students have any questions</a:t>
            </a:r>
            <a:endParaRPr sz="1400">
              <a:latin typeface="Arial"/>
              <a:ea typeface="Arial"/>
              <a:cs typeface="Arial"/>
              <a:sym typeface="Arial"/>
            </a:endParaRPr>
          </a:p>
          <a:p>
            <a:pPr marL="0" lvl="0" indent="0" algn="l" rtl="0">
              <a:spcBef>
                <a:spcPts val="0"/>
              </a:spcBef>
              <a:spcAft>
                <a:spcPts val="0"/>
              </a:spcAft>
              <a:buNone/>
            </a:pPr>
            <a:endParaRPr sz="1400">
              <a:latin typeface="Arial"/>
              <a:ea typeface="Arial"/>
              <a:cs typeface="Arial"/>
              <a:sym typeface="Arial"/>
            </a:endParaRPr>
          </a:p>
        </p:txBody>
      </p:sp>
      <p:sp>
        <p:nvSpPr>
          <p:cNvPr id="1361" name="Google Shape;1361;g28f87540acf_0_862: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t>18</a:t>
            </a:fld>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92"/>
        <p:cNvGrpSpPr/>
        <p:nvPr/>
      </p:nvGrpSpPr>
      <p:grpSpPr>
        <a:xfrm>
          <a:off x="0" y="0"/>
          <a:ext cx="0" cy="0"/>
          <a:chOff x="0" y="0"/>
          <a:chExt cx="0" cy="0"/>
        </a:xfrm>
      </p:grpSpPr>
      <p:sp>
        <p:nvSpPr>
          <p:cNvPr id="1393" name="Google Shape;1393;g2eb22256fb0_0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94" name="Google Shape;1394;g2eb22256fb0_0_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100"/>
              <a:buFont typeface="Arial"/>
              <a:buNone/>
            </a:pPr>
            <a:r>
              <a:rPr lang="en-US" sz="1400" b="1">
                <a:latin typeface="Arial"/>
                <a:ea typeface="Arial"/>
                <a:cs typeface="Arial"/>
                <a:sym typeface="Arial"/>
              </a:rPr>
              <a:t>Why this slide is important:</a:t>
            </a:r>
            <a:endParaRPr sz="1400" b="1">
              <a:latin typeface="Arial"/>
              <a:ea typeface="Arial"/>
              <a:cs typeface="Arial"/>
              <a:sym typeface="Arial"/>
            </a:endParaRPr>
          </a:p>
          <a:p>
            <a:pPr marL="457200" lvl="0" indent="-317500" algn="l" rtl="0">
              <a:lnSpc>
                <a:spcPct val="115000"/>
              </a:lnSpc>
              <a:spcBef>
                <a:spcPts val="0"/>
              </a:spcBef>
              <a:spcAft>
                <a:spcPts val="0"/>
              </a:spcAft>
              <a:buSzPts val="1400"/>
              <a:buFont typeface="Arial"/>
              <a:buChar char="●"/>
            </a:pPr>
            <a:r>
              <a:rPr lang="en-US" sz="1400">
                <a:latin typeface="Arial"/>
                <a:ea typeface="Arial"/>
                <a:cs typeface="Arial"/>
                <a:sym typeface="Arial"/>
              </a:rPr>
              <a:t>Recommendations for specific Python libraries will save the students time and effort at the outset of their project, and help them build confidence since they’ll know where to start in terms of researching and importing relevant libraries</a:t>
            </a:r>
            <a:endParaRPr sz="1400">
              <a:latin typeface="Arial"/>
              <a:ea typeface="Arial"/>
              <a:cs typeface="Arial"/>
              <a:sym typeface="Arial"/>
            </a:endParaRPr>
          </a:p>
          <a:p>
            <a:pPr marL="0" lvl="0" indent="0" algn="l" rtl="0">
              <a:spcBef>
                <a:spcPts val="0"/>
              </a:spcBef>
              <a:spcAft>
                <a:spcPts val="0"/>
              </a:spcAft>
              <a:buClr>
                <a:schemeClr val="dk1"/>
              </a:buClr>
              <a:buSzPts val="1100"/>
              <a:buFont typeface="Arial"/>
              <a:buNone/>
            </a:pPr>
            <a:endParaRPr sz="1400">
              <a:latin typeface="Arial"/>
              <a:ea typeface="Arial"/>
              <a:cs typeface="Arial"/>
              <a:sym typeface="Arial"/>
            </a:endParaRPr>
          </a:p>
          <a:p>
            <a:pPr marL="0" lvl="0" indent="0" algn="l" rtl="0">
              <a:spcBef>
                <a:spcPts val="0"/>
              </a:spcBef>
              <a:spcAft>
                <a:spcPts val="0"/>
              </a:spcAft>
              <a:buNone/>
            </a:pPr>
            <a:r>
              <a:rPr lang="en-US" sz="1400" b="1">
                <a:latin typeface="Arial"/>
                <a:ea typeface="Arial"/>
                <a:cs typeface="Arial"/>
                <a:sym typeface="Arial"/>
              </a:rPr>
              <a:t>Guidance on filling in / presenting this slide:</a:t>
            </a:r>
            <a:endParaRPr sz="1400" b="1">
              <a:latin typeface="Arial"/>
              <a:ea typeface="Arial"/>
              <a:cs typeface="Arial"/>
              <a:sym typeface="Arial"/>
            </a:endParaRPr>
          </a:p>
          <a:p>
            <a:pPr marL="457200" lvl="0" indent="-317500" algn="l" rtl="0">
              <a:lnSpc>
                <a:spcPct val="115000"/>
              </a:lnSpc>
              <a:spcBef>
                <a:spcPts val="0"/>
              </a:spcBef>
              <a:spcAft>
                <a:spcPts val="0"/>
              </a:spcAft>
              <a:buSzPts val="1400"/>
              <a:buFont typeface="Arial"/>
              <a:buChar char="●"/>
            </a:pPr>
            <a:r>
              <a:rPr lang="en-US" sz="1400" i="1">
                <a:latin typeface="Arial"/>
                <a:ea typeface="Arial"/>
                <a:cs typeface="Arial"/>
                <a:sym typeface="Arial"/>
              </a:rPr>
              <a:t>During the meeting with your student team: </a:t>
            </a:r>
            <a:r>
              <a:rPr lang="en-US" sz="1400">
                <a:latin typeface="Arial"/>
                <a:ea typeface="Arial"/>
                <a:cs typeface="Arial"/>
                <a:sym typeface="Arial"/>
              </a:rPr>
              <a:t>Explain why the suggested libraries are appropriate for the project, and what each one is for. Remember that while all the students have hands-on Python experience, some may still be getting used to using it in practice. </a:t>
            </a:r>
            <a:endParaRPr sz="1400">
              <a:latin typeface="Arial"/>
              <a:ea typeface="Arial"/>
              <a:cs typeface="Arial"/>
              <a:sym typeface="Arial"/>
            </a:endParaRPr>
          </a:p>
        </p:txBody>
      </p:sp>
      <p:sp>
        <p:nvSpPr>
          <p:cNvPr id="1395" name="Google Shape;1395;g2eb22256fb0_0_0: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t>19</a:t>
            </a:fld>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01"/>
        <p:cNvGrpSpPr/>
        <p:nvPr/>
      </p:nvGrpSpPr>
      <p:grpSpPr>
        <a:xfrm>
          <a:off x="0" y="0"/>
          <a:ext cx="0" cy="0"/>
          <a:chOff x="0" y="0"/>
          <a:chExt cx="0" cy="0"/>
        </a:xfrm>
      </p:grpSpPr>
      <p:sp>
        <p:nvSpPr>
          <p:cNvPr id="1402" name="Google Shape;1402;g28f87540acf_0_87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03" name="Google Shape;1403;g28f87540acf_0_87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100"/>
              <a:buFont typeface="Arial"/>
              <a:buNone/>
            </a:pPr>
            <a:r>
              <a:rPr lang="en-US" sz="1400" b="1">
                <a:latin typeface="Arial"/>
                <a:ea typeface="Arial"/>
                <a:cs typeface="Arial"/>
                <a:sym typeface="Arial"/>
              </a:rPr>
              <a:t>Why this slide is important:</a:t>
            </a:r>
            <a:endParaRPr sz="1400" b="1">
              <a:latin typeface="Arial"/>
              <a:ea typeface="Arial"/>
              <a:cs typeface="Arial"/>
              <a:sym typeface="Arial"/>
            </a:endParaRPr>
          </a:p>
          <a:p>
            <a:pPr marL="457200" lvl="0" indent="-317500" algn="l" rtl="0">
              <a:lnSpc>
                <a:spcPct val="115000"/>
              </a:lnSpc>
              <a:spcBef>
                <a:spcPts val="0"/>
              </a:spcBef>
              <a:spcAft>
                <a:spcPts val="0"/>
              </a:spcAft>
              <a:buSzPts val="1400"/>
              <a:buFont typeface="Arial"/>
              <a:buChar char="●"/>
            </a:pPr>
            <a:r>
              <a:rPr lang="en-US" sz="1400">
                <a:latin typeface="Arial"/>
                <a:ea typeface="Arial"/>
                <a:cs typeface="Arial"/>
                <a:sym typeface="Arial"/>
              </a:rPr>
              <a:t>Ensures the students use industry-standard tools (and ones that you are familiar with and can help them use)</a:t>
            </a:r>
            <a:endParaRPr sz="1400">
              <a:latin typeface="Arial"/>
              <a:ea typeface="Arial"/>
              <a:cs typeface="Arial"/>
              <a:sym typeface="Arial"/>
            </a:endParaRPr>
          </a:p>
          <a:p>
            <a:pPr marL="0" lvl="0" indent="0" algn="l" rtl="0">
              <a:spcBef>
                <a:spcPts val="0"/>
              </a:spcBef>
              <a:spcAft>
                <a:spcPts val="0"/>
              </a:spcAft>
              <a:buClr>
                <a:schemeClr val="dk1"/>
              </a:buClr>
              <a:buSzPts val="1100"/>
              <a:buFont typeface="Arial"/>
              <a:buNone/>
            </a:pPr>
            <a:endParaRPr sz="1400">
              <a:latin typeface="Arial"/>
              <a:ea typeface="Arial"/>
              <a:cs typeface="Arial"/>
              <a:sym typeface="Arial"/>
            </a:endParaRPr>
          </a:p>
          <a:p>
            <a:pPr marL="0" lvl="0" indent="0" algn="l" rtl="0">
              <a:spcBef>
                <a:spcPts val="0"/>
              </a:spcBef>
              <a:spcAft>
                <a:spcPts val="0"/>
              </a:spcAft>
              <a:buNone/>
            </a:pPr>
            <a:r>
              <a:rPr lang="en-US" sz="1400" b="1">
                <a:latin typeface="Arial"/>
                <a:ea typeface="Arial"/>
                <a:cs typeface="Arial"/>
                <a:sym typeface="Arial"/>
              </a:rPr>
              <a:t>Guidance on filling in / presenting this slide:</a:t>
            </a:r>
            <a:endParaRPr sz="1400" b="1">
              <a:latin typeface="Arial"/>
              <a:ea typeface="Arial"/>
              <a:cs typeface="Arial"/>
              <a:sym typeface="Arial"/>
            </a:endParaRPr>
          </a:p>
          <a:p>
            <a:pPr marL="457200" lvl="0" indent="-317500" algn="l" rtl="0">
              <a:lnSpc>
                <a:spcPct val="115000"/>
              </a:lnSpc>
              <a:spcBef>
                <a:spcPts val="0"/>
              </a:spcBef>
              <a:spcAft>
                <a:spcPts val="0"/>
              </a:spcAft>
              <a:buSzPts val="1400"/>
              <a:buFont typeface="Arial"/>
              <a:buChar char="●"/>
            </a:pPr>
            <a:r>
              <a:rPr lang="en-US" sz="1400">
                <a:latin typeface="Arial"/>
                <a:ea typeface="Arial"/>
                <a:cs typeface="Arial"/>
                <a:sym typeface="Arial"/>
              </a:rPr>
              <a:t>Please </a:t>
            </a:r>
            <a:r>
              <a:rPr lang="en-US" sz="1400">
                <a:highlight>
                  <a:srgbClr val="FFFF00"/>
                </a:highlight>
                <a:latin typeface="Arial"/>
                <a:ea typeface="Arial"/>
                <a:cs typeface="Arial"/>
                <a:sym typeface="Arial"/>
              </a:rPr>
              <a:t>only suggest free tools</a:t>
            </a:r>
            <a:r>
              <a:rPr lang="en-US" sz="1400">
                <a:latin typeface="Arial"/>
                <a:ea typeface="Arial"/>
                <a:cs typeface="Arial"/>
                <a:sym typeface="Arial"/>
              </a:rPr>
              <a:t> to avoid the students needing to pay out of pocket (which is not within scope of our program)</a:t>
            </a:r>
            <a:endParaRPr sz="1400">
              <a:latin typeface="Arial"/>
              <a:ea typeface="Arial"/>
              <a:cs typeface="Arial"/>
              <a:sym typeface="Arial"/>
            </a:endParaRPr>
          </a:p>
          <a:p>
            <a:pPr marL="457200" lvl="0" indent="-317500" algn="l" rtl="0">
              <a:lnSpc>
                <a:spcPct val="115000"/>
              </a:lnSpc>
              <a:spcBef>
                <a:spcPts val="0"/>
              </a:spcBef>
              <a:spcAft>
                <a:spcPts val="0"/>
              </a:spcAft>
              <a:buSzPts val="1400"/>
              <a:buFont typeface="Arial"/>
              <a:buChar char="●"/>
            </a:pPr>
            <a:r>
              <a:rPr lang="en-US" sz="1400" i="1">
                <a:latin typeface="Arial"/>
                <a:ea typeface="Arial"/>
                <a:cs typeface="Arial"/>
                <a:sym typeface="Arial"/>
              </a:rPr>
              <a:t>During the meeting with your student team: </a:t>
            </a:r>
            <a:r>
              <a:rPr lang="en-US" sz="1400">
                <a:latin typeface="Arial"/>
                <a:ea typeface="Arial"/>
                <a:cs typeface="Arial"/>
                <a:sym typeface="Arial"/>
              </a:rPr>
              <a:t>Talk about how you use the suggested tools, methods, and frameworks in your professional life</a:t>
            </a:r>
            <a:endParaRPr sz="1400">
              <a:latin typeface="Arial"/>
              <a:ea typeface="Arial"/>
              <a:cs typeface="Arial"/>
              <a:sym typeface="Arial"/>
            </a:endParaRPr>
          </a:p>
          <a:p>
            <a:pPr marL="457200" lvl="0" indent="-317500" algn="l" rtl="0">
              <a:lnSpc>
                <a:spcPct val="115000"/>
              </a:lnSpc>
              <a:spcBef>
                <a:spcPts val="0"/>
              </a:spcBef>
              <a:spcAft>
                <a:spcPts val="0"/>
              </a:spcAft>
              <a:buSzPts val="1400"/>
              <a:buChar char="●"/>
            </a:pPr>
            <a:r>
              <a:rPr lang="en-US" sz="1400" u="sng">
                <a:latin typeface="Arial"/>
                <a:ea typeface="Arial"/>
                <a:cs typeface="Arial"/>
                <a:sym typeface="Arial"/>
              </a:rPr>
              <a:t>Reminder</a:t>
            </a:r>
            <a:r>
              <a:rPr lang="en-US" sz="1400">
                <a:latin typeface="Arial"/>
                <a:ea typeface="Arial"/>
                <a:cs typeface="Arial"/>
                <a:sym typeface="Arial"/>
              </a:rPr>
              <a:t>: Most students will be expecting to use Google Colab to access free GPUs and do collaborative development work (and this is also our preference given the success we’ve seen with previous cohorts using Google Colab). </a:t>
            </a:r>
            <a:r>
              <a:rPr lang="en-US" sz="1400" b="1">
                <a:latin typeface="Arial"/>
                <a:ea typeface="Arial"/>
                <a:cs typeface="Arial"/>
                <a:sym typeface="Arial"/>
              </a:rPr>
              <a:t>We’d like all student teams to use GitHub; please encourage this when you meet with them! </a:t>
            </a:r>
            <a:endParaRPr sz="1400" b="1">
              <a:latin typeface="Arial"/>
              <a:ea typeface="Arial"/>
              <a:cs typeface="Arial"/>
              <a:sym typeface="Arial"/>
            </a:endParaRPr>
          </a:p>
        </p:txBody>
      </p:sp>
      <p:sp>
        <p:nvSpPr>
          <p:cNvPr id="1404" name="Google Shape;1404;g28f87540acf_0_871: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t>20</a:t>
            </a:fld>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10"/>
        <p:cNvGrpSpPr/>
        <p:nvPr/>
      </p:nvGrpSpPr>
      <p:grpSpPr>
        <a:xfrm>
          <a:off x="0" y="0"/>
          <a:ext cx="0" cy="0"/>
          <a:chOff x="0" y="0"/>
          <a:chExt cx="0" cy="0"/>
        </a:xfrm>
      </p:grpSpPr>
      <p:sp>
        <p:nvSpPr>
          <p:cNvPr id="1411" name="Google Shape;1411;g2e75ed8624e_2_89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12" name="Google Shape;1412;g2e75ed8624e_2_895: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100"/>
              <a:buFont typeface="Arial"/>
              <a:buNone/>
            </a:pPr>
            <a:r>
              <a:rPr lang="en-US" sz="1400" b="1">
                <a:latin typeface="Arial"/>
                <a:ea typeface="Arial"/>
                <a:cs typeface="Arial"/>
                <a:sym typeface="Arial"/>
              </a:rPr>
              <a:t>Why this slide is important:</a:t>
            </a:r>
            <a:endParaRPr sz="1400" b="1">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Char char="●"/>
            </a:pPr>
            <a:r>
              <a:rPr lang="en-US" sz="1400">
                <a:latin typeface="Arial"/>
                <a:ea typeface="Arial"/>
                <a:cs typeface="Arial"/>
                <a:sym typeface="Arial"/>
              </a:rPr>
              <a:t>Provides the students with additional learning materials that can help add context and inspire them</a:t>
            </a:r>
            <a:endParaRPr sz="1400">
              <a:latin typeface="Arial"/>
              <a:ea typeface="Arial"/>
              <a:cs typeface="Arial"/>
              <a:sym typeface="Arial"/>
            </a:endParaRPr>
          </a:p>
          <a:p>
            <a:pPr marL="0" lvl="0" indent="0" algn="l" rtl="0">
              <a:spcBef>
                <a:spcPts val="0"/>
              </a:spcBef>
              <a:spcAft>
                <a:spcPts val="0"/>
              </a:spcAft>
              <a:buClr>
                <a:schemeClr val="dk1"/>
              </a:buClr>
              <a:buSzPts val="1100"/>
              <a:buFont typeface="Arial"/>
              <a:buNone/>
            </a:pPr>
            <a:endParaRPr sz="1400">
              <a:latin typeface="Arial"/>
              <a:ea typeface="Arial"/>
              <a:cs typeface="Arial"/>
              <a:sym typeface="Arial"/>
            </a:endParaRPr>
          </a:p>
          <a:p>
            <a:pPr marL="0" lvl="0" indent="0" algn="l" rtl="0">
              <a:spcBef>
                <a:spcPts val="0"/>
              </a:spcBef>
              <a:spcAft>
                <a:spcPts val="0"/>
              </a:spcAft>
              <a:buClr>
                <a:schemeClr val="dk1"/>
              </a:buClr>
              <a:buSzPts val="1100"/>
              <a:buFont typeface="Arial"/>
              <a:buNone/>
            </a:pPr>
            <a:r>
              <a:rPr lang="en-US" sz="1400" b="1">
                <a:latin typeface="Arial"/>
                <a:ea typeface="Arial"/>
                <a:cs typeface="Arial"/>
                <a:sym typeface="Arial"/>
              </a:rPr>
              <a:t>Guidance on filling in / presenting this slide:</a:t>
            </a:r>
            <a:endParaRPr sz="1400" b="1">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Char char="●"/>
            </a:pPr>
            <a:r>
              <a:rPr lang="en-US" sz="1400">
                <a:latin typeface="Arial"/>
                <a:ea typeface="Arial"/>
                <a:cs typeface="Arial"/>
                <a:sym typeface="Arial"/>
              </a:rPr>
              <a:t>Curate (free) resources that are relevant and helpful</a:t>
            </a:r>
            <a:endParaRPr sz="1400">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Font typeface="Arial"/>
              <a:buChar char="●"/>
            </a:pPr>
            <a:r>
              <a:rPr lang="en-US" sz="1400">
                <a:latin typeface="Arial"/>
                <a:ea typeface="Arial"/>
                <a:cs typeface="Arial"/>
                <a:sym typeface="Arial"/>
              </a:rPr>
              <a:t>Avoid recommending in-depth courses that will take students away from core project work (e.g., </a:t>
            </a:r>
            <a:r>
              <a:rPr lang="en-US" sz="1400" u="sng">
                <a:latin typeface="Arial"/>
                <a:ea typeface="Arial"/>
                <a:cs typeface="Arial"/>
                <a:sym typeface="Arial"/>
              </a:rPr>
              <a:t>don’t</a:t>
            </a:r>
            <a:r>
              <a:rPr lang="en-US" sz="1400">
                <a:latin typeface="Arial"/>
                <a:ea typeface="Arial"/>
                <a:cs typeface="Arial"/>
                <a:sym typeface="Arial"/>
              </a:rPr>
              <a:t> recommend a multi-week Deep Learning Coursera course)</a:t>
            </a:r>
            <a:endParaRPr sz="1400" b="1">
              <a:latin typeface="Arial"/>
              <a:ea typeface="Arial"/>
              <a:cs typeface="Arial"/>
              <a:sym typeface="Arial"/>
            </a:endParaRPr>
          </a:p>
        </p:txBody>
      </p:sp>
      <p:sp>
        <p:nvSpPr>
          <p:cNvPr id="1413" name="Google Shape;1413;g2e75ed8624e_2_895: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t>21</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6"/>
        <p:cNvGrpSpPr/>
        <p:nvPr/>
      </p:nvGrpSpPr>
      <p:grpSpPr>
        <a:xfrm>
          <a:off x="0" y="0"/>
          <a:ext cx="0" cy="0"/>
          <a:chOff x="0" y="0"/>
          <a:chExt cx="0" cy="0"/>
        </a:xfrm>
      </p:grpSpPr>
      <p:sp>
        <p:nvSpPr>
          <p:cNvPr id="1307" name="Google Shape;1307;g28f87540acf_0_8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08" name="Google Shape;1308;g28f87540acf_0_82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400" b="0">
                <a:latin typeface="Arial"/>
                <a:ea typeface="Arial"/>
                <a:cs typeface="Arial"/>
                <a:sym typeface="Arial"/>
              </a:rPr>
              <a:t>They will introduce themselves when you meet them as your challenge advisor. </a:t>
            </a:r>
          </a:p>
          <a:p>
            <a:pPr marL="0" lvl="0" indent="0" algn="l" rtl="0">
              <a:spcBef>
                <a:spcPts val="0"/>
              </a:spcBef>
              <a:spcAft>
                <a:spcPts val="0"/>
              </a:spcAft>
              <a:buNone/>
            </a:pPr>
            <a:r>
              <a:rPr lang="en-US" sz="1400" b="0">
                <a:latin typeface="Arial"/>
                <a:ea typeface="Arial"/>
                <a:cs typeface="Arial"/>
                <a:sym typeface="Arial"/>
              </a:rPr>
              <a:t>8 challenge advisors</a:t>
            </a:r>
          </a:p>
          <a:p>
            <a:pPr marL="0" lvl="0" indent="0" algn="l" rtl="0">
              <a:spcBef>
                <a:spcPts val="0"/>
              </a:spcBef>
              <a:spcAft>
                <a:spcPts val="0"/>
              </a:spcAft>
              <a:buNone/>
            </a:pPr>
            <a:r>
              <a:rPr lang="en-US" sz="1400" b="0">
                <a:latin typeface="Arial"/>
                <a:ea typeface="Arial"/>
                <a:cs typeface="Arial"/>
                <a:sym typeface="Arial"/>
              </a:rPr>
              <a:t>3 program support</a:t>
            </a:r>
          </a:p>
          <a:p>
            <a:pPr marL="0" lvl="0" indent="0" algn="l" rtl="0">
              <a:spcBef>
                <a:spcPts val="0"/>
              </a:spcBef>
              <a:spcAft>
                <a:spcPts val="0"/>
              </a:spcAft>
              <a:buNone/>
            </a:pPr>
            <a:r>
              <a:rPr lang="en-US" sz="1400" b="0">
                <a:latin typeface="Arial"/>
                <a:ea typeface="Arial"/>
                <a:cs typeface="Arial"/>
                <a:sym typeface="Arial"/>
              </a:rPr>
              <a:t>Everyone brings a different set of skills, experience, and expertise to support you.</a:t>
            </a:r>
          </a:p>
          <a:p>
            <a:pPr marL="0" lvl="0" indent="0" algn="l" rtl="0">
              <a:spcBef>
                <a:spcPts val="0"/>
              </a:spcBef>
              <a:spcAft>
                <a:spcPts val="0"/>
              </a:spcAft>
              <a:buNone/>
            </a:pPr>
            <a:endParaRPr lang="en-US" sz="1400" b="1">
              <a:latin typeface="Arial"/>
              <a:ea typeface="Arial"/>
              <a:cs typeface="Arial"/>
              <a:sym typeface="Arial"/>
            </a:endParaRPr>
          </a:p>
          <a:p>
            <a:pPr marL="0" lvl="0" indent="0" algn="l" rtl="0">
              <a:spcBef>
                <a:spcPts val="0"/>
              </a:spcBef>
              <a:spcAft>
                <a:spcPts val="0"/>
              </a:spcAft>
              <a:buNone/>
            </a:pPr>
            <a:r>
              <a:rPr lang="en-US" sz="1400" b="1">
                <a:latin typeface="Arial"/>
                <a:ea typeface="Arial"/>
                <a:cs typeface="Arial"/>
                <a:sym typeface="Arial"/>
              </a:rPr>
              <a:t>Why this slide is important:</a:t>
            </a:r>
            <a:endParaRPr sz="1400" b="1">
              <a:latin typeface="Arial"/>
              <a:ea typeface="Arial"/>
              <a:cs typeface="Arial"/>
              <a:sym typeface="Arial"/>
            </a:endParaRPr>
          </a:p>
          <a:p>
            <a:pPr marL="457200" lvl="0" indent="-317500" algn="l" rtl="0">
              <a:spcBef>
                <a:spcPts val="0"/>
              </a:spcBef>
              <a:spcAft>
                <a:spcPts val="0"/>
              </a:spcAft>
              <a:buSzPts val="1400"/>
              <a:buFont typeface="Arial"/>
              <a:buChar char="●"/>
            </a:pPr>
            <a:r>
              <a:rPr lang="en-US" sz="1400">
                <a:latin typeface="Arial"/>
                <a:ea typeface="Arial"/>
                <a:cs typeface="Arial"/>
                <a:sym typeface="Arial"/>
              </a:rPr>
              <a:t>Lets the students know who you are and what you do</a:t>
            </a:r>
            <a:endParaRPr sz="1400">
              <a:latin typeface="Arial"/>
              <a:ea typeface="Arial"/>
              <a:cs typeface="Arial"/>
              <a:sym typeface="Arial"/>
            </a:endParaRPr>
          </a:p>
          <a:p>
            <a:pPr marL="0" lvl="0" indent="0" algn="l" rtl="0">
              <a:spcBef>
                <a:spcPts val="0"/>
              </a:spcBef>
              <a:spcAft>
                <a:spcPts val="0"/>
              </a:spcAft>
              <a:buNone/>
            </a:pPr>
            <a:endParaRPr sz="1400">
              <a:latin typeface="Arial"/>
              <a:ea typeface="Arial"/>
              <a:cs typeface="Arial"/>
              <a:sym typeface="Arial"/>
            </a:endParaRPr>
          </a:p>
          <a:p>
            <a:pPr marL="0" lvl="0" indent="0" algn="l" rtl="0">
              <a:spcBef>
                <a:spcPts val="0"/>
              </a:spcBef>
              <a:spcAft>
                <a:spcPts val="0"/>
              </a:spcAft>
              <a:buNone/>
            </a:pPr>
            <a:r>
              <a:rPr lang="en-US" sz="1400" b="1">
                <a:latin typeface="Arial"/>
                <a:ea typeface="Arial"/>
                <a:cs typeface="Arial"/>
                <a:sym typeface="Arial"/>
              </a:rPr>
              <a:t>Guidance on filling in / presenting this slide:</a:t>
            </a:r>
            <a:endParaRPr sz="1400" b="1">
              <a:latin typeface="Arial"/>
              <a:ea typeface="Arial"/>
              <a:cs typeface="Arial"/>
              <a:sym typeface="Arial"/>
            </a:endParaRPr>
          </a:p>
          <a:p>
            <a:pPr marL="457200" lvl="0" indent="-317500" algn="l" rtl="0">
              <a:spcBef>
                <a:spcPts val="0"/>
              </a:spcBef>
              <a:spcAft>
                <a:spcPts val="0"/>
              </a:spcAft>
              <a:buClr>
                <a:schemeClr val="dk1"/>
              </a:buClr>
              <a:buSzPts val="1400"/>
              <a:buFont typeface="Arial"/>
              <a:buChar char="●"/>
            </a:pPr>
            <a:r>
              <a:rPr lang="en-US" sz="1400">
                <a:latin typeface="Arial"/>
                <a:ea typeface="Arial"/>
                <a:cs typeface="Arial"/>
                <a:sym typeface="Arial"/>
              </a:rPr>
              <a:t>Replace the placeholder image in the circle with a picture of yourself </a:t>
            </a:r>
            <a:endParaRPr sz="1400">
              <a:latin typeface="Arial"/>
              <a:ea typeface="Arial"/>
              <a:cs typeface="Arial"/>
              <a:sym typeface="Arial"/>
            </a:endParaRPr>
          </a:p>
          <a:p>
            <a:pPr marL="457200" lvl="0" indent="-317500" algn="l" rtl="0">
              <a:spcBef>
                <a:spcPts val="0"/>
              </a:spcBef>
              <a:spcAft>
                <a:spcPts val="0"/>
              </a:spcAft>
              <a:buClr>
                <a:schemeClr val="dk1"/>
              </a:buClr>
              <a:buSzPts val="1400"/>
              <a:buFont typeface="Arial"/>
              <a:buChar char="●"/>
            </a:pPr>
            <a:r>
              <a:rPr lang="en-US" sz="1400">
                <a:latin typeface="Arial"/>
                <a:ea typeface="Arial"/>
                <a:cs typeface="Arial"/>
                <a:sym typeface="Arial"/>
              </a:rPr>
              <a:t>Rather than a professional headshot, consider uploading an appropriate photo of yourself doing something you enjoy (e.g., hiking, traveling)</a:t>
            </a:r>
            <a:endParaRPr sz="1400">
              <a:latin typeface="Arial"/>
              <a:ea typeface="Arial"/>
              <a:cs typeface="Arial"/>
              <a:sym typeface="Arial"/>
            </a:endParaRPr>
          </a:p>
          <a:p>
            <a:pPr marL="457200" lvl="0" indent="-317500" algn="l" rtl="0">
              <a:spcBef>
                <a:spcPts val="0"/>
              </a:spcBef>
              <a:spcAft>
                <a:spcPts val="0"/>
              </a:spcAft>
              <a:buClr>
                <a:schemeClr val="dk1"/>
              </a:buClr>
              <a:buSzPts val="1400"/>
              <a:buChar char="●"/>
            </a:pPr>
            <a:r>
              <a:rPr lang="en-US" sz="1400">
                <a:latin typeface="Arial"/>
                <a:ea typeface="Arial"/>
                <a:cs typeface="Arial"/>
                <a:sym typeface="Arial"/>
              </a:rPr>
              <a:t>Use your professional (work) email address, not your personal email address</a:t>
            </a:r>
            <a:endParaRPr sz="1400">
              <a:latin typeface="Arial"/>
              <a:ea typeface="Arial"/>
              <a:cs typeface="Arial"/>
              <a:sym typeface="Arial"/>
            </a:endParaRPr>
          </a:p>
          <a:p>
            <a:pPr marL="457200" lvl="0" indent="-317500" algn="l" rtl="0">
              <a:spcBef>
                <a:spcPts val="0"/>
              </a:spcBef>
              <a:spcAft>
                <a:spcPts val="0"/>
              </a:spcAft>
              <a:buClr>
                <a:schemeClr val="dk1"/>
              </a:buClr>
              <a:buSzPts val="1400"/>
              <a:buFont typeface="Arial"/>
              <a:buChar char="●"/>
            </a:pPr>
            <a:r>
              <a:rPr lang="en-US" sz="1400">
                <a:latin typeface="Arial"/>
                <a:ea typeface="Arial"/>
                <a:cs typeface="Arial"/>
                <a:sym typeface="Arial"/>
              </a:rPr>
              <a:t>Add in details about any other Challenge Advisor using the second placeholder. If there is only one Challenge Advisor, the other image placeholder and text box may be removed. If there are more than 2 Challenge Advisors, copy/paste the placeholders to add additional photos/details. </a:t>
            </a:r>
            <a:endParaRPr sz="1400">
              <a:latin typeface="Arial"/>
              <a:ea typeface="Arial"/>
              <a:cs typeface="Arial"/>
              <a:sym typeface="Arial"/>
            </a:endParaRPr>
          </a:p>
          <a:p>
            <a:pPr marL="457200" lvl="0" indent="-317500" algn="l" rtl="0">
              <a:spcBef>
                <a:spcPts val="0"/>
              </a:spcBef>
              <a:spcAft>
                <a:spcPts val="0"/>
              </a:spcAft>
              <a:buClr>
                <a:schemeClr val="dk1"/>
              </a:buClr>
              <a:buSzPts val="1400"/>
              <a:buFont typeface="Arial"/>
              <a:buChar char="●"/>
            </a:pPr>
            <a:r>
              <a:rPr lang="en-US" sz="1400" i="1">
                <a:latin typeface="Arial"/>
                <a:ea typeface="Arial"/>
                <a:cs typeface="Arial"/>
                <a:sym typeface="Arial"/>
              </a:rPr>
              <a:t>During the meeting with your student team: </a:t>
            </a:r>
            <a:r>
              <a:rPr lang="en-US" sz="1400">
                <a:latin typeface="Arial"/>
                <a:ea typeface="Arial"/>
                <a:cs typeface="Arial"/>
                <a:sym typeface="Arial"/>
              </a:rPr>
              <a:t>After introducing yourself, ask each team member to introduce themselves, including: their name, preferred pronouns (which you can note down for future reference), the college they attend, what they’re majoring in, and what they’re most excited about learning during AI Studio</a:t>
            </a:r>
            <a:endParaRPr sz="1400">
              <a:latin typeface="Arial"/>
              <a:ea typeface="Arial"/>
              <a:cs typeface="Arial"/>
              <a:sym typeface="Arial"/>
            </a:endParaRPr>
          </a:p>
          <a:p>
            <a:pPr marL="0" lvl="0" indent="0" algn="l" rtl="0">
              <a:spcBef>
                <a:spcPts val="0"/>
              </a:spcBef>
              <a:spcAft>
                <a:spcPts val="0"/>
              </a:spcAft>
              <a:buNone/>
            </a:pPr>
            <a:endParaRPr sz="1400">
              <a:latin typeface="Arial"/>
              <a:ea typeface="Arial"/>
              <a:cs typeface="Arial"/>
              <a:sym typeface="Arial"/>
            </a:endParaRPr>
          </a:p>
        </p:txBody>
      </p:sp>
      <p:sp>
        <p:nvSpPr>
          <p:cNvPr id="1309" name="Google Shape;1309;g28f87540acf_0_820: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t>2</a:t>
            </a:fld>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ess do this section</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66515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peaker Notes</a:t>
            </a:r>
          </a:p>
          <a:p>
            <a:pPr marL="171450" indent="-171450">
              <a:buFont typeface="Arial" panose="020B0604020202020204" pitchFamily="34" charset="0"/>
              <a:buChar char="•"/>
            </a:pPr>
            <a:r>
              <a:rPr lang="en-US"/>
              <a:t>Here is a glance of the project timeline</a:t>
            </a:r>
          </a:p>
        </p:txBody>
      </p:sp>
      <p:sp>
        <p:nvSpPr>
          <p:cNvPr id="4" name="Slide Number Placeholder 3"/>
          <p:cNvSpPr>
            <a:spLocks noGrp="1"/>
          </p:cNvSpPr>
          <p:nvPr>
            <p:ph type="sldNum" sz="quarter" idx="5"/>
          </p:nvPr>
        </p:nvSpPr>
        <p:spPr/>
        <p:txBody>
          <a:bodyPr/>
          <a:lstStyle/>
          <a:p>
            <a:fld id="{824045D1-D4CB-4A8D-A84C-D79133305354}" type="slidenum">
              <a:rPr lang="en-US" smtClean="0"/>
              <a:pPr/>
              <a:t>23</a:t>
            </a:fld>
            <a:endParaRPr lang="en-US"/>
          </a:p>
        </p:txBody>
      </p:sp>
    </p:spTree>
    <p:extLst>
      <p:ext uri="{BB962C8B-B14F-4D97-AF65-F5344CB8AC3E}">
        <p14:creationId xmlns:p14="http://schemas.microsoft.com/office/powerpoint/2010/main" val="26761509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7"/>
        <p:cNvGrpSpPr/>
        <p:nvPr/>
      </p:nvGrpSpPr>
      <p:grpSpPr>
        <a:xfrm>
          <a:off x="0" y="0"/>
          <a:ext cx="0" cy="0"/>
          <a:chOff x="0" y="0"/>
          <a:chExt cx="0" cy="0"/>
        </a:xfrm>
      </p:grpSpPr>
      <p:sp>
        <p:nvSpPr>
          <p:cNvPr id="1458" name="Google Shape;1458;g28f87540acf_0_890:notes"/>
          <p:cNvSpPr txBox="1">
            <a:spLocks noGrp="1"/>
          </p:cNvSpPr>
          <p:nvPr>
            <p:ph type="body" idx="1"/>
          </p:nvPr>
        </p:nvSpPr>
        <p:spPr>
          <a:xfrm>
            <a:off x="930910" y="3379868"/>
            <a:ext cx="7447200" cy="2765400"/>
          </a:xfrm>
          <a:prstGeom prst="rect">
            <a:avLst/>
          </a:prstGeom>
          <a:noFill/>
          <a:ln>
            <a:noFill/>
          </a:ln>
        </p:spPr>
        <p:txBody>
          <a:bodyPr spcFirstLastPara="1" wrap="square" lIns="93300" tIns="46650" rIns="93300" bIns="46650" anchor="t" anchorCtr="0">
            <a:noAutofit/>
          </a:bodyPr>
          <a:lstStyle/>
          <a:p>
            <a:pPr marL="0" lvl="0" indent="0" algn="l" rtl="0">
              <a:spcBef>
                <a:spcPts val="0"/>
              </a:spcBef>
              <a:spcAft>
                <a:spcPts val="0"/>
              </a:spcAft>
              <a:buClr>
                <a:schemeClr val="dk1"/>
              </a:buClr>
              <a:buSzPts val="1100"/>
              <a:buFont typeface="Arial"/>
              <a:buNone/>
            </a:pPr>
            <a:r>
              <a:rPr lang="en-US" sz="1400" b="1">
                <a:latin typeface="Arial"/>
                <a:ea typeface="Arial"/>
                <a:cs typeface="Arial"/>
                <a:sym typeface="Arial"/>
              </a:rPr>
              <a:t>Why this slide is important:</a:t>
            </a:r>
            <a:endParaRPr sz="1400" b="1">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Char char="●"/>
            </a:pPr>
            <a:r>
              <a:rPr lang="en-US" sz="1400">
                <a:latin typeface="Arial"/>
                <a:ea typeface="Arial"/>
                <a:cs typeface="Arial"/>
                <a:sym typeface="Arial"/>
              </a:rPr>
              <a:t>Helps students understand and focus on specific tasks related to the first project Milestone that you have defined for them</a:t>
            </a:r>
            <a:endParaRPr sz="1400">
              <a:latin typeface="Arial"/>
              <a:ea typeface="Arial"/>
              <a:cs typeface="Arial"/>
              <a:sym typeface="Arial"/>
            </a:endParaRPr>
          </a:p>
          <a:p>
            <a:pPr marL="0" lvl="0" indent="0" algn="l" rtl="0">
              <a:spcBef>
                <a:spcPts val="0"/>
              </a:spcBef>
              <a:spcAft>
                <a:spcPts val="0"/>
              </a:spcAft>
              <a:buClr>
                <a:schemeClr val="dk1"/>
              </a:buClr>
              <a:buSzPts val="1100"/>
              <a:buFont typeface="Arial"/>
              <a:buNone/>
            </a:pPr>
            <a:endParaRPr sz="1400">
              <a:latin typeface="Arial"/>
              <a:ea typeface="Arial"/>
              <a:cs typeface="Arial"/>
              <a:sym typeface="Arial"/>
            </a:endParaRPr>
          </a:p>
          <a:p>
            <a:pPr marL="0" lvl="0" indent="0" algn="l" rtl="0">
              <a:spcBef>
                <a:spcPts val="0"/>
              </a:spcBef>
              <a:spcAft>
                <a:spcPts val="0"/>
              </a:spcAft>
              <a:buClr>
                <a:schemeClr val="dk1"/>
              </a:buClr>
              <a:buSzPts val="1100"/>
              <a:buFont typeface="Arial"/>
              <a:buNone/>
            </a:pPr>
            <a:r>
              <a:rPr lang="en-US" sz="1400" b="1">
                <a:latin typeface="Arial"/>
                <a:ea typeface="Arial"/>
                <a:cs typeface="Arial"/>
                <a:sym typeface="Arial"/>
              </a:rPr>
              <a:t>Guidance on filling in / presenting this slide:</a:t>
            </a:r>
            <a:endParaRPr sz="1400" b="1">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Char char="●"/>
            </a:pPr>
            <a:r>
              <a:rPr lang="en-US" sz="1400">
                <a:latin typeface="Arial"/>
                <a:ea typeface="Arial"/>
                <a:cs typeface="Arial"/>
                <a:sym typeface="Arial"/>
              </a:rPr>
              <a:t>Modify this Example slide to fit your Milestone #1 (which might be something different than Data preprocessing)</a:t>
            </a:r>
            <a:endParaRPr sz="1400">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Font typeface="Arial"/>
              <a:buChar char="●"/>
            </a:pPr>
            <a:r>
              <a:rPr lang="en-US" sz="1400" i="1">
                <a:latin typeface="Arial"/>
                <a:ea typeface="Arial"/>
                <a:cs typeface="Arial"/>
                <a:sym typeface="Arial"/>
              </a:rPr>
              <a:t>During the meeting with your student team: </a:t>
            </a:r>
            <a:r>
              <a:rPr lang="en-US" sz="1400">
                <a:latin typeface="Arial"/>
                <a:ea typeface="Arial"/>
                <a:cs typeface="Arial"/>
                <a:sym typeface="Arial"/>
              </a:rPr>
              <a:t>Encourage students to work both independently and as a team (e.g., each student conducts their own dataset exploration). This will help ensure that all team members get in the habit of contributing to the project’s success from the outset. </a:t>
            </a:r>
            <a:endParaRPr sz="1400">
              <a:latin typeface="Arial"/>
              <a:ea typeface="Arial"/>
              <a:cs typeface="Arial"/>
              <a:sym typeface="Arial"/>
            </a:endParaRPr>
          </a:p>
        </p:txBody>
      </p:sp>
      <p:sp>
        <p:nvSpPr>
          <p:cNvPr id="1459" name="Google Shape;1459;g28f87540acf_0_890:notes"/>
          <p:cNvSpPr>
            <a:spLocks noGrp="1" noRot="1" noChangeAspect="1"/>
          </p:cNvSpPr>
          <p:nvPr>
            <p:ph type="sldImg" idx="2"/>
          </p:nvPr>
        </p:nvSpPr>
        <p:spPr>
          <a:xfrm>
            <a:off x="2547938" y="877888"/>
            <a:ext cx="4213225" cy="237013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8359535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7"/>
        <p:cNvGrpSpPr/>
        <p:nvPr/>
      </p:nvGrpSpPr>
      <p:grpSpPr>
        <a:xfrm>
          <a:off x="0" y="0"/>
          <a:ext cx="0" cy="0"/>
          <a:chOff x="0" y="0"/>
          <a:chExt cx="0" cy="0"/>
        </a:xfrm>
      </p:grpSpPr>
      <p:sp>
        <p:nvSpPr>
          <p:cNvPr id="1458" name="Google Shape;1458;g28f87540acf_0_890:notes"/>
          <p:cNvSpPr txBox="1">
            <a:spLocks noGrp="1"/>
          </p:cNvSpPr>
          <p:nvPr>
            <p:ph type="body" idx="1"/>
          </p:nvPr>
        </p:nvSpPr>
        <p:spPr>
          <a:xfrm>
            <a:off x="930910" y="3379868"/>
            <a:ext cx="7447200" cy="2765400"/>
          </a:xfrm>
          <a:prstGeom prst="rect">
            <a:avLst/>
          </a:prstGeom>
          <a:noFill/>
          <a:ln>
            <a:noFill/>
          </a:ln>
        </p:spPr>
        <p:txBody>
          <a:bodyPr spcFirstLastPara="1" wrap="square" lIns="93300" tIns="46650" rIns="93300" bIns="46650" anchor="t" anchorCtr="0">
            <a:noAutofit/>
          </a:bodyPr>
          <a:lstStyle/>
          <a:p>
            <a:pPr marL="0" lvl="0" indent="0" algn="l" rtl="0">
              <a:spcBef>
                <a:spcPts val="0"/>
              </a:spcBef>
              <a:spcAft>
                <a:spcPts val="0"/>
              </a:spcAft>
              <a:buClr>
                <a:schemeClr val="dk1"/>
              </a:buClr>
              <a:buSzPts val="1100"/>
              <a:buFont typeface="Arial"/>
              <a:buNone/>
            </a:pPr>
            <a:r>
              <a:rPr lang="en-US" sz="1400" b="1">
                <a:latin typeface="Arial"/>
                <a:ea typeface="Arial"/>
                <a:cs typeface="Arial"/>
                <a:sym typeface="Arial"/>
              </a:rPr>
              <a:t>Why this slide is important:</a:t>
            </a:r>
            <a:endParaRPr sz="1400" b="1">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Char char="●"/>
            </a:pPr>
            <a:r>
              <a:rPr lang="en-US" sz="1400">
                <a:latin typeface="Arial"/>
                <a:ea typeface="Arial"/>
                <a:cs typeface="Arial"/>
                <a:sym typeface="Arial"/>
              </a:rPr>
              <a:t>Helps students understand and focus on specific tasks related to the first project Milestone that you have defined for them</a:t>
            </a:r>
            <a:endParaRPr sz="1400">
              <a:latin typeface="Arial"/>
              <a:ea typeface="Arial"/>
              <a:cs typeface="Arial"/>
              <a:sym typeface="Arial"/>
            </a:endParaRPr>
          </a:p>
          <a:p>
            <a:pPr marL="0" lvl="0" indent="0" algn="l" rtl="0">
              <a:spcBef>
                <a:spcPts val="0"/>
              </a:spcBef>
              <a:spcAft>
                <a:spcPts val="0"/>
              </a:spcAft>
              <a:buClr>
                <a:schemeClr val="dk1"/>
              </a:buClr>
              <a:buSzPts val="1100"/>
              <a:buFont typeface="Arial"/>
              <a:buNone/>
            </a:pPr>
            <a:endParaRPr sz="1400">
              <a:latin typeface="Arial"/>
              <a:ea typeface="Arial"/>
              <a:cs typeface="Arial"/>
              <a:sym typeface="Arial"/>
            </a:endParaRPr>
          </a:p>
          <a:p>
            <a:pPr marL="0" lvl="0" indent="0" algn="l" rtl="0">
              <a:spcBef>
                <a:spcPts val="0"/>
              </a:spcBef>
              <a:spcAft>
                <a:spcPts val="0"/>
              </a:spcAft>
              <a:buClr>
                <a:schemeClr val="dk1"/>
              </a:buClr>
              <a:buSzPts val="1100"/>
              <a:buFont typeface="Arial"/>
              <a:buNone/>
            </a:pPr>
            <a:r>
              <a:rPr lang="en-US" sz="1400" b="1">
                <a:latin typeface="Arial"/>
                <a:ea typeface="Arial"/>
                <a:cs typeface="Arial"/>
                <a:sym typeface="Arial"/>
              </a:rPr>
              <a:t>Guidance on filling in / presenting this slide:</a:t>
            </a:r>
            <a:endParaRPr sz="1400" b="1">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Char char="●"/>
            </a:pPr>
            <a:r>
              <a:rPr lang="en-US" sz="1400">
                <a:latin typeface="Arial"/>
                <a:ea typeface="Arial"/>
                <a:cs typeface="Arial"/>
                <a:sym typeface="Arial"/>
              </a:rPr>
              <a:t>Modify this Example slide to fit your Milestone #1 (which might be something different than Data preprocessing)</a:t>
            </a:r>
            <a:endParaRPr sz="1400">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Font typeface="Arial"/>
              <a:buChar char="●"/>
            </a:pPr>
            <a:r>
              <a:rPr lang="en-US" sz="1400" i="1">
                <a:latin typeface="Arial"/>
                <a:ea typeface="Arial"/>
                <a:cs typeface="Arial"/>
                <a:sym typeface="Arial"/>
              </a:rPr>
              <a:t>During the meeting with your student team: </a:t>
            </a:r>
            <a:r>
              <a:rPr lang="en-US" sz="1400">
                <a:latin typeface="Arial"/>
                <a:ea typeface="Arial"/>
                <a:cs typeface="Arial"/>
                <a:sym typeface="Arial"/>
              </a:rPr>
              <a:t>Encourage students to work both independently and as a team (e.g., each student conducts their own dataset exploration). This will help ensure that all team members get in the habit of contributing to the project’s success from the outset. </a:t>
            </a:r>
            <a:endParaRPr sz="1400">
              <a:latin typeface="Arial"/>
              <a:ea typeface="Arial"/>
              <a:cs typeface="Arial"/>
              <a:sym typeface="Arial"/>
            </a:endParaRPr>
          </a:p>
        </p:txBody>
      </p:sp>
      <p:sp>
        <p:nvSpPr>
          <p:cNvPr id="1459" name="Google Shape;1459;g28f87540acf_0_890:notes"/>
          <p:cNvSpPr>
            <a:spLocks noGrp="1" noRot="1" noChangeAspect="1"/>
          </p:cNvSpPr>
          <p:nvPr>
            <p:ph type="sldImg" idx="2"/>
          </p:nvPr>
        </p:nvSpPr>
        <p:spPr>
          <a:xfrm>
            <a:off x="2547938" y="877888"/>
            <a:ext cx="4213225" cy="237013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7746091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7"/>
        <p:cNvGrpSpPr/>
        <p:nvPr/>
      </p:nvGrpSpPr>
      <p:grpSpPr>
        <a:xfrm>
          <a:off x="0" y="0"/>
          <a:ext cx="0" cy="0"/>
          <a:chOff x="0" y="0"/>
          <a:chExt cx="0" cy="0"/>
        </a:xfrm>
      </p:grpSpPr>
      <p:sp>
        <p:nvSpPr>
          <p:cNvPr id="1458" name="Google Shape;1458;g28f87540acf_0_890:notes"/>
          <p:cNvSpPr txBox="1">
            <a:spLocks noGrp="1"/>
          </p:cNvSpPr>
          <p:nvPr>
            <p:ph type="body" idx="1"/>
          </p:nvPr>
        </p:nvSpPr>
        <p:spPr>
          <a:xfrm>
            <a:off x="930910" y="3379868"/>
            <a:ext cx="7447200" cy="2765400"/>
          </a:xfrm>
          <a:prstGeom prst="rect">
            <a:avLst/>
          </a:prstGeom>
          <a:noFill/>
          <a:ln>
            <a:noFill/>
          </a:ln>
        </p:spPr>
        <p:txBody>
          <a:bodyPr spcFirstLastPara="1" wrap="square" lIns="93300" tIns="46650" rIns="93300" bIns="46650" anchor="t" anchorCtr="0">
            <a:noAutofit/>
          </a:bodyPr>
          <a:lstStyle/>
          <a:p>
            <a:pPr marL="0" lvl="0" indent="0" algn="l" rtl="0">
              <a:spcBef>
                <a:spcPts val="0"/>
              </a:spcBef>
              <a:spcAft>
                <a:spcPts val="0"/>
              </a:spcAft>
              <a:buClr>
                <a:schemeClr val="dk1"/>
              </a:buClr>
              <a:buSzPts val="1100"/>
              <a:buFont typeface="Arial"/>
              <a:buNone/>
            </a:pPr>
            <a:r>
              <a:rPr lang="en-US" sz="1400" b="1">
                <a:latin typeface="Arial"/>
                <a:ea typeface="Arial"/>
                <a:cs typeface="Arial"/>
                <a:sym typeface="Arial"/>
              </a:rPr>
              <a:t>Why this slide is important:</a:t>
            </a:r>
            <a:endParaRPr sz="1400" b="1">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Char char="●"/>
            </a:pPr>
            <a:r>
              <a:rPr lang="en-US" sz="1400">
                <a:latin typeface="Arial"/>
                <a:ea typeface="Arial"/>
                <a:cs typeface="Arial"/>
                <a:sym typeface="Arial"/>
              </a:rPr>
              <a:t>Helps students understand and focus on specific tasks related to the first project Milestone that you have defined for them</a:t>
            </a:r>
            <a:endParaRPr sz="1400">
              <a:latin typeface="Arial"/>
              <a:ea typeface="Arial"/>
              <a:cs typeface="Arial"/>
              <a:sym typeface="Arial"/>
            </a:endParaRPr>
          </a:p>
          <a:p>
            <a:pPr marL="0" lvl="0" indent="0" algn="l" rtl="0">
              <a:spcBef>
                <a:spcPts val="0"/>
              </a:spcBef>
              <a:spcAft>
                <a:spcPts val="0"/>
              </a:spcAft>
              <a:buClr>
                <a:schemeClr val="dk1"/>
              </a:buClr>
              <a:buSzPts val="1100"/>
              <a:buFont typeface="Arial"/>
              <a:buNone/>
            </a:pPr>
            <a:endParaRPr sz="1400">
              <a:latin typeface="Arial"/>
              <a:ea typeface="Arial"/>
              <a:cs typeface="Arial"/>
              <a:sym typeface="Arial"/>
            </a:endParaRPr>
          </a:p>
          <a:p>
            <a:pPr marL="0" lvl="0" indent="0" algn="l" rtl="0">
              <a:spcBef>
                <a:spcPts val="0"/>
              </a:spcBef>
              <a:spcAft>
                <a:spcPts val="0"/>
              </a:spcAft>
              <a:buClr>
                <a:schemeClr val="dk1"/>
              </a:buClr>
              <a:buSzPts val="1100"/>
              <a:buFont typeface="Arial"/>
              <a:buNone/>
            </a:pPr>
            <a:r>
              <a:rPr lang="en-US" sz="1400" b="1">
                <a:latin typeface="Arial"/>
                <a:ea typeface="Arial"/>
                <a:cs typeface="Arial"/>
                <a:sym typeface="Arial"/>
              </a:rPr>
              <a:t>Guidance on filling in / presenting this slide:</a:t>
            </a:r>
            <a:endParaRPr sz="1400" b="1">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Char char="●"/>
            </a:pPr>
            <a:r>
              <a:rPr lang="en-US" sz="1400">
                <a:latin typeface="Arial"/>
                <a:ea typeface="Arial"/>
                <a:cs typeface="Arial"/>
                <a:sym typeface="Arial"/>
              </a:rPr>
              <a:t>Modify this Example slide to fit your Milestone #1 (which might be something different than Data preprocessing)</a:t>
            </a:r>
            <a:endParaRPr sz="1400">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Font typeface="Arial"/>
              <a:buChar char="●"/>
            </a:pPr>
            <a:r>
              <a:rPr lang="en-US" sz="1400" i="1">
                <a:latin typeface="Arial"/>
                <a:ea typeface="Arial"/>
                <a:cs typeface="Arial"/>
                <a:sym typeface="Arial"/>
              </a:rPr>
              <a:t>During the meeting with your student team: </a:t>
            </a:r>
            <a:r>
              <a:rPr lang="en-US" sz="1400">
                <a:latin typeface="Arial"/>
                <a:ea typeface="Arial"/>
                <a:cs typeface="Arial"/>
                <a:sym typeface="Arial"/>
              </a:rPr>
              <a:t>Encourage students to work both independently and as a team (e.g., each student conducts their own dataset exploration). This will help ensure that all team members get in the habit of contributing to the project’s success from the outset. </a:t>
            </a:r>
            <a:endParaRPr sz="1400">
              <a:latin typeface="Arial"/>
              <a:ea typeface="Arial"/>
              <a:cs typeface="Arial"/>
              <a:sym typeface="Arial"/>
            </a:endParaRPr>
          </a:p>
        </p:txBody>
      </p:sp>
      <p:sp>
        <p:nvSpPr>
          <p:cNvPr id="1459" name="Google Shape;1459;g28f87540acf_0_890:notes"/>
          <p:cNvSpPr>
            <a:spLocks noGrp="1" noRot="1" noChangeAspect="1"/>
          </p:cNvSpPr>
          <p:nvPr>
            <p:ph type="sldImg" idx="2"/>
          </p:nvPr>
        </p:nvSpPr>
        <p:spPr>
          <a:xfrm>
            <a:off x="2547938" y="877888"/>
            <a:ext cx="4213225" cy="237013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6118563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7"/>
        <p:cNvGrpSpPr/>
        <p:nvPr/>
      </p:nvGrpSpPr>
      <p:grpSpPr>
        <a:xfrm>
          <a:off x="0" y="0"/>
          <a:ext cx="0" cy="0"/>
          <a:chOff x="0" y="0"/>
          <a:chExt cx="0" cy="0"/>
        </a:xfrm>
      </p:grpSpPr>
      <p:sp>
        <p:nvSpPr>
          <p:cNvPr id="1458" name="Google Shape;1458;g28f87540acf_0_890:notes"/>
          <p:cNvSpPr txBox="1">
            <a:spLocks noGrp="1"/>
          </p:cNvSpPr>
          <p:nvPr>
            <p:ph type="body" idx="1"/>
          </p:nvPr>
        </p:nvSpPr>
        <p:spPr>
          <a:xfrm>
            <a:off x="930910" y="3379868"/>
            <a:ext cx="7447200" cy="2765400"/>
          </a:xfrm>
          <a:prstGeom prst="rect">
            <a:avLst/>
          </a:prstGeom>
          <a:noFill/>
          <a:ln>
            <a:noFill/>
          </a:ln>
        </p:spPr>
        <p:txBody>
          <a:bodyPr spcFirstLastPara="1" wrap="square" lIns="93300" tIns="46650" rIns="93300" bIns="46650" anchor="t" anchorCtr="0">
            <a:noAutofit/>
          </a:bodyPr>
          <a:lstStyle/>
          <a:p>
            <a:pPr marL="0" lvl="0" indent="0" algn="l" rtl="0">
              <a:spcBef>
                <a:spcPts val="0"/>
              </a:spcBef>
              <a:spcAft>
                <a:spcPts val="0"/>
              </a:spcAft>
              <a:buClr>
                <a:schemeClr val="dk1"/>
              </a:buClr>
              <a:buSzPts val="1100"/>
              <a:buFont typeface="Arial"/>
              <a:buNone/>
            </a:pPr>
            <a:r>
              <a:rPr lang="en-US" sz="1400" b="1">
                <a:latin typeface="Arial"/>
                <a:ea typeface="Arial"/>
                <a:cs typeface="Arial"/>
                <a:sym typeface="Arial"/>
              </a:rPr>
              <a:t>Why this slide is important:</a:t>
            </a:r>
            <a:endParaRPr sz="1400" b="1">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Char char="●"/>
            </a:pPr>
            <a:r>
              <a:rPr lang="en-US" sz="1400">
                <a:latin typeface="Arial"/>
                <a:ea typeface="Arial"/>
                <a:cs typeface="Arial"/>
                <a:sym typeface="Arial"/>
              </a:rPr>
              <a:t>Helps students understand and focus on specific tasks related to the first project Milestone that you have defined for them</a:t>
            </a:r>
            <a:endParaRPr sz="1400">
              <a:latin typeface="Arial"/>
              <a:ea typeface="Arial"/>
              <a:cs typeface="Arial"/>
              <a:sym typeface="Arial"/>
            </a:endParaRPr>
          </a:p>
          <a:p>
            <a:pPr marL="0" lvl="0" indent="0" algn="l" rtl="0">
              <a:spcBef>
                <a:spcPts val="0"/>
              </a:spcBef>
              <a:spcAft>
                <a:spcPts val="0"/>
              </a:spcAft>
              <a:buClr>
                <a:schemeClr val="dk1"/>
              </a:buClr>
              <a:buSzPts val="1100"/>
              <a:buFont typeface="Arial"/>
              <a:buNone/>
            </a:pPr>
            <a:endParaRPr sz="1400">
              <a:latin typeface="Arial"/>
              <a:ea typeface="Arial"/>
              <a:cs typeface="Arial"/>
              <a:sym typeface="Arial"/>
            </a:endParaRPr>
          </a:p>
          <a:p>
            <a:pPr marL="0" lvl="0" indent="0" algn="l" rtl="0">
              <a:spcBef>
                <a:spcPts val="0"/>
              </a:spcBef>
              <a:spcAft>
                <a:spcPts val="0"/>
              </a:spcAft>
              <a:buClr>
                <a:schemeClr val="dk1"/>
              </a:buClr>
              <a:buSzPts val="1100"/>
              <a:buFont typeface="Arial"/>
              <a:buNone/>
            </a:pPr>
            <a:r>
              <a:rPr lang="en-US" sz="1400" b="1">
                <a:latin typeface="Arial"/>
                <a:ea typeface="Arial"/>
                <a:cs typeface="Arial"/>
                <a:sym typeface="Arial"/>
              </a:rPr>
              <a:t>Guidance on filling in / presenting this slide:</a:t>
            </a:r>
            <a:endParaRPr sz="1400" b="1">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Char char="●"/>
            </a:pPr>
            <a:r>
              <a:rPr lang="en-US" sz="1400">
                <a:latin typeface="Arial"/>
                <a:ea typeface="Arial"/>
                <a:cs typeface="Arial"/>
                <a:sym typeface="Arial"/>
              </a:rPr>
              <a:t>Modify this Example slide to fit your Milestone #1 (which might be something different than Data preprocessing)</a:t>
            </a:r>
            <a:endParaRPr sz="1400">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Font typeface="Arial"/>
              <a:buChar char="●"/>
            </a:pPr>
            <a:r>
              <a:rPr lang="en-US" sz="1400" i="1">
                <a:latin typeface="Arial"/>
                <a:ea typeface="Arial"/>
                <a:cs typeface="Arial"/>
                <a:sym typeface="Arial"/>
              </a:rPr>
              <a:t>During the meeting with your student team: </a:t>
            </a:r>
            <a:r>
              <a:rPr lang="en-US" sz="1400">
                <a:latin typeface="Arial"/>
                <a:ea typeface="Arial"/>
                <a:cs typeface="Arial"/>
                <a:sym typeface="Arial"/>
              </a:rPr>
              <a:t>Encourage students to work both independently and as a team (e.g., each student conducts their own dataset exploration). This will help ensure that all team members get in the habit of contributing to the project’s success from the outset. </a:t>
            </a:r>
            <a:endParaRPr sz="1400">
              <a:latin typeface="Arial"/>
              <a:ea typeface="Arial"/>
              <a:cs typeface="Arial"/>
              <a:sym typeface="Arial"/>
            </a:endParaRPr>
          </a:p>
        </p:txBody>
      </p:sp>
      <p:sp>
        <p:nvSpPr>
          <p:cNvPr id="1459" name="Google Shape;1459;g28f87540acf_0_890:notes"/>
          <p:cNvSpPr>
            <a:spLocks noGrp="1" noRot="1" noChangeAspect="1"/>
          </p:cNvSpPr>
          <p:nvPr>
            <p:ph type="sldImg" idx="2"/>
          </p:nvPr>
        </p:nvSpPr>
        <p:spPr>
          <a:xfrm>
            <a:off x="2547938" y="877888"/>
            <a:ext cx="4213225" cy="237013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2643712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7"/>
        <p:cNvGrpSpPr/>
        <p:nvPr/>
      </p:nvGrpSpPr>
      <p:grpSpPr>
        <a:xfrm>
          <a:off x="0" y="0"/>
          <a:ext cx="0" cy="0"/>
          <a:chOff x="0" y="0"/>
          <a:chExt cx="0" cy="0"/>
        </a:xfrm>
      </p:grpSpPr>
      <p:sp>
        <p:nvSpPr>
          <p:cNvPr id="1458" name="Google Shape;1458;g28f87540acf_0_890:notes"/>
          <p:cNvSpPr txBox="1">
            <a:spLocks noGrp="1"/>
          </p:cNvSpPr>
          <p:nvPr>
            <p:ph type="body" idx="1"/>
          </p:nvPr>
        </p:nvSpPr>
        <p:spPr>
          <a:xfrm>
            <a:off x="930910" y="3379868"/>
            <a:ext cx="7447200" cy="2765400"/>
          </a:xfrm>
          <a:prstGeom prst="rect">
            <a:avLst/>
          </a:prstGeom>
          <a:noFill/>
          <a:ln>
            <a:noFill/>
          </a:ln>
        </p:spPr>
        <p:txBody>
          <a:bodyPr spcFirstLastPara="1" wrap="square" lIns="93300" tIns="46650" rIns="93300" bIns="46650" anchor="t" anchorCtr="0">
            <a:noAutofit/>
          </a:bodyPr>
          <a:lstStyle/>
          <a:p>
            <a:pPr marL="0" lvl="0" indent="0" algn="l" rtl="0">
              <a:spcBef>
                <a:spcPts val="0"/>
              </a:spcBef>
              <a:spcAft>
                <a:spcPts val="0"/>
              </a:spcAft>
              <a:buClr>
                <a:schemeClr val="dk1"/>
              </a:buClr>
              <a:buSzPts val="1100"/>
              <a:buFont typeface="Arial"/>
              <a:buNone/>
            </a:pPr>
            <a:r>
              <a:rPr lang="en-US" sz="1400" b="1">
                <a:latin typeface="Arial"/>
                <a:ea typeface="Arial"/>
                <a:cs typeface="Arial"/>
                <a:sym typeface="Arial"/>
              </a:rPr>
              <a:t>Why this slide is important:</a:t>
            </a:r>
            <a:endParaRPr sz="1400" b="1">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Char char="●"/>
            </a:pPr>
            <a:r>
              <a:rPr lang="en-US" sz="1400">
                <a:latin typeface="Arial"/>
                <a:ea typeface="Arial"/>
                <a:cs typeface="Arial"/>
                <a:sym typeface="Arial"/>
              </a:rPr>
              <a:t>Helps students understand and focus on specific tasks related to the first project Milestone that you have defined for them</a:t>
            </a:r>
            <a:endParaRPr sz="1400">
              <a:latin typeface="Arial"/>
              <a:ea typeface="Arial"/>
              <a:cs typeface="Arial"/>
              <a:sym typeface="Arial"/>
            </a:endParaRPr>
          </a:p>
          <a:p>
            <a:pPr marL="0" lvl="0" indent="0" algn="l" rtl="0">
              <a:spcBef>
                <a:spcPts val="0"/>
              </a:spcBef>
              <a:spcAft>
                <a:spcPts val="0"/>
              </a:spcAft>
              <a:buClr>
                <a:schemeClr val="dk1"/>
              </a:buClr>
              <a:buSzPts val="1100"/>
              <a:buFont typeface="Arial"/>
              <a:buNone/>
            </a:pPr>
            <a:endParaRPr sz="1400">
              <a:latin typeface="Arial"/>
              <a:ea typeface="Arial"/>
              <a:cs typeface="Arial"/>
              <a:sym typeface="Arial"/>
            </a:endParaRPr>
          </a:p>
          <a:p>
            <a:pPr marL="0" lvl="0" indent="0" algn="l" rtl="0">
              <a:spcBef>
                <a:spcPts val="0"/>
              </a:spcBef>
              <a:spcAft>
                <a:spcPts val="0"/>
              </a:spcAft>
              <a:buClr>
                <a:schemeClr val="dk1"/>
              </a:buClr>
              <a:buSzPts val="1100"/>
              <a:buFont typeface="Arial"/>
              <a:buNone/>
            </a:pPr>
            <a:r>
              <a:rPr lang="en-US" sz="1400" b="1">
                <a:latin typeface="Arial"/>
                <a:ea typeface="Arial"/>
                <a:cs typeface="Arial"/>
                <a:sym typeface="Arial"/>
              </a:rPr>
              <a:t>Guidance on filling in / presenting this slide:</a:t>
            </a:r>
            <a:endParaRPr sz="1400" b="1">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Char char="●"/>
            </a:pPr>
            <a:r>
              <a:rPr lang="en-US" sz="1400">
                <a:latin typeface="Arial"/>
                <a:ea typeface="Arial"/>
                <a:cs typeface="Arial"/>
                <a:sym typeface="Arial"/>
              </a:rPr>
              <a:t>Modify this Example slide to fit your Milestone #1 (which might be something different than Data preprocessing)</a:t>
            </a:r>
            <a:endParaRPr sz="1400">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Font typeface="Arial"/>
              <a:buChar char="●"/>
            </a:pPr>
            <a:r>
              <a:rPr lang="en-US" sz="1400" i="1">
                <a:latin typeface="Arial"/>
                <a:ea typeface="Arial"/>
                <a:cs typeface="Arial"/>
                <a:sym typeface="Arial"/>
              </a:rPr>
              <a:t>During the meeting with your student team: </a:t>
            </a:r>
            <a:r>
              <a:rPr lang="en-US" sz="1400">
                <a:latin typeface="Arial"/>
                <a:ea typeface="Arial"/>
                <a:cs typeface="Arial"/>
                <a:sym typeface="Arial"/>
              </a:rPr>
              <a:t>Encourage students to work both independently and as a team (e.g., each student conducts their own dataset exploration). This will help ensure that all team members get in the habit of contributing to the project’s success from the outset. </a:t>
            </a:r>
            <a:endParaRPr sz="1400">
              <a:latin typeface="Arial"/>
              <a:ea typeface="Arial"/>
              <a:cs typeface="Arial"/>
              <a:sym typeface="Arial"/>
            </a:endParaRPr>
          </a:p>
        </p:txBody>
      </p:sp>
      <p:sp>
        <p:nvSpPr>
          <p:cNvPr id="1459" name="Google Shape;1459;g28f87540acf_0_890:notes"/>
          <p:cNvSpPr>
            <a:spLocks noGrp="1" noRot="1" noChangeAspect="1"/>
          </p:cNvSpPr>
          <p:nvPr>
            <p:ph type="sldImg" idx="2"/>
          </p:nvPr>
        </p:nvSpPr>
        <p:spPr>
          <a:xfrm>
            <a:off x="2547938" y="877888"/>
            <a:ext cx="4213225" cy="237013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7"/>
        <p:cNvGrpSpPr/>
        <p:nvPr/>
      </p:nvGrpSpPr>
      <p:grpSpPr>
        <a:xfrm>
          <a:off x="0" y="0"/>
          <a:ext cx="0" cy="0"/>
          <a:chOff x="0" y="0"/>
          <a:chExt cx="0" cy="0"/>
        </a:xfrm>
      </p:grpSpPr>
      <p:sp>
        <p:nvSpPr>
          <p:cNvPr id="1458" name="Google Shape;1458;g28f87540acf_0_890:notes"/>
          <p:cNvSpPr txBox="1">
            <a:spLocks noGrp="1"/>
          </p:cNvSpPr>
          <p:nvPr>
            <p:ph type="body" idx="1"/>
          </p:nvPr>
        </p:nvSpPr>
        <p:spPr>
          <a:xfrm>
            <a:off x="930910" y="3379868"/>
            <a:ext cx="7447200" cy="2765400"/>
          </a:xfrm>
          <a:prstGeom prst="rect">
            <a:avLst/>
          </a:prstGeom>
          <a:noFill/>
          <a:ln>
            <a:noFill/>
          </a:ln>
        </p:spPr>
        <p:txBody>
          <a:bodyPr spcFirstLastPara="1" wrap="square" lIns="93300" tIns="46650" rIns="93300" bIns="46650" anchor="t" anchorCtr="0">
            <a:noAutofit/>
          </a:bodyPr>
          <a:lstStyle/>
          <a:p>
            <a:pPr marL="0" lvl="0" indent="0" algn="l" rtl="0">
              <a:spcBef>
                <a:spcPts val="0"/>
              </a:spcBef>
              <a:spcAft>
                <a:spcPts val="0"/>
              </a:spcAft>
              <a:buClr>
                <a:schemeClr val="dk1"/>
              </a:buClr>
              <a:buSzPts val="1100"/>
              <a:buFont typeface="Arial"/>
              <a:buNone/>
            </a:pPr>
            <a:r>
              <a:rPr lang="en-US" sz="1400" b="1">
                <a:latin typeface="Arial"/>
                <a:ea typeface="Arial"/>
                <a:cs typeface="Arial"/>
                <a:sym typeface="Arial"/>
              </a:rPr>
              <a:t>Why this slide is important:</a:t>
            </a:r>
            <a:endParaRPr sz="1400" b="1">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Char char="●"/>
            </a:pPr>
            <a:r>
              <a:rPr lang="en-US" sz="1400">
                <a:latin typeface="Arial"/>
                <a:ea typeface="Arial"/>
                <a:cs typeface="Arial"/>
                <a:sym typeface="Arial"/>
              </a:rPr>
              <a:t>Helps students understand and focus on specific tasks related to the first project Milestone that you have defined for them</a:t>
            </a:r>
            <a:endParaRPr sz="1400">
              <a:latin typeface="Arial"/>
              <a:ea typeface="Arial"/>
              <a:cs typeface="Arial"/>
              <a:sym typeface="Arial"/>
            </a:endParaRPr>
          </a:p>
          <a:p>
            <a:pPr marL="0" lvl="0" indent="0" algn="l" rtl="0">
              <a:spcBef>
                <a:spcPts val="0"/>
              </a:spcBef>
              <a:spcAft>
                <a:spcPts val="0"/>
              </a:spcAft>
              <a:buClr>
                <a:schemeClr val="dk1"/>
              </a:buClr>
              <a:buSzPts val="1100"/>
              <a:buFont typeface="Arial"/>
              <a:buNone/>
            </a:pPr>
            <a:endParaRPr sz="1400">
              <a:latin typeface="Arial"/>
              <a:ea typeface="Arial"/>
              <a:cs typeface="Arial"/>
              <a:sym typeface="Arial"/>
            </a:endParaRPr>
          </a:p>
          <a:p>
            <a:pPr marL="0" lvl="0" indent="0" algn="l" rtl="0">
              <a:spcBef>
                <a:spcPts val="0"/>
              </a:spcBef>
              <a:spcAft>
                <a:spcPts val="0"/>
              </a:spcAft>
              <a:buClr>
                <a:schemeClr val="dk1"/>
              </a:buClr>
              <a:buSzPts val="1100"/>
              <a:buFont typeface="Arial"/>
              <a:buNone/>
            </a:pPr>
            <a:r>
              <a:rPr lang="en-US" sz="1400" b="1">
                <a:latin typeface="Arial"/>
                <a:ea typeface="Arial"/>
                <a:cs typeface="Arial"/>
                <a:sym typeface="Arial"/>
              </a:rPr>
              <a:t>Guidance on filling in / presenting this slide:</a:t>
            </a:r>
            <a:endParaRPr sz="1400" b="1">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Char char="●"/>
            </a:pPr>
            <a:r>
              <a:rPr lang="en-US" sz="1400">
                <a:latin typeface="Arial"/>
                <a:ea typeface="Arial"/>
                <a:cs typeface="Arial"/>
                <a:sym typeface="Arial"/>
              </a:rPr>
              <a:t>Modify this Example slide to fit your Milestone #1 (which might be something different than Data preprocessing)</a:t>
            </a:r>
            <a:endParaRPr sz="1400">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Font typeface="Arial"/>
              <a:buChar char="●"/>
            </a:pPr>
            <a:r>
              <a:rPr lang="en-US" sz="1400" i="1">
                <a:latin typeface="Arial"/>
                <a:ea typeface="Arial"/>
                <a:cs typeface="Arial"/>
                <a:sym typeface="Arial"/>
              </a:rPr>
              <a:t>During the meeting with your student team: </a:t>
            </a:r>
            <a:r>
              <a:rPr lang="en-US" sz="1400">
                <a:latin typeface="Arial"/>
                <a:ea typeface="Arial"/>
                <a:cs typeface="Arial"/>
                <a:sym typeface="Arial"/>
              </a:rPr>
              <a:t>Encourage students to work both independently and as a team (e.g., each student conducts their own dataset exploration). This will help ensure that all team members get in the habit of contributing to the project’s success from the outset. </a:t>
            </a:r>
          </a:p>
          <a:p>
            <a:pPr marL="457200" lvl="0" indent="-317500" algn="l" rtl="0">
              <a:lnSpc>
                <a:spcPct val="115000"/>
              </a:lnSpc>
              <a:spcBef>
                <a:spcPts val="0"/>
              </a:spcBef>
              <a:spcAft>
                <a:spcPts val="0"/>
              </a:spcAft>
              <a:buClr>
                <a:schemeClr val="dk1"/>
              </a:buClr>
              <a:buSzPts val="1400"/>
              <a:buFont typeface="Arial"/>
              <a:buChar char="●"/>
            </a:pPr>
            <a:endParaRPr lang="en-US" sz="1400">
              <a:latin typeface="Arial"/>
              <a:ea typeface="Arial"/>
              <a:cs typeface="Arial"/>
              <a:sym typeface="Arial"/>
            </a:endParaRPr>
          </a:p>
          <a:p>
            <a:r>
              <a:rPr lang="en-US" sz="1400"/>
              <a:t>This is a framework for investigating the data involves these 6 steps. This process can help you form a hypothesis or a better understanding of the data to answer your problem statement.</a:t>
            </a:r>
          </a:p>
          <a:p>
            <a:r>
              <a:rPr lang="en-US" sz="1400"/>
              <a:t>Overall, your goal is to get a general understanding of the shape and make up of the data. </a:t>
            </a:r>
          </a:p>
          <a:p>
            <a:r>
              <a:rPr lang="en-US" sz="1400"/>
              <a:t>Errors- like 3 digit zips</a:t>
            </a:r>
          </a:p>
          <a:p>
            <a:r>
              <a:rPr lang="en-US" sz="1400"/>
              <a:t>Data Types: are they categorical as text, or numerical? Are they the right types of numbers?</a:t>
            </a:r>
          </a:p>
          <a:p>
            <a:r>
              <a:rPr lang="en-US" sz="1400"/>
              <a:t>Completeness: are there fields or rows with missing data? How do you fill a cell if its missing information?</a:t>
            </a:r>
          </a:p>
          <a:p>
            <a:r>
              <a:rPr lang="en-US" sz="1400"/>
              <a:t>What’s captured? Is it a count? An average? A percent? Is it over 1 year or is it a point in time?</a:t>
            </a:r>
          </a:p>
          <a:p>
            <a:r>
              <a:rPr lang="en-US" sz="1400"/>
              <a:t>Summary stats: what is the range of the data? The average? The median, mode, outliers? Type of distribution </a:t>
            </a:r>
          </a:p>
          <a:p>
            <a:r>
              <a:rPr lang="en-US" sz="1400"/>
              <a:t>Correlation: do values have a relationship</a:t>
            </a:r>
          </a:p>
          <a:p>
            <a:endParaRPr lang="en-US" sz="1400"/>
          </a:p>
          <a:p>
            <a:pPr marL="457200" lvl="0" indent="-317500" algn="l" rtl="0">
              <a:lnSpc>
                <a:spcPct val="115000"/>
              </a:lnSpc>
              <a:spcBef>
                <a:spcPts val="0"/>
              </a:spcBef>
              <a:spcAft>
                <a:spcPts val="0"/>
              </a:spcAft>
              <a:buClr>
                <a:schemeClr val="dk1"/>
              </a:buClr>
              <a:buSzPts val="1400"/>
              <a:buFont typeface="Arial"/>
              <a:buChar char="●"/>
            </a:pPr>
            <a:endParaRPr lang="en-US" sz="1400">
              <a:latin typeface="Arial"/>
              <a:ea typeface="Arial"/>
              <a:cs typeface="Arial"/>
              <a:sym typeface="Arial"/>
            </a:endParaRPr>
          </a:p>
        </p:txBody>
      </p:sp>
      <p:sp>
        <p:nvSpPr>
          <p:cNvPr id="1459" name="Google Shape;1459;g28f87540acf_0_890:notes"/>
          <p:cNvSpPr>
            <a:spLocks noGrp="1" noRot="1" noChangeAspect="1"/>
          </p:cNvSpPr>
          <p:nvPr>
            <p:ph type="sldImg" idx="2"/>
          </p:nvPr>
        </p:nvSpPr>
        <p:spPr>
          <a:xfrm>
            <a:off x="2547938" y="877888"/>
            <a:ext cx="4213225" cy="237013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388857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im Speak to </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6574292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65"/>
        <p:cNvGrpSpPr/>
        <p:nvPr/>
      </p:nvGrpSpPr>
      <p:grpSpPr>
        <a:xfrm>
          <a:off x="0" y="0"/>
          <a:ext cx="0" cy="0"/>
          <a:chOff x="0" y="0"/>
          <a:chExt cx="0" cy="0"/>
        </a:xfrm>
      </p:grpSpPr>
      <p:sp>
        <p:nvSpPr>
          <p:cNvPr id="1466" name="Google Shape;1466;g211c146a9c0_2_419:notes"/>
          <p:cNvSpPr txBox="1">
            <a:spLocks noGrp="1"/>
          </p:cNvSpPr>
          <p:nvPr>
            <p:ph type="body" idx="1"/>
          </p:nvPr>
        </p:nvSpPr>
        <p:spPr>
          <a:xfrm>
            <a:off x="930910" y="3379868"/>
            <a:ext cx="7447200" cy="2765400"/>
          </a:xfrm>
          <a:prstGeom prst="rect">
            <a:avLst/>
          </a:prstGeom>
          <a:noFill/>
          <a:ln>
            <a:noFill/>
          </a:ln>
        </p:spPr>
        <p:txBody>
          <a:bodyPr spcFirstLastPara="1" wrap="square" lIns="93300" tIns="46650" rIns="93300" bIns="46650" anchor="t" anchorCtr="0">
            <a:noAutofit/>
          </a:bodyPr>
          <a:lstStyle/>
          <a:p>
            <a:pPr marL="0" lvl="0" indent="0" algn="l" rtl="0">
              <a:spcBef>
                <a:spcPts val="0"/>
              </a:spcBef>
              <a:spcAft>
                <a:spcPts val="0"/>
              </a:spcAft>
              <a:buNone/>
            </a:pPr>
            <a:r>
              <a:rPr lang="en-US" sz="1400" b="1">
                <a:latin typeface="Arial"/>
                <a:ea typeface="Arial"/>
                <a:cs typeface="Arial"/>
                <a:sym typeface="Arial"/>
              </a:rPr>
              <a:t>Why this slide is important:</a:t>
            </a:r>
            <a:endParaRPr sz="1400" b="1">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Char char="●"/>
            </a:pPr>
            <a:r>
              <a:rPr lang="en-US" sz="1400">
                <a:latin typeface="Arial"/>
                <a:ea typeface="Arial"/>
                <a:cs typeface="Arial"/>
                <a:sym typeface="Arial"/>
              </a:rPr>
              <a:t>Helps students understand and focus on specific tasks related to the given Challenge Project Milestone(s)</a:t>
            </a:r>
            <a:endParaRPr sz="1400">
              <a:latin typeface="Arial"/>
              <a:ea typeface="Arial"/>
              <a:cs typeface="Arial"/>
              <a:sym typeface="Arial"/>
            </a:endParaRPr>
          </a:p>
          <a:p>
            <a:pPr marL="0" lvl="0" indent="0" algn="l" rtl="0">
              <a:spcBef>
                <a:spcPts val="0"/>
              </a:spcBef>
              <a:spcAft>
                <a:spcPts val="0"/>
              </a:spcAft>
              <a:buNone/>
            </a:pPr>
            <a:endParaRPr sz="1400">
              <a:latin typeface="Arial"/>
              <a:ea typeface="Arial"/>
              <a:cs typeface="Arial"/>
              <a:sym typeface="Arial"/>
            </a:endParaRPr>
          </a:p>
          <a:p>
            <a:pPr marL="0" lvl="0" indent="0" algn="l" rtl="0">
              <a:spcBef>
                <a:spcPts val="0"/>
              </a:spcBef>
              <a:spcAft>
                <a:spcPts val="0"/>
              </a:spcAft>
              <a:buNone/>
            </a:pPr>
            <a:r>
              <a:rPr lang="en-US" sz="1400" b="1">
                <a:latin typeface="Arial"/>
                <a:ea typeface="Arial"/>
                <a:cs typeface="Arial"/>
                <a:sym typeface="Arial"/>
              </a:rPr>
              <a:t>Guidance on filling in / presenting this slide:</a:t>
            </a:r>
            <a:endParaRPr sz="1400" b="1">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Char char="●"/>
            </a:pPr>
            <a:r>
              <a:rPr lang="en-US" sz="1400">
                <a:latin typeface="Arial"/>
                <a:ea typeface="Arial"/>
                <a:cs typeface="Arial"/>
                <a:sym typeface="Arial"/>
              </a:rPr>
              <a:t>Make additional copies of this slide if desired</a:t>
            </a:r>
            <a:endParaRPr sz="1400">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Char char="●"/>
            </a:pPr>
            <a:r>
              <a:rPr lang="en-US" sz="1400">
                <a:latin typeface="Arial"/>
                <a:ea typeface="Arial"/>
                <a:cs typeface="Arial"/>
                <a:sym typeface="Arial"/>
              </a:rPr>
              <a:t>Modify each slide to fit your Milestone(s)</a:t>
            </a:r>
            <a:endParaRPr sz="1400" b="1">
              <a:latin typeface="Arial"/>
              <a:ea typeface="Arial"/>
              <a:cs typeface="Arial"/>
              <a:sym typeface="Arial"/>
            </a:endParaRPr>
          </a:p>
        </p:txBody>
      </p:sp>
      <p:sp>
        <p:nvSpPr>
          <p:cNvPr id="1467" name="Google Shape;1467;g211c146a9c0_2_419:notes"/>
          <p:cNvSpPr>
            <a:spLocks noGrp="1" noRot="1" noChangeAspect="1"/>
          </p:cNvSpPr>
          <p:nvPr>
            <p:ph type="sldImg" idx="2"/>
          </p:nvPr>
        </p:nvSpPr>
        <p:spPr>
          <a:xfrm>
            <a:off x="2547938" y="877888"/>
            <a:ext cx="4213225" cy="237013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14791181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65"/>
        <p:cNvGrpSpPr/>
        <p:nvPr/>
      </p:nvGrpSpPr>
      <p:grpSpPr>
        <a:xfrm>
          <a:off x="0" y="0"/>
          <a:ext cx="0" cy="0"/>
          <a:chOff x="0" y="0"/>
          <a:chExt cx="0" cy="0"/>
        </a:xfrm>
      </p:grpSpPr>
      <p:sp>
        <p:nvSpPr>
          <p:cNvPr id="1466" name="Google Shape;1466;g211c146a9c0_2_419:notes"/>
          <p:cNvSpPr txBox="1">
            <a:spLocks noGrp="1"/>
          </p:cNvSpPr>
          <p:nvPr>
            <p:ph type="body" idx="1"/>
          </p:nvPr>
        </p:nvSpPr>
        <p:spPr>
          <a:xfrm>
            <a:off x="930910" y="3379868"/>
            <a:ext cx="7447200" cy="2765400"/>
          </a:xfrm>
          <a:prstGeom prst="rect">
            <a:avLst/>
          </a:prstGeom>
          <a:noFill/>
          <a:ln>
            <a:noFill/>
          </a:ln>
        </p:spPr>
        <p:txBody>
          <a:bodyPr spcFirstLastPara="1" wrap="square" lIns="93300" tIns="46650" rIns="93300" bIns="46650" anchor="t" anchorCtr="0">
            <a:noAutofit/>
          </a:bodyPr>
          <a:lstStyle/>
          <a:p>
            <a:pPr marL="0" lvl="0" indent="0" algn="l" rtl="0">
              <a:spcBef>
                <a:spcPts val="0"/>
              </a:spcBef>
              <a:spcAft>
                <a:spcPts val="0"/>
              </a:spcAft>
              <a:buNone/>
            </a:pPr>
            <a:r>
              <a:rPr lang="en-US" sz="1400" b="1">
                <a:latin typeface="Arial"/>
                <a:ea typeface="Arial"/>
                <a:cs typeface="Arial"/>
                <a:sym typeface="Arial"/>
              </a:rPr>
              <a:t>Why this slide is important:</a:t>
            </a:r>
            <a:endParaRPr sz="1400" b="1">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Char char="●"/>
            </a:pPr>
            <a:r>
              <a:rPr lang="en-US" sz="1400">
                <a:latin typeface="Arial"/>
                <a:ea typeface="Arial"/>
                <a:cs typeface="Arial"/>
                <a:sym typeface="Arial"/>
              </a:rPr>
              <a:t>Helps students understand and focus on specific tasks related to the given Challenge Project Milestone(s)</a:t>
            </a:r>
            <a:endParaRPr sz="1400">
              <a:latin typeface="Arial"/>
              <a:ea typeface="Arial"/>
              <a:cs typeface="Arial"/>
              <a:sym typeface="Arial"/>
            </a:endParaRPr>
          </a:p>
          <a:p>
            <a:pPr marL="0" lvl="0" indent="0" algn="l" rtl="0">
              <a:spcBef>
                <a:spcPts val="0"/>
              </a:spcBef>
              <a:spcAft>
                <a:spcPts val="0"/>
              </a:spcAft>
              <a:buNone/>
            </a:pPr>
            <a:endParaRPr sz="1400">
              <a:latin typeface="Arial"/>
              <a:ea typeface="Arial"/>
              <a:cs typeface="Arial"/>
              <a:sym typeface="Arial"/>
            </a:endParaRPr>
          </a:p>
          <a:p>
            <a:pPr marL="0" lvl="0" indent="0" algn="l" rtl="0">
              <a:spcBef>
                <a:spcPts val="0"/>
              </a:spcBef>
              <a:spcAft>
                <a:spcPts val="0"/>
              </a:spcAft>
              <a:buNone/>
            </a:pPr>
            <a:r>
              <a:rPr lang="en-US" sz="1400" b="1">
                <a:latin typeface="Arial"/>
                <a:ea typeface="Arial"/>
                <a:cs typeface="Arial"/>
                <a:sym typeface="Arial"/>
              </a:rPr>
              <a:t>Guidance on filling in / presenting this slide:</a:t>
            </a:r>
            <a:endParaRPr sz="1400" b="1">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Char char="●"/>
            </a:pPr>
            <a:r>
              <a:rPr lang="en-US" sz="1400">
                <a:latin typeface="Arial"/>
                <a:ea typeface="Arial"/>
                <a:cs typeface="Arial"/>
                <a:sym typeface="Arial"/>
              </a:rPr>
              <a:t>Make additional copies of this slide if desired</a:t>
            </a:r>
            <a:endParaRPr sz="1400">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Char char="●"/>
            </a:pPr>
            <a:r>
              <a:rPr lang="en-US" sz="1400">
                <a:latin typeface="Arial"/>
                <a:ea typeface="Arial"/>
                <a:cs typeface="Arial"/>
                <a:sym typeface="Arial"/>
              </a:rPr>
              <a:t>Modify each slide to fit your Milestone(s)</a:t>
            </a:r>
            <a:endParaRPr sz="1400" b="1">
              <a:latin typeface="Arial"/>
              <a:ea typeface="Arial"/>
              <a:cs typeface="Arial"/>
              <a:sym typeface="Arial"/>
            </a:endParaRPr>
          </a:p>
        </p:txBody>
      </p:sp>
      <p:sp>
        <p:nvSpPr>
          <p:cNvPr id="1467" name="Google Shape;1467;g211c146a9c0_2_419:notes"/>
          <p:cNvSpPr>
            <a:spLocks noGrp="1" noRot="1" noChangeAspect="1"/>
          </p:cNvSpPr>
          <p:nvPr>
            <p:ph type="sldImg" idx="2"/>
          </p:nvPr>
        </p:nvSpPr>
        <p:spPr>
          <a:xfrm>
            <a:off x="2547938" y="877888"/>
            <a:ext cx="4213225" cy="237013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5777087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73"/>
        <p:cNvGrpSpPr/>
        <p:nvPr/>
      </p:nvGrpSpPr>
      <p:grpSpPr>
        <a:xfrm>
          <a:off x="0" y="0"/>
          <a:ext cx="0" cy="0"/>
          <a:chOff x="0" y="0"/>
          <a:chExt cx="0" cy="0"/>
        </a:xfrm>
      </p:grpSpPr>
      <p:sp>
        <p:nvSpPr>
          <p:cNvPr id="1474" name="Google Shape;1474;g2e75ed8624e_2_448:notes"/>
          <p:cNvSpPr>
            <a:spLocks noGrp="1" noRot="1" noChangeAspect="1"/>
          </p:cNvSpPr>
          <p:nvPr>
            <p:ph type="sldImg" idx="2"/>
          </p:nvPr>
        </p:nvSpPr>
        <p:spPr>
          <a:xfrm>
            <a:off x="382588" y="685800"/>
            <a:ext cx="6094412"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75" name="Google Shape;1475;g2e75ed8624e_2_448: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100"/>
              <a:buFont typeface="Arial"/>
              <a:buNone/>
            </a:pPr>
            <a:r>
              <a:rPr lang="en-US" sz="1400" b="1">
                <a:latin typeface="Arial"/>
                <a:ea typeface="Arial"/>
                <a:cs typeface="Arial"/>
                <a:sym typeface="Arial"/>
              </a:rPr>
              <a:t>Jim </a:t>
            </a:r>
          </a:p>
          <a:p>
            <a:pPr marL="0" lvl="0" indent="0" algn="l" rtl="0">
              <a:spcBef>
                <a:spcPts val="0"/>
              </a:spcBef>
              <a:spcAft>
                <a:spcPts val="0"/>
              </a:spcAft>
              <a:buClr>
                <a:schemeClr val="dk1"/>
              </a:buClr>
              <a:buSzPts val="1100"/>
              <a:buFont typeface="Arial"/>
              <a:buNone/>
            </a:pPr>
            <a:endParaRPr lang="en-US" sz="1400" b="1">
              <a:latin typeface="Arial"/>
              <a:ea typeface="Arial"/>
              <a:cs typeface="Arial"/>
              <a:sym typeface="Arial"/>
            </a:endParaRPr>
          </a:p>
          <a:p>
            <a:pPr marL="0" lvl="0" indent="0" algn="l" rtl="0">
              <a:spcBef>
                <a:spcPts val="0"/>
              </a:spcBef>
              <a:spcAft>
                <a:spcPts val="0"/>
              </a:spcAft>
              <a:buClr>
                <a:schemeClr val="dk1"/>
              </a:buClr>
              <a:buSzPts val="1100"/>
              <a:buFont typeface="Arial"/>
              <a:buNone/>
            </a:pPr>
            <a:r>
              <a:rPr lang="en-US" sz="1400" b="1">
                <a:latin typeface="Arial"/>
                <a:ea typeface="Arial"/>
                <a:cs typeface="Arial"/>
                <a:sym typeface="Arial"/>
              </a:rPr>
              <a:t>Why this slide is important:</a:t>
            </a:r>
            <a:endParaRPr sz="1400" b="1">
              <a:latin typeface="Arial"/>
              <a:ea typeface="Arial"/>
              <a:cs typeface="Arial"/>
              <a:sym typeface="Arial"/>
            </a:endParaRPr>
          </a:p>
          <a:p>
            <a:pPr marL="457200" lvl="0" indent="-317500" algn="l" rtl="0">
              <a:spcBef>
                <a:spcPts val="0"/>
              </a:spcBef>
              <a:spcAft>
                <a:spcPts val="0"/>
              </a:spcAft>
              <a:buSzPts val="1400"/>
              <a:buFont typeface="Arial"/>
              <a:buChar char="●"/>
            </a:pPr>
            <a:r>
              <a:rPr lang="en-US" sz="1400">
                <a:latin typeface="Arial"/>
                <a:ea typeface="Arial"/>
                <a:cs typeface="Arial"/>
                <a:sym typeface="Arial"/>
              </a:rPr>
              <a:t>Sets clear expectations and working norms </a:t>
            </a:r>
            <a:endParaRPr sz="1400">
              <a:latin typeface="Arial"/>
              <a:ea typeface="Arial"/>
              <a:cs typeface="Arial"/>
              <a:sym typeface="Arial"/>
            </a:endParaRPr>
          </a:p>
          <a:p>
            <a:pPr marL="457200" lvl="0" indent="-317500" algn="l" rtl="0">
              <a:spcBef>
                <a:spcPts val="0"/>
              </a:spcBef>
              <a:spcAft>
                <a:spcPts val="0"/>
              </a:spcAft>
              <a:buSzPts val="1400"/>
              <a:buFont typeface="Arial"/>
              <a:buChar char="●"/>
            </a:pPr>
            <a:r>
              <a:rPr lang="en-US" sz="1400">
                <a:latin typeface="Arial"/>
                <a:ea typeface="Arial"/>
                <a:cs typeface="Arial"/>
                <a:sym typeface="Arial"/>
              </a:rPr>
              <a:t>Provides a sense of structure for the students, which is something they are used to from their college courses</a:t>
            </a:r>
            <a:endParaRPr sz="1400">
              <a:latin typeface="Arial"/>
              <a:ea typeface="Arial"/>
              <a:cs typeface="Arial"/>
              <a:sym typeface="Arial"/>
            </a:endParaRPr>
          </a:p>
          <a:p>
            <a:pPr marL="457200" lvl="0" indent="-317500" algn="l" rtl="0">
              <a:spcBef>
                <a:spcPts val="0"/>
              </a:spcBef>
              <a:spcAft>
                <a:spcPts val="0"/>
              </a:spcAft>
              <a:buSzPts val="1400"/>
              <a:buFont typeface="Arial"/>
              <a:buChar char="●"/>
            </a:pPr>
            <a:r>
              <a:rPr lang="en-US" sz="1400">
                <a:latin typeface="Arial"/>
                <a:ea typeface="Arial"/>
                <a:cs typeface="Arial"/>
                <a:sym typeface="Arial"/>
              </a:rPr>
              <a:t>Gives the students the opportunity to practice “ways of working” that they’ll be expected to follow in their summer internships and full-time jobs</a:t>
            </a:r>
            <a:endParaRPr sz="1400">
              <a:latin typeface="Arial"/>
              <a:ea typeface="Arial"/>
              <a:cs typeface="Arial"/>
              <a:sym typeface="Arial"/>
            </a:endParaRPr>
          </a:p>
          <a:p>
            <a:pPr marL="0" lvl="0" indent="0" algn="l" rtl="0">
              <a:spcBef>
                <a:spcPts val="0"/>
              </a:spcBef>
              <a:spcAft>
                <a:spcPts val="0"/>
              </a:spcAft>
              <a:buNone/>
            </a:pPr>
            <a:endParaRPr sz="1400">
              <a:latin typeface="Arial"/>
              <a:ea typeface="Arial"/>
              <a:cs typeface="Arial"/>
              <a:sym typeface="Arial"/>
            </a:endParaRPr>
          </a:p>
          <a:p>
            <a:pPr marL="0" lvl="0" indent="0" algn="l" rtl="0">
              <a:spcBef>
                <a:spcPts val="0"/>
              </a:spcBef>
              <a:spcAft>
                <a:spcPts val="0"/>
              </a:spcAft>
              <a:buNone/>
            </a:pPr>
            <a:r>
              <a:rPr lang="en-US" sz="1400" b="1">
                <a:latin typeface="Arial"/>
                <a:ea typeface="Arial"/>
                <a:cs typeface="Arial"/>
                <a:sym typeface="Arial"/>
              </a:rPr>
              <a:t>Guidance on filling in / presenting this slide:</a:t>
            </a:r>
            <a:endParaRPr sz="1400" b="1">
              <a:latin typeface="Arial"/>
              <a:ea typeface="Arial"/>
              <a:cs typeface="Arial"/>
              <a:sym typeface="Arial"/>
            </a:endParaRPr>
          </a:p>
          <a:p>
            <a:pPr marL="457200" lvl="0" indent="-317500" algn="l" rtl="0">
              <a:spcBef>
                <a:spcPts val="0"/>
              </a:spcBef>
              <a:spcAft>
                <a:spcPts val="0"/>
              </a:spcAft>
              <a:buSzPts val="1400"/>
              <a:buFont typeface="Arial"/>
              <a:buChar char="●"/>
            </a:pPr>
            <a:r>
              <a:rPr lang="en-US" sz="1400">
                <a:latin typeface="Arial"/>
                <a:ea typeface="Arial"/>
                <a:cs typeface="Arial"/>
                <a:sym typeface="Arial"/>
              </a:rPr>
              <a:t>Fill in each of the 5 rows to the best of your ability</a:t>
            </a:r>
            <a:endParaRPr sz="1400">
              <a:latin typeface="Arial"/>
              <a:ea typeface="Arial"/>
              <a:cs typeface="Arial"/>
              <a:sym typeface="Arial"/>
            </a:endParaRPr>
          </a:p>
          <a:p>
            <a:pPr marL="457200" lvl="0" indent="-317500" algn="l" rtl="0">
              <a:spcBef>
                <a:spcPts val="0"/>
              </a:spcBef>
              <a:spcAft>
                <a:spcPts val="0"/>
              </a:spcAft>
              <a:buSzPts val="1400"/>
              <a:buFont typeface="Arial"/>
              <a:buChar char="●"/>
            </a:pPr>
            <a:r>
              <a:rPr lang="en-US" sz="1400" i="1">
                <a:latin typeface="Arial"/>
                <a:ea typeface="Arial"/>
                <a:cs typeface="Arial"/>
                <a:sym typeface="Arial"/>
              </a:rPr>
              <a:t>During the meeting with your student team: </a:t>
            </a:r>
            <a:r>
              <a:rPr lang="en-US" sz="1400">
                <a:latin typeface="Arial"/>
                <a:ea typeface="Arial"/>
                <a:cs typeface="Arial"/>
                <a:sym typeface="Arial"/>
              </a:rPr>
              <a:t>Ask the students when they’ll be available to meet with you for their regular (every 2 weeks) check-in meetings. They will have discussed availabilities amongst themselves beforehand. </a:t>
            </a:r>
            <a:endParaRPr sz="1400">
              <a:latin typeface="Arial"/>
              <a:ea typeface="Arial"/>
              <a:cs typeface="Arial"/>
              <a:sym typeface="Arial"/>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79"/>
        <p:cNvGrpSpPr/>
        <p:nvPr/>
      </p:nvGrpSpPr>
      <p:grpSpPr>
        <a:xfrm>
          <a:off x="0" y="0"/>
          <a:ext cx="0" cy="0"/>
          <a:chOff x="0" y="0"/>
          <a:chExt cx="0" cy="0"/>
        </a:xfrm>
      </p:grpSpPr>
      <p:sp>
        <p:nvSpPr>
          <p:cNvPr id="1480" name="Google Shape;1480;g2e58787ac9d_0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81" name="Google Shape;1481;g2e58787ac9d_0_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100"/>
              <a:buFont typeface="Arial"/>
              <a:buNone/>
            </a:pPr>
            <a:r>
              <a:rPr lang="en-US" sz="1400" b="1">
                <a:latin typeface="Arial"/>
                <a:ea typeface="Arial"/>
                <a:cs typeface="Arial"/>
                <a:sym typeface="Arial"/>
              </a:rPr>
              <a:t>Why this slide is important:</a:t>
            </a:r>
            <a:endParaRPr sz="1400" b="1">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Char char="●"/>
            </a:pPr>
            <a:r>
              <a:rPr lang="en-US" sz="1400">
                <a:latin typeface="Arial"/>
                <a:ea typeface="Arial"/>
                <a:cs typeface="Arial"/>
                <a:sym typeface="Arial"/>
              </a:rPr>
              <a:t>Ensures students know how to proceed and get started on their project over the coming weeks</a:t>
            </a:r>
            <a:endParaRPr sz="1400">
              <a:latin typeface="Arial"/>
              <a:ea typeface="Arial"/>
              <a:cs typeface="Arial"/>
              <a:sym typeface="Arial"/>
            </a:endParaRPr>
          </a:p>
          <a:p>
            <a:pPr marL="0" lvl="0" indent="0" algn="l" rtl="0">
              <a:spcBef>
                <a:spcPts val="0"/>
              </a:spcBef>
              <a:spcAft>
                <a:spcPts val="0"/>
              </a:spcAft>
              <a:buClr>
                <a:schemeClr val="dk1"/>
              </a:buClr>
              <a:buSzPts val="1100"/>
              <a:buFont typeface="Arial"/>
              <a:buNone/>
            </a:pPr>
            <a:endParaRPr sz="1400">
              <a:latin typeface="Arial"/>
              <a:ea typeface="Arial"/>
              <a:cs typeface="Arial"/>
              <a:sym typeface="Arial"/>
            </a:endParaRPr>
          </a:p>
          <a:p>
            <a:pPr marL="0" lvl="0" indent="0" algn="l" rtl="0">
              <a:spcBef>
                <a:spcPts val="0"/>
              </a:spcBef>
              <a:spcAft>
                <a:spcPts val="0"/>
              </a:spcAft>
              <a:buClr>
                <a:schemeClr val="dk1"/>
              </a:buClr>
              <a:buSzPts val="1100"/>
              <a:buFont typeface="Arial"/>
              <a:buNone/>
            </a:pPr>
            <a:r>
              <a:rPr lang="en-US" sz="1400" b="1">
                <a:latin typeface="Arial"/>
                <a:ea typeface="Arial"/>
                <a:cs typeface="Arial"/>
                <a:sym typeface="Arial"/>
              </a:rPr>
              <a:t>Guidance on filling in / presenting this slide:</a:t>
            </a:r>
            <a:endParaRPr sz="1400" b="1">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Char char="●"/>
            </a:pPr>
            <a:r>
              <a:rPr lang="en-US" sz="1400">
                <a:latin typeface="Arial"/>
                <a:ea typeface="Arial"/>
                <a:cs typeface="Arial"/>
                <a:sym typeface="Arial"/>
              </a:rPr>
              <a:t>Use the pre-created text in the first two boxes</a:t>
            </a:r>
            <a:endParaRPr sz="1400">
              <a:latin typeface="Arial"/>
              <a:ea typeface="Arial"/>
              <a:cs typeface="Arial"/>
              <a:sym typeface="Arial"/>
            </a:endParaRPr>
          </a:p>
          <a:p>
            <a:pPr marL="914400" lvl="1" indent="-317500" algn="l" rtl="0">
              <a:lnSpc>
                <a:spcPct val="115000"/>
              </a:lnSpc>
              <a:spcBef>
                <a:spcPts val="0"/>
              </a:spcBef>
              <a:spcAft>
                <a:spcPts val="0"/>
              </a:spcAft>
              <a:buClr>
                <a:schemeClr val="dk1"/>
              </a:buClr>
              <a:buSzPts val="1400"/>
              <a:buChar char="○"/>
            </a:pPr>
            <a:r>
              <a:rPr lang="en-US" sz="1400" u="sng">
                <a:latin typeface="Arial"/>
                <a:ea typeface="Arial"/>
                <a:cs typeface="Arial"/>
                <a:sym typeface="Arial"/>
              </a:rPr>
              <a:t>Note</a:t>
            </a:r>
            <a:r>
              <a:rPr lang="en-US" sz="1400">
                <a:latin typeface="Arial"/>
                <a:ea typeface="Arial"/>
                <a:cs typeface="Arial"/>
                <a:sym typeface="Arial"/>
              </a:rPr>
              <a:t>: The “Project Scope and Deliverables” document is a required Break Through Tech assignment that the students will submit to us on September 8th via their Canvas course. They will also share it with you and their AI Studio TA for feedback to make sure they have properly documented the project scope and goals. </a:t>
            </a:r>
            <a:endParaRPr sz="1400">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Char char="●"/>
            </a:pPr>
            <a:r>
              <a:rPr lang="en-US" sz="1400">
                <a:latin typeface="Arial"/>
                <a:ea typeface="Arial"/>
                <a:cs typeface="Arial"/>
                <a:sym typeface="Arial"/>
              </a:rPr>
              <a:t>Use the third box to add any additional next steps</a:t>
            </a:r>
            <a:endParaRPr sz="1400" b="1">
              <a:latin typeface="Arial"/>
              <a:ea typeface="Arial"/>
              <a:cs typeface="Arial"/>
              <a:sym typeface="Arial"/>
            </a:endParaRPr>
          </a:p>
        </p:txBody>
      </p:sp>
      <p:sp>
        <p:nvSpPr>
          <p:cNvPr id="1482" name="Google Shape;1482;g2e58787ac9d_0_0: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t>34</a:t>
            </a:fld>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89"/>
        <p:cNvGrpSpPr/>
        <p:nvPr/>
      </p:nvGrpSpPr>
      <p:grpSpPr>
        <a:xfrm>
          <a:off x="0" y="0"/>
          <a:ext cx="0" cy="0"/>
          <a:chOff x="0" y="0"/>
          <a:chExt cx="0" cy="0"/>
        </a:xfrm>
      </p:grpSpPr>
      <p:sp>
        <p:nvSpPr>
          <p:cNvPr id="1490" name="Google Shape;1490;g211cc67c10c_0_4821:notes"/>
          <p:cNvSpPr>
            <a:spLocks noGrp="1" noRot="1" noChangeAspect="1"/>
          </p:cNvSpPr>
          <p:nvPr>
            <p:ph type="sldImg" idx="2"/>
          </p:nvPr>
        </p:nvSpPr>
        <p:spPr>
          <a:xfrm>
            <a:off x="382588" y="685800"/>
            <a:ext cx="6094412"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91" name="Google Shape;1491;g211cc67c10c_0_4821: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100"/>
              <a:buFont typeface="Arial"/>
              <a:buNone/>
            </a:pPr>
            <a:endParaRPr lang="en-US" sz="1400" b="1">
              <a:latin typeface="Arial"/>
              <a:ea typeface="Arial"/>
              <a:cs typeface="Arial"/>
              <a:sym typeface="Arial"/>
            </a:endParaRPr>
          </a:p>
          <a:p>
            <a:pPr marL="0" lvl="0" indent="0" algn="l" rtl="0">
              <a:spcBef>
                <a:spcPts val="0"/>
              </a:spcBef>
              <a:spcAft>
                <a:spcPts val="0"/>
              </a:spcAft>
              <a:buClr>
                <a:schemeClr val="dk1"/>
              </a:buClr>
              <a:buSzPts val="1100"/>
              <a:buFont typeface="Arial"/>
              <a:buNone/>
            </a:pPr>
            <a:r>
              <a:rPr lang="en-US" sz="1400" b="1">
                <a:latin typeface="Arial"/>
                <a:ea typeface="Arial"/>
                <a:cs typeface="Arial"/>
                <a:sym typeface="Arial"/>
              </a:rPr>
              <a:t>Questions they may ask: </a:t>
            </a:r>
          </a:p>
          <a:p>
            <a:pPr marL="285750" lvl="0" indent="-285750" algn="l" rtl="0">
              <a:spcBef>
                <a:spcPts val="0"/>
              </a:spcBef>
              <a:spcAft>
                <a:spcPts val="0"/>
              </a:spcAft>
              <a:buClr>
                <a:schemeClr val="dk1"/>
              </a:buClr>
              <a:buSzPts val="1100"/>
              <a:buFontTx/>
              <a:buChar char="-"/>
            </a:pPr>
            <a:r>
              <a:rPr lang="en-US" sz="1400" b="0">
                <a:latin typeface="Arial"/>
                <a:ea typeface="Arial"/>
                <a:cs typeface="Arial"/>
                <a:sym typeface="Arial"/>
              </a:rPr>
              <a:t>Impact of the work</a:t>
            </a:r>
          </a:p>
          <a:p>
            <a:pPr marL="285750" lvl="0" indent="-285750" algn="l" rtl="0">
              <a:spcBef>
                <a:spcPts val="0"/>
              </a:spcBef>
              <a:spcAft>
                <a:spcPts val="0"/>
              </a:spcAft>
              <a:buClr>
                <a:schemeClr val="dk1"/>
              </a:buClr>
              <a:buSzPts val="1100"/>
              <a:buFontTx/>
              <a:buChar char="-"/>
            </a:pPr>
            <a:r>
              <a:rPr lang="en-US" sz="1400" b="0">
                <a:latin typeface="Arial"/>
                <a:ea typeface="Arial"/>
                <a:cs typeface="Arial"/>
                <a:sym typeface="Arial"/>
              </a:rPr>
              <a:t>Slack/email is best way to communicate</a:t>
            </a:r>
          </a:p>
          <a:p>
            <a:pPr marL="285750" lvl="0" indent="-285750" algn="l" rtl="0">
              <a:spcBef>
                <a:spcPts val="0"/>
              </a:spcBef>
              <a:spcAft>
                <a:spcPts val="0"/>
              </a:spcAft>
              <a:buClr>
                <a:schemeClr val="dk1"/>
              </a:buClr>
              <a:buSzPts val="1100"/>
              <a:buFontTx/>
              <a:buChar char="-"/>
            </a:pPr>
            <a:r>
              <a:rPr lang="en-US" sz="1400" b="0">
                <a:latin typeface="Arial"/>
                <a:ea typeface="Arial"/>
                <a:cs typeface="Arial"/>
                <a:sym typeface="Arial"/>
              </a:rPr>
              <a:t>Let us know if their challenge advisor doesn’t get in touch with them</a:t>
            </a:r>
          </a:p>
          <a:p>
            <a:pPr marL="0" lvl="0" indent="0" algn="l" rtl="0">
              <a:spcBef>
                <a:spcPts val="0"/>
              </a:spcBef>
              <a:spcAft>
                <a:spcPts val="0"/>
              </a:spcAft>
              <a:buClr>
                <a:schemeClr val="dk1"/>
              </a:buClr>
              <a:buSzPts val="1100"/>
              <a:buFont typeface="Arial"/>
              <a:buNone/>
            </a:pPr>
            <a:endParaRPr lang="en-US" sz="1400" b="1">
              <a:latin typeface="Arial"/>
              <a:ea typeface="Arial"/>
              <a:cs typeface="Arial"/>
              <a:sym typeface="Arial"/>
            </a:endParaRPr>
          </a:p>
          <a:p>
            <a:pPr marL="0" lvl="0" indent="0" algn="l" rtl="0">
              <a:spcBef>
                <a:spcPts val="0"/>
              </a:spcBef>
              <a:spcAft>
                <a:spcPts val="0"/>
              </a:spcAft>
              <a:buClr>
                <a:schemeClr val="dk1"/>
              </a:buClr>
              <a:buSzPts val="1100"/>
              <a:buFont typeface="Arial"/>
              <a:buNone/>
            </a:pPr>
            <a:r>
              <a:rPr lang="en-US" sz="1400" b="1">
                <a:latin typeface="Arial"/>
                <a:ea typeface="Arial"/>
                <a:cs typeface="Arial"/>
                <a:sym typeface="Arial"/>
              </a:rPr>
              <a:t>Why this slide is important:</a:t>
            </a:r>
            <a:endParaRPr sz="1400" b="1">
              <a:latin typeface="Arial"/>
              <a:ea typeface="Arial"/>
              <a:cs typeface="Arial"/>
              <a:sym typeface="Arial"/>
            </a:endParaRPr>
          </a:p>
          <a:p>
            <a:pPr marL="457200" lvl="0" indent="-317500" algn="l" rtl="0">
              <a:lnSpc>
                <a:spcPct val="115000"/>
              </a:lnSpc>
              <a:spcBef>
                <a:spcPts val="0"/>
              </a:spcBef>
              <a:spcAft>
                <a:spcPts val="0"/>
              </a:spcAft>
              <a:buSzPts val="1400"/>
              <a:buFont typeface="Arial"/>
              <a:buChar char="●"/>
            </a:pPr>
            <a:r>
              <a:rPr lang="en-US" sz="1400">
                <a:latin typeface="Arial"/>
                <a:ea typeface="Arial"/>
                <a:cs typeface="Arial"/>
                <a:sym typeface="Arial"/>
              </a:rPr>
              <a:t>Making time for questions will allow the students to ask for clarification on their project goals and next steps!</a:t>
            </a:r>
            <a:endParaRPr sz="1400">
              <a:latin typeface="Arial"/>
              <a:ea typeface="Arial"/>
              <a:cs typeface="Arial"/>
              <a:sym typeface="Arial"/>
            </a:endParaRPr>
          </a:p>
          <a:p>
            <a:pPr marL="0" lvl="0" indent="0" algn="l" rtl="0">
              <a:spcBef>
                <a:spcPts val="0"/>
              </a:spcBef>
              <a:spcAft>
                <a:spcPts val="0"/>
              </a:spcAft>
              <a:buClr>
                <a:schemeClr val="dk1"/>
              </a:buClr>
              <a:buSzPts val="1100"/>
              <a:buFont typeface="Arial"/>
              <a:buNone/>
            </a:pPr>
            <a:endParaRPr sz="1400">
              <a:latin typeface="Arial"/>
              <a:ea typeface="Arial"/>
              <a:cs typeface="Arial"/>
              <a:sym typeface="Arial"/>
            </a:endParaRPr>
          </a:p>
          <a:p>
            <a:pPr marL="0" lvl="0" indent="0" algn="l" rtl="0">
              <a:spcBef>
                <a:spcPts val="0"/>
              </a:spcBef>
              <a:spcAft>
                <a:spcPts val="0"/>
              </a:spcAft>
              <a:buNone/>
            </a:pPr>
            <a:r>
              <a:rPr lang="en-US" sz="1400" b="1">
                <a:latin typeface="Arial"/>
                <a:ea typeface="Arial"/>
                <a:cs typeface="Arial"/>
                <a:sym typeface="Arial"/>
              </a:rPr>
              <a:t>Guidance on filling in / presenting this slide:</a:t>
            </a:r>
            <a:endParaRPr sz="1400">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Font typeface="Arial"/>
              <a:buChar char="●"/>
            </a:pPr>
            <a:r>
              <a:rPr lang="en-US" sz="1400">
                <a:latin typeface="Arial"/>
                <a:ea typeface="Arial"/>
                <a:cs typeface="Arial"/>
                <a:sym typeface="Arial"/>
              </a:rPr>
              <a:t>On this slide are some suggested prompts; feel free to replace these with your own (or remove them and just verbally ask if they have any questions)</a:t>
            </a:r>
            <a:endParaRPr sz="1400">
              <a:latin typeface="Arial"/>
              <a:ea typeface="Arial"/>
              <a:cs typeface="Arial"/>
              <a:sym typeface="Arial"/>
            </a:endParaRPr>
          </a:p>
          <a:p>
            <a:pPr marL="457200" lvl="0" indent="-317500" algn="l" rtl="0">
              <a:lnSpc>
                <a:spcPct val="115000"/>
              </a:lnSpc>
              <a:spcBef>
                <a:spcPts val="0"/>
              </a:spcBef>
              <a:spcAft>
                <a:spcPts val="0"/>
              </a:spcAft>
              <a:buSzPts val="1400"/>
              <a:buFont typeface="Arial"/>
              <a:buChar char="●"/>
            </a:pPr>
            <a:r>
              <a:rPr lang="en-US" sz="1400">
                <a:latin typeface="Arial"/>
                <a:ea typeface="Arial"/>
                <a:cs typeface="Arial"/>
                <a:sym typeface="Arial"/>
              </a:rPr>
              <a:t>Remember to</a:t>
            </a:r>
            <a:r>
              <a:rPr lang="en-US" sz="1400" b="1">
                <a:latin typeface="Arial"/>
                <a:ea typeface="Arial"/>
                <a:cs typeface="Arial"/>
                <a:sym typeface="Arial"/>
              </a:rPr>
              <a:t> </a:t>
            </a:r>
            <a:r>
              <a:rPr lang="en-US" sz="1400" u="sng">
                <a:latin typeface="Arial"/>
                <a:ea typeface="Arial"/>
                <a:cs typeface="Arial"/>
                <a:sym typeface="Arial"/>
              </a:rPr>
              <a:t>email this deck</a:t>
            </a:r>
            <a:r>
              <a:rPr lang="en-US" sz="1400">
                <a:latin typeface="Arial"/>
                <a:ea typeface="Arial"/>
                <a:cs typeface="Arial"/>
                <a:sym typeface="Arial"/>
              </a:rPr>
              <a:t> – and ideally also a meeting recording – to the students after the August 14th meeting, so they can reference it as they work on their Project Scope and Deliverables assignment!</a:t>
            </a:r>
            <a:endParaRPr sz="1400">
              <a:latin typeface="Arial"/>
              <a:ea typeface="Arial"/>
              <a:cs typeface="Arial"/>
              <a:sym typeface="Aria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ess</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129960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7215D0-C66A-1C1B-EB7F-D53AC8BB57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57D846-85E9-BC01-8C82-876DC53418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6392DD9-83BA-0A8B-1F0A-6D3F654D7A54}"/>
              </a:ext>
            </a:extLst>
          </p:cNvPr>
          <p:cNvSpPr>
            <a:spLocks noGrp="1"/>
          </p:cNvSpPr>
          <p:nvPr>
            <p:ph type="body" idx="1"/>
          </p:nvPr>
        </p:nvSpPr>
        <p:spPr/>
        <p:txBody>
          <a:bodyPr/>
          <a:lstStyle/>
          <a:p>
            <a:pPr marL="0" lvl="0" indent="0" algn="l" rtl="0">
              <a:spcBef>
                <a:spcPts val="0"/>
              </a:spcBef>
              <a:spcAft>
                <a:spcPts val="0"/>
              </a:spcAft>
              <a:buClr>
                <a:schemeClr val="dk1"/>
              </a:buClr>
              <a:buSzPts val="1100"/>
              <a:buFont typeface="Arial"/>
              <a:buNone/>
            </a:pPr>
            <a:r>
              <a:rPr lang="en-US" sz="1400" b="1">
                <a:latin typeface="Arial"/>
                <a:ea typeface="Arial"/>
                <a:cs typeface="Arial"/>
                <a:sym typeface="Arial"/>
              </a:rPr>
              <a:t>Why this slide is important:</a:t>
            </a:r>
          </a:p>
          <a:p>
            <a:pPr marL="457200" lvl="0" indent="-317500" algn="l" rtl="0">
              <a:spcBef>
                <a:spcPts val="0"/>
              </a:spcBef>
              <a:spcAft>
                <a:spcPts val="0"/>
              </a:spcAft>
              <a:buSzPts val="1400"/>
              <a:buFont typeface="Arial"/>
              <a:buChar char="●"/>
            </a:pPr>
            <a:r>
              <a:rPr lang="en-US" sz="1400">
                <a:latin typeface="Arial"/>
                <a:ea typeface="Arial"/>
                <a:cs typeface="Arial"/>
                <a:sym typeface="Arial"/>
              </a:rPr>
              <a:t>Helps put the Challenge Project in context by helping students better understand their “host company”</a:t>
            </a:r>
          </a:p>
          <a:p>
            <a:pPr marL="0" lvl="0" indent="0" algn="l" rtl="0">
              <a:spcBef>
                <a:spcPts val="0"/>
              </a:spcBef>
              <a:spcAft>
                <a:spcPts val="0"/>
              </a:spcAft>
              <a:buClr>
                <a:schemeClr val="dk1"/>
              </a:buClr>
              <a:buSzPts val="1100"/>
              <a:buFont typeface="Arial"/>
              <a:buNone/>
            </a:pPr>
            <a:endParaRPr lang="en-US" sz="1400">
              <a:latin typeface="Arial"/>
              <a:ea typeface="Arial"/>
              <a:cs typeface="Arial"/>
              <a:sym typeface="Arial"/>
            </a:endParaRPr>
          </a:p>
          <a:p>
            <a:pPr marL="0" lvl="0" indent="0" algn="l" rtl="0">
              <a:spcBef>
                <a:spcPts val="0"/>
              </a:spcBef>
              <a:spcAft>
                <a:spcPts val="0"/>
              </a:spcAft>
              <a:buNone/>
            </a:pPr>
            <a:r>
              <a:rPr lang="en-US" sz="1400" b="1">
                <a:latin typeface="Arial"/>
                <a:ea typeface="Arial"/>
                <a:cs typeface="Arial"/>
                <a:sym typeface="Arial"/>
              </a:rPr>
              <a:t>Guidance on filling in / presenting this slide:</a:t>
            </a:r>
            <a:endParaRPr lang="en-US" sz="1400">
              <a:latin typeface="Arial"/>
              <a:ea typeface="Arial"/>
              <a:cs typeface="Arial"/>
              <a:sym typeface="Arial"/>
            </a:endParaRPr>
          </a:p>
          <a:p>
            <a:pPr marL="457200" lvl="0" indent="-317500" algn="l" rtl="0">
              <a:lnSpc>
                <a:spcPct val="115000"/>
              </a:lnSpc>
              <a:spcBef>
                <a:spcPts val="0"/>
              </a:spcBef>
              <a:spcAft>
                <a:spcPts val="0"/>
              </a:spcAft>
              <a:buSzPts val="1400"/>
              <a:buFont typeface="Arial"/>
              <a:buChar char="●"/>
            </a:pPr>
            <a:r>
              <a:rPr lang="en-US" sz="1400">
                <a:latin typeface="Arial"/>
                <a:ea typeface="Arial"/>
                <a:cs typeface="Arial"/>
                <a:sym typeface="Arial"/>
              </a:rPr>
              <a:t>Provide some basic info about your company and, if you’d like, the department you’re associated with (e.g., Data and AI)</a:t>
            </a:r>
          </a:p>
          <a:p>
            <a:pPr marL="457200" lvl="0" indent="-317500" algn="l" rtl="0">
              <a:lnSpc>
                <a:spcPct val="115000"/>
              </a:lnSpc>
              <a:spcBef>
                <a:spcPts val="0"/>
              </a:spcBef>
              <a:spcAft>
                <a:spcPts val="0"/>
              </a:spcAft>
              <a:buSzPts val="1400"/>
              <a:buFont typeface="Arial"/>
              <a:buChar char="●"/>
            </a:pPr>
            <a:r>
              <a:rPr lang="en-US" sz="1400">
                <a:latin typeface="Arial"/>
                <a:ea typeface="Arial"/>
                <a:cs typeface="Arial"/>
                <a:sym typeface="Arial"/>
              </a:rPr>
              <a:t>Consider the following (some of this you might choose to talk through in your meeting rather than listing out on the slide itself):</a:t>
            </a:r>
          </a:p>
          <a:p>
            <a:pPr marL="914400" lvl="1" indent="-317500" algn="l" rtl="0">
              <a:lnSpc>
                <a:spcPct val="115000"/>
              </a:lnSpc>
              <a:spcBef>
                <a:spcPts val="0"/>
              </a:spcBef>
              <a:spcAft>
                <a:spcPts val="0"/>
              </a:spcAft>
              <a:buClr>
                <a:schemeClr val="dk1"/>
              </a:buClr>
              <a:buSzPts val="1400"/>
              <a:buChar char="○"/>
            </a:pPr>
            <a:r>
              <a:rPr lang="en-US" sz="1400" b="1">
                <a:latin typeface="Arial"/>
                <a:ea typeface="Arial"/>
                <a:cs typeface="Arial"/>
                <a:sym typeface="Arial"/>
              </a:rPr>
              <a:t>What industry does your company operate in?</a:t>
            </a:r>
            <a:r>
              <a:rPr lang="en-US" sz="1400">
                <a:latin typeface="Arial"/>
                <a:ea typeface="Arial"/>
                <a:cs typeface="Arial"/>
                <a:sym typeface="Arial"/>
              </a:rPr>
              <a:t> </a:t>
            </a:r>
            <a:r>
              <a:rPr lang="en-US" sz="1100" b="0" i="0">
                <a:solidFill>
                  <a:srgbClr val="1E49E2"/>
                </a:solidFill>
                <a:effectLst/>
                <a:latin typeface="Open Sans"/>
              </a:rPr>
              <a:t>Professional services (audit, tax, advisory)</a:t>
            </a:r>
            <a:endParaRPr lang="en-US" sz="1400">
              <a:latin typeface="Arial"/>
              <a:ea typeface="Arial"/>
              <a:cs typeface="Arial"/>
              <a:sym typeface="Arial"/>
            </a:endParaRPr>
          </a:p>
          <a:p>
            <a:pPr marL="914400" lvl="1" indent="-317500" algn="l" rtl="0">
              <a:lnSpc>
                <a:spcPct val="115000"/>
              </a:lnSpc>
              <a:spcBef>
                <a:spcPts val="0"/>
              </a:spcBef>
              <a:spcAft>
                <a:spcPts val="0"/>
              </a:spcAft>
              <a:buClr>
                <a:schemeClr val="dk1"/>
              </a:buClr>
              <a:buSzPts val="1400"/>
              <a:buChar char="○"/>
            </a:pPr>
            <a:r>
              <a:rPr lang="en-US" sz="1400" b="1">
                <a:latin typeface="Arial"/>
                <a:ea typeface="Arial"/>
                <a:cs typeface="Arial"/>
                <a:sym typeface="Arial"/>
              </a:rPr>
              <a:t>How long has it been around?</a:t>
            </a:r>
            <a:r>
              <a:rPr lang="en-US" sz="1400">
                <a:latin typeface="Arial"/>
                <a:ea typeface="Arial"/>
                <a:cs typeface="Arial"/>
                <a:sym typeface="Arial"/>
              </a:rPr>
              <a:t> </a:t>
            </a:r>
            <a:r>
              <a:rPr lang="en-US" sz="1100" b="0" i="0">
                <a:solidFill>
                  <a:srgbClr val="1E49E2"/>
                </a:solidFill>
                <a:effectLst/>
                <a:latin typeface="Open Sans"/>
              </a:rPr>
              <a:t>KPMG dates back to 1897 when the accounting practice was established in the United States.</a:t>
            </a:r>
            <a:endParaRPr lang="en-US" sz="1400">
              <a:latin typeface="Arial"/>
              <a:ea typeface="Arial"/>
              <a:cs typeface="Arial"/>
              <a:sym typeface="Arial"/>
            </a:endParaRPr>
          </a:p>
          <a:p>
            <a:pPr marL="914400" lvl="1" indent="-317500" algn="l" rtl="0">
              <a:lnSpc>
                <a:spcPct val="115000"/>
              </a:lnSpc>
              <a:spcBef>
                <a:spcPts val="0"/>
              </a:spcBef>
              <a:spcAft>
                <a:spcPts val="0"/>
              </a:spcAft>
              <a:buClr>
                <a:schemeClr val="dk1"/>
              </a:buClr>
              <a:buSzPts val="1400"/>
              <a:buChar char="○"/>
            </a:pPr>
            <a:r>
              <a:rPr lang="en-US" sz="1400" b="1">
                <a:latin typeface="Arial"/>
                <a:ea typeface="Arial"/>
                <a:cs typeface="Arial"/>
                <a:sym typeface="Arial"/>
              </a:rPr>
              <a:t>How big is your company? </a:t>
            </a:r>
            <a:r>
              <a:rPr lang="en-US" sz="1100" b="0" i="0">
                <a:solidFill>
                  <a:srgbClr val="1E49E2"/>
                </a:solidFill>
                <a:effectLst/>
                <a:latin typeface="Open Sans"/>
              </a:rPr>
              <a:t>KPMG is one of the Big Four accounting firms. It has over 219,000 employees globally </a:t>
            </a:r>
          </a:p>
          <a:p>
            <a:pPr marL="914400" lvl="1" indent="-317500" algn="l" rtl="0">
              <a:lnSpc>
                <a:spcPct val="115000"/>
              </a:lnSpc>
              <a:spcBef>
                <a:spcPts val="0"/>
              </a:spcBef>
              <a:spcAft>
                <a:spcPts val="0"/>
              </a:spcAft>
              <a:buClr>
                <a:schemeClr val="dk1"/>
              </a:buClr>
              <a:buSzPts val="1400"/>
              <a:buChar char="○"/>
            </a:pPr>
            <a:r>
              <a:rPr lang="en-US" sz="1400" b="1">
                <a:latin typeface="Arial"/>
                <a:ea typeface="Arial"/>
                <a:cs typeface="Arial"/>
                <a:sym typeface="Arial"/>
              </a:rPr>
              <a:t>Where does it have offices? </a:t>
            </a:r>
            <a:r>
              <a:rPr lang="en-US" sz="1400" b="0" i="0">
                <a:solidFill>
                  <a:srgbClr val="1E49E2"/>
                </a:solidFill>
                <a:effectLst/>
                <a:latin typeface="Open Sans"/>
              </a:rPr>
              <a:t>147 countries and territories.</a:t>
            </a:r>
            <a:endParaRPr lang="en-US" sz="1400">
              <a:latin typeface="Arial"/>
              <a:ea typeface="Arial"/>
              <a:cs typeface="Arial"/>
              <a:sym typeface="Arial"/>
            </a:endParaRPr>
          </a:p>
          <a:p>
            <a:pPr marL="914400" lvl="1" indent="-317500" algn="l" rtl="0">
              <a:lnSpc>
                <a:spcPct val="115000"/>
              </a:lnSpc>
              <a:spcBef>
                <a:spcPts val="0"/>
              </a:spcBef>
              <a:spcAft>
                <a:spcPts val="0"/>
              </a:spcAft>
              <a:buClr>
                <a:schemeClr val="dk1"/>
              </a:buClr>
              <a:buSzPts val="1400"/>
              <a:buChar char="○"/>
            </a:pPr>
            <a:r>
              <a:rPr lang="en-US" sz="1400" b="1">
                <a:latin typeface="Arial"/>
                <a:ea typeface="Arial"/>
                <a:cs typeface="Arial"/>
                <a:sym typeface="Arial"/>
              </a:rPr>
              <a:t>What is its mission statement? </a:t>
            </a:r>
            <a:r>
              <a:rPr lang="en-US" sz="1100" b="0" i="0">
                <a:solidFill>
                  <a:srgbClr val="1E49E2"/>
                </a:solidFill>
                <a:effectLst/>
                <a:latin typeface="Open Sans"/>
              </a:rPr>
              <a:t>"To inspire confidence and empower change" - KPMG aims to build trust and provide insightful advice to its clients.</a:t>
            </a:r>
            <a:endParaRPr lang="en-US" sz="1400">
              <a:latin typeface="Arial"/>
              <a:ea typeface="Arial"/>
              <a:cs typeface="Arial"/>
              <a:sym typeface="Arial"/>
            </a:endParaRPr>
          </a:p>
          <a:p>
            <a:pPr marL="914400" lvl="1" indent="-317500" algn="l" rtl="0">
              <a:lnSpc>
                <a:spcPct val="115000"/>
              </a:lnSpc>
              <a:spcBef>
                <a:spcPts val="0"/>
              </a:spcBef>
              <a:spcAft>
                <a:spcPts val="0"/>
              </a:spcAft>
              <a:buClr>
                <a:schemeClr val="dk1"/>
              </a:buClr>
              <a:buSzPts val="1400"/>
              <a:buChar char="○"/>
            </a:pPr>
            <a:r>
              <a:rPr lang="en-US" sz="1400" b="1">
                <a:latin typeface="Arial"/>
                <a:ea typeface="Arial"/>
                <a:cs typeface="Arial"/>
                <a:sym typeface="Arial"/>
              </a:rPr>
              <a:t>Is it B2B, B2C, nonprofit? </a:t>
            </a:r>
            <a:r>
              <a:rPr lang="en-US" sz="1400">
                <a:latin typeface="Arial"/>
                <a:ea typeface="Arial"/>
                <a:cs typeface="Arial"/>
                <a:sym typeface="Arial"/>
              </a:rPr>
              <a:t>KPMG is a business-to-business (B2B) professional services firm serving corporations, governments, and non-profits.</a:t>
            </a:r>
          </a:p>
          <a:p>
            <a:pPr marL="0" lvl="0" indent="0" algn="l" rtl="0">
              <a:spcBef>
                <a:spcPts val="0"/>
              </a:spcBef>
              <a:spcAft>
                <a:spcPts val="0"/>
              </a:spcAft>
              <a:buNone/>
            </a:pPr>
            <a:endParaRPr lang="en-US" sz="1200"/>
          </a:p>
          <a:p>
            <a:endParaRPr lang="en-US"/>
          </a:p>
        </p:txBody>
      </p:sp>
      <p:sp>
        <p:nvSpPr>
          <p:cNvPr id="4" name="Slide Number Placeholder 3">
            <a:extLst>
              <a:ext uri="{FF2B5EF4-FFF2-40B4-BE49-F238E27FC236}">
                <a16:creationId xmlns:a16="http://schemas.microsoft.com/office/drawing/2014/main" id="{007438D3-62D5-CF2E-C9CB-3D9F08E45B0B}"/>
              </a:ext>
            </a:extLst>
          </p:cNvPr>
          <p:cNvSpPr>
            <a:spLocks noGrp="1"/>
          </p:cNvSpPr>
          <p:nvPr>
            <p:ph type="sldNum" sz="quarter" idx="5"/>
          </p:nvPr>
        </p:nvSpPr>
        <p:spPr/>
        <p:txBody>
          <a:bodyPr/>
          <a:lstStyle/>
          <a:p>
            <a:fld id="{651EB3B3-DF8B-4BC1-9CFB-194C839925E4}" type="slidenum">
              <a:rPr lang="en-US" smtClean="0"/>
              <a:t>5</a:t>
            </a:fld>
            <a:endParaRPr lang="en-US"/>
          </a:p>
        </p:txBody>
      </p:sp>
    </p:spTree>
    <p:extLst>
      <p:ext uri="{BB962C8B-B14F-4D97-AF65-F5344CB8AC3E}">
        <p14:creationId xmlns:p14="http://schemas.microsoft.com/office/powerpoint/2010/main" val="7817227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7215D0-C66A-1C1B-EB7F-D53AC8BB57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57D846-85E9-BC01-8C82-876DC53418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6392DD9-83BA-0A8B-1F0A-6D3F654D7A54}"/>
              </a:ext>
            </a:extLst>
          </p:cNvPr>
          <p:cNvSpPr>
            <a:spLocks noGrp="1"/>
          </p:cNvSpPr>
          <p:nvPr>
            <p:ph type="body" idx="1"/>
          </p:nvPr>
        </p:nvSpPr>
        <p:spPr/>
        <p:txBody>
          <a:bodyPr/>
          <a:lstStyle/>
          <a:p>
            <a:r>
              <a:rPr lang="en-US"/>
              <a:t>Jess – UIP</a:t>
            </a:r>
          </a:p>
          <a:p>
            <a:r>
              <a:rPr lang="en-US"/>
              <a:t>Jim – Lighthouse</a:t>
            </a:r>
          </a:p>
          <a:p>
            <a:endParaRPr lang="en-US"/>
          </a:p>
        </p:txBody>
      </p:sp>
      <p:sp>
        <p:nvSpPr>
          <p:cNvPr id="4" name="Slide Number Placeholder 3">
            <a:extLst>
              <a:ext uri="{FF2B5EF4-FFF2-40B4-BE49-F238E27FC236}">
                <a16:creationId xmlns:a16="http://schemas.microsoft.com/office/drawing/2014/main" id="{007438D3-62D5-CF2E-C9CB-3D9F08E45B0B}"/>
              </a:ext>
            </a:extLst>
          </p:cNvPr>
          <p:cNvSpPr>
            <a:spLocks noGrp="1"/>
          </p:cNvSpPr>
          <p:nvPr>
            <p:ph type="sldNum" sz="quarter" idx="5"/>
          </p:nvPr>
        </p:nvSpPr>
        <p:spPr/>
        <p:txBody>
          <a:bodyPr/>
          <a:lstStyle/>
          <a:p>
            <a:fld id="{651EB3B3-DF8B-4BC1-9CFB-194C839925E4}" type="slidenum">
              <a:rPr lang="en-US" smtClean="0"/>
              <a:t>6</a:t>
            </a:fld>
            <a:endParaRPr lang="en-US"/>
          </a:p>
        </p:txBody>
      </p:sp>
    </p:spTree>
    <p:extLst>
      <p:ext uri="{BB962C8B-B14F-4D97-AF65-F5344CB8AC3E}">
        <p14:creationId xmlns:p14="http://schemas.microsoft.com/office/powerpoint/2010/main" val="16106393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3"/>
        <p:cNvGrpSpPr/>
        <p:nvPr/>
      </p:nvGrpSpPr>
      <p:grpSpPr>
        <a:xfrm>
          <a:off x="0" y="0"/>
          <a:ext cx="0" cy="0"/>
          <a:chOff x="0" y="0"/>
          <a:chExt cx="0" cy="0"/>
        </a:xfrm>
      </p:grpSpPr>
      <p:sp>
        <p:nvSpPr>
          <p:cNvPr id="1344" name="Google Shape;1344;g211cc67c10c_0_2455:notes"/>
          <p:cNvSpPr txBox="1">
            <a:spLocks noGrp="1"/>
          </p:cNvSpPr>
          <p:nvPr>
            <p:ph type="body" idx="1"/>
          </p:nvPr>
        </p:nvSpPr>
        <p:spPr>
          <a:xfrm>
            <a:off x="930910" y="3379868"/>
            <a:ext cx="7447200" cy="2765400"/>
          </a:xfrm>
          <a:prstGeom prst="rect">
            <a:avLst/>
          </a:prstGeom>
          <a:noFill/>
          <a:ln>
            <a:noFill/>
          </a:ln>
        </p:spPr>
        <p:txBody>
          <a:bodyPr spcFirstLastPara="1" wrap="square" lIns="93300" tIns="46650" rIns="93300" bIns="46650" anchor="t" anchorCtr="0">
            <a:noAutofit/>
          </a:bodyPr>
          <a:lstStyle/>
          <a:p>
            <a:pPr marL="0" lvl="0" indent="0" algn="l" rtl="0">
              <a:spcBef>
                <a:spcPts val="0"/>
              </a:spcBef>
              <a:spcAft>
                <a:spcPts val="0"/>
              </a:spcAft>
              <a:buNone/>
            </a:pPr>
            <a:r>
              <a:rPr lang="en-US" sz="1400">
                <a:latin typeface="Arial"/>
                <a:ea typeface="Arial"/>
                <a:cs typeface="Arial"/>
                <a:sym typeface="Arial"/>
              </a:rPr>
              <a:t>While much of this deck is presented, know that we will be sharing this with you afterwards as a resource. </a:t>
            </a:r>
          </a:p>
          <a:p>
            <a:pPr marL="0" lvl="0" indent="0" algn="l" rtl="0">
              <a:spcBef>
                <a:spcPts val="0"/>
              </a:spcBef>
              <a:spcAft>
                <a:spcPts val="0"/>
              </a:spcAft>
              <a:buNone/>
            </a:pPr>
            <a:r>
              <a:rPr lang="en-US" sz="1400">
                <a:latin typeface="Arial"/>
                <a:ea typeface="Arial"/>
                <a:cs typeface="Arial"/>
                <a:sym typeface="Arial"/>
              </a:rPr>
              <a:t>We recognize its wordy, but we want you to have everything you need to work independently. </a:t>
            </a:r>
          </a:p>
          <a:p>
            <a:pPr marL="0" lvl="0" indent="0" algn="l" rtl="0">
              <a:spcBef>
                <a:spcPts val="0"/>
              </a:spcBef>
              <a:spcAft>
                <a:spcPts val="0"/>
              </a:spcAft>
              <a:buNone/>
            </a:pPr>
            <a:endParaRPr lang="en-US" sz="1400">
              <a:latin typeface="Arial"/>
              <a:ea typeface="Arial"/>
              <a:cs typeface="Arial"/>
              <a:sym typeface="Arial"/>
            </a:endParaRPr>
          </a:p>
          <a:p>
            <a:pPr marL="0" lvl="0" indent="0" algn="l" rtl="0">
              <a:spcBef>
                <a:spcPts val="0"/>
              </a:spcBef>
              <a:spcAft>
                <a:spcPts val="0"/>
              </a:spcAft>
              <a:buNone/>
            </a:pPr>
            <a:r>
              <a:rPr lang="en-US" sz="1400">
                <a:latin typeface="Arial"/>
                <a:ea typeface="Arial"/>
                <a:cs typeface="Arial"/>
                <a:sym typeface="Arial"/>
              </a:rPr>
              <a:t>[read through]</a:t>
            </a:r>
            <a:endParaRPr sz="1400">
              <a:latin typeface="Arial"/>
              <a:ea typeface="Arial"/>
              <a:cs typeface="Arial"/>
              <a:sym typeface="Arial"/>
            </a:endParaRPr>
          </a:p>
        </p:txBody>
      </p:sp>
      <p:sp>
        <p:nvSpPr>
          <p:cNvPr id="1345" name="Google Shape;1345;g211cc67c10c_0_2455:notes"/>
          <p:cNvSpPr>
            <a:spLocks noGrp="1" noRot="1" noChangeAspect="1"/>
          </p:cNvSpPr>
          <p:nvPr>
            <p:ph type="sldImg" idx="2"/>
          </p:nvPr>
        </p:nvSpPr>
        <p:spPr>
          <a:xfrm>
            <a:off x="2547938" y="877888"/>
            <a:ext cx="4213225" cy="237013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9"/>
        <p:cNvGrpSpPr/>
        <p:nvPr/>
      </p:nvGrpSpPr>
      <p:grpSpPr>
        <a:xfrm>
          <a:off x="0" y="0"/>
          <a:ext cx="0" cy="0"/>
          <a:chOff x="0" y="0"/>
          <a:chExt cx="0" cy="0"/>
        </a:xfrm>
      </p:grpSpPr>
      <p:sp>
        <p:nvSpPr>
          <p:cNvPr id="1350" name="Google Shape;1350;g211cc67c10c_0_527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51" name="Google Shape;1351;g211cc67c10c_0_527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100"/>
              <a:buFont typeface="Arial"/>
              <a:buNone/>
            </a:pPr>
            <a:r>
              <a:rPr lang="en-US" sz="1400">
                <a:latin typeface="Arial"/>
                <a:ea typeface="Arial"/>
                <a:cs typeface="Arial"/>
                <a:sym typeface="Arial"/>
              </a:rPr>
              <a:t>The problem you’re solving today comes from some real donation data from a nonprofit called C5LA</a:t>
            </a:r>
          </a:p>
          <a:p>
            <a:pPr marL="0" lvl="0" indent="0" algn="l" rtl="0">
              <a:spcBef>
                <a:spcPts val="0"/>
              </a:spcBef>
              <a:spcAft>
                <a:spcPts val="0"/>
              </a:spcAft>
              <a:buClr>
                <a:schemeClr val="dk1"/>
              </a:buClr>
              <a:buSzPts val="1100"/>
              <a:buFont typeface="Arial"/>
              <a:buNone/>
            </a:pPr>
            <a:r>
              <a:rPr lang="en-US" sz="1400">
                <a:latin typeface="Arial"/>
                <a:ea typeface="Arial"/>
                <a:cs typeface="Arial"/>
                <a:sym typeface="Arial"/>
              </a:rPr>
              <a:t>They have an imperative to understand the donation patterns so they can better target future outreach. </a:t>
            </a:r>
            <a:endParaRPr sz="1400">
              <a:latin typeface="Arial"/>
              <a:ea typeface="Arial"/>
              <a:cs typeface="Arial"/>
              <a:sym typeface="Arial"/>
            </a:endParaRPr>
          </a:p>
        </p:txBody>
      </p:sp>
      <p:sp>
        <p:nvSpPr>
          <p:cNvPr id="1352" name="Google Shape;1352;g211cc67c10c_0_5271: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t>9</a:t>
            </a:fld>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3"/>
        <p:cNvGrpSpPr/>
        <p:nvPr/>
      </p:nvGrpSpPr>
      <p:grpSpPr>
        <a:xfrm>
          <a:off x="0" y="0"/>
          <a:ext cx="0" cy="0"/>
          <a:chOff x="0" y="0"/>
          <a:chExt cx="0" cy="0"/>
        </a:xfrm>
      </p:grpSpPr>
      <p:sp>
        <p:nvSpPr>
          <p:cNvPr id="1344" name="Google Shape;1344;g211cc67c10c_0_2455:notes"/>
          <p:cNvSpPr txBox="1">
            <a:spLocks noGrp="1"/>
          </p:cNvSpPr>
          <p:nvPr>
            <p:ph type="body" idx="1"/>
          </p:nvPr>
        </p:nvSpPr>
        <p:spPr>
          <a:xfrm>
            <a:off x="930910" y="3379868"/>
            <a:ext cx="7447200" cy="2765400"/>
          </a:xfrm>
          <a:prstGeom prst="rect">
            <a:avLst/>
          </a:prstGeom>
          <a:noFill/>
          <a:ln>
            <a:noFill/>
          </a:ln>
        </p:spPr>
        <p:txBody>
          <a:bodyPr spcFirstLastPara="1" wrap="square" lIns="93300" tIns="46650" rIns="93300" bIns="46650" anchor="t" anchorCtr="0">
            <a:noAutofit/>
          </a:bodyPr>
          <a:lstStyle/>
          <a:p>
            <a:pPr marL="0" lvl="0" indent="0" algn="l" rtl="0">
              <a:spcBef>
                <a:spcPts val="0"/>
              </a:spcBef>
              <a:spcAft>
                <a:spcPts val="0"/>
              </a:spcAft>
              <a:buNone/>
            </a:pPr>
            <a:r>
              <a:rPr lang="en-US" sz="1400" b="0" i="1">
                <a:latin typeface="Arial"/>
                <a:ea typeface="Arial"/>
                <a:cs typeface="Arial"/>
                <a:sym typeface="Arial"/>
              </a:rPr>
              <a:t>This is your final presentation expectations</a:t>
            </a:r>
          </a:p>
          <a:p>
            <a:pPr marL="0" lvl="0" indent="0" algn="l" rtl="0">
              <a:spcBef>
                <a:spcPts val="0"/>
              </a:spcBef>
              <a:spcAft>
                <a:spcPts val="0"/>
              </a:spcAft>
              <a:buNone/>
            </a:pPr>
            <a:endParaRPr lang="en-US" sz="1400" b="1">
              <a:latin typeface="Arial"/>
              <a:ea typeface="Arial"/>
              <a:cs typeface="Arial"/>
              <a:sym typeface="Arial"/>
            </a:endParaRPr>
          </a:p>
          <a:p>
            <a:pPr marL="0" lvl="0" indent="0" algn="l" rtl="0">
              <a:spcBef>
                <a:spcPts val="0"/>
              </a:spcBef>
              <a:spcAft>
                <a:spcPts val="0"/>
              </a:spcAft>
              <a:buNone/>
            </a:pPr>
            <a:r>
              <a:rPr lang="en-US" sz="1400" b="1">
                <a:latin typeface="Arial"/>
                <a:ea typeface="Arial"/>
                <a:cs typeface="Arial"/>
                <a:sym typeface="Arial"/>
              </a:rPr>
              <a:t>Why this slide is important:</a:t>
            </a:r>
            <a:endParaRPr sz="1400">
              <a:latin typeface="Arial"/>
              <a:ea typeface="Arial"/>
              <a:cs typeface="Arial"/>
              <a:sym typeface="Arial"/>
            </a:endParaRPr>
          </a:p>
          <a:p>
            <a:pPr marL="457200" lvl="0" indent="-317500" algn="l" rtl="0">
              <a:spcBef>
                <a:spcPts val="0"/>
              </a:spcBef>
              <a:spcAft>
                <a:spcPts val="0"/>
              </a:spcAft>
              <a:buSzPts val="1400"/>
              <a:buFont typeface="Arial"/>
              <a:buChar char="●"/>
            </a:pPr>
            <a:r>
              <a:rPr lang="en-US" sz="1400">
                <a:latin typeface="Arial"/>
                <a:ea typeface="Arial"/>
                <a:cs typeface="Arial"/>
                <a:sym typeface="Arial"/>
              </a:rPr>
              <a:t>Helps the students understand what the project is about, its objectives, and expected outcomes</a:t>
            </a:r>
            <a:endParaRPr sz="1400">
              <a:latin typeface="Arial"/>
              <a:ea typeface="Arial"/>
              <a:cs typeface="Arial"/>
              <a:sym typeface="Arial"/>
            </a:endParaRPr>
          </a:p>
          <a:p>
            <a:pPr marL="457200" lvl="0" indent="-317500" algn="l" rtl="0">
              <a:spcBef>
                <a:spcPts val="0"/>
              </a:spcBef>
              <a:spcAft>
                <a:spcPts val="0"/>
              </a:spcAft>
              <a:buClr>
                <a:schemeClr val="dk1"/>
              </a:buClr>
              <a:buSzPts val="1400"/>
              <a:buChar char="●"/>
            </a:pPr>
            <a:r>
              <a:rPr lang="en-US" sz="1400">
                <a:latin typeface="Arial"/>
                <a:ea typeface="Arial"/>
                <a:cs typeface="Arial"/>
                <a:sym typeface="Arial"/>
              </a:rPr>
              <a:t>Sets the stage for the rest of the presentation</a:t>
            </a:r>
            <a:endParaRPr sz="1400">
              <a:latin typeface="Arial"/>
              <a:ea typeface="Arial"/>
              <a:cs typeface="Arial"/>
              <a:sym typeface="Arial"/>
            </a:endParaRPr>
          </a:p>
          <a:p>
            <a:pPr marL="457200" lvl="0" indent="0" algn="l" rtl="0">
              <a:spcBef>
                <a:spcPts val="0"/>
              </a:spcBef>
              <a:spcAft>
                <a:spcPts val="0"/>
              </a:spcAft>
              <a:buNone/>
            </a:pPr>
            <a:endParaRPr sz="1400">
              <a:latin typeface="Arial"/>
              <a:ea typeface="Arial"/>
              <a:cs typeface="Arial"/>
              <a:sym typeface="Arial"/>
            </a:endParaRPr>
          </a:p>
          <a:p>
            <a:pPr marL="0" lvl="0" indent="0" algn="l" rtl="0">
              <a:spcBef>
                <a:spcPts val="0"/>
              </a:spcBef>
              <a:spcAft>
                <a:spcPts val="0"/>
              </a:spcAft>
              <a:buNone/>
            </a:pPr>
            <a:r>
              <a:rPr lang="en-US" sz="1400" b="1">
                <a:latin typeface="Arial"/>
                <a:ea typeface="Arial"/>
                <a:cs typeface="Arial"/>
                <a:sym typeface="Arial"/>
              </a:rPr>
              <a:t>Guidance on filling in / presenting this slide:</a:t>
            </a:r>
            <a:endParaRPr sz="1400" b="1">
              <a:latin typeface="Arial"/>
              <a:ea typeface="Arial"/>
              <a:cs typeface="Arial"/>
              <a:sym typeface="Arial"/>
            </a:endParaRPr>
          </a:p>
          <a:p>
            <a:pPr marL="457200" lvl="0" indent="-317500" algn="l" rtl="0">
              <a:spcBef>
                <a:spcPts val="0"/>
              </a:spcBef>
              <a:spcAft>
                <a:spcPts val="0"/>
              </a:spcAft>
              <a:buSzPts val="1400"/>
              <a:buFont typeface="Arial"/>
              <a:buChar char="●"/>
            </a:pPr>
            <a:r>
              <a:rPr lang="en-US" sz="1400">
                <a:latin typeface="Arial"/>
                <a:ea typeface="Arial"/>
                <a:cs typeface="Arial"/>
                <a:sym typeface="Arial"/>
              </a:rPr>
              <a:t>Ensure the summary is straightforward and the objectives and desired outcomes are achievable</a:t>
            </a:r>
            <a:endParaRPr sz="1400">
              <a:latin typeface="Arial"/>
              <a:ea typeface="Arial"/>
              <a:cs typeface="Arial"/>
              <a:sym typeface="Arial"/>
            </a:endParaRPr>
          </a:p>
          <a:p>
            <a:pPr marL="457200" lvl="0" indent="-317500" algn="l" rtl="0">
              <a:spcBef>
                <a:spcPts val="0"/>
              </a:spcBef>
              <a:spcAft>
                <a:spcPts val="0"/>
              </a:spcAft>
              <a:buClr>
                <a:schemeClr val="dk1"/>
              </a:buClr>
              <a:buSzPts val="1400"/>
              <a:buFont typeface="Arial"/>
              <a:buChar char="●"/>
            </a:pPr>
            <a:r>
              <a:rPr lang="en-US" sz="1400">
                <a:latin typeface="Arial"/>
                <a:ea typeface="Arial"/>
                <a:cs typeface="Arial"/>
                <a:sym typeface="Arial"/>
              </a:rPr>
              <a:t>Do not deviate too much from your original Challenge Project submission – but do </a:t>
            </a:r>
            <a:r>
              <a:rPr lang="en-US" sz="1400" u="sng">
                <a:latin typeface="Arial"/>
                <a:ea typeface="Arial"/>
                <a:cs typeface="Arial"/>
                <a:sym typeface="Arial"/>
              </a:rPr>
              <a:t>feel free to make changes</a:t>
            </a:r>
            <a:r>
              <a:rPr lang="en-US" sz="1400">
                <a:latin typeface="Arial"/>
                <a:ea typeface="Arial"/>
                <a:cs typeface="Arial"/>
                <a:sym typeface="Arial"/>
              </a:rPr>
              <a:t> (on this slide and on the following slides related to data set, milestones, etc.) based on what you learned while reviewing the “Guidance for filling in this template” slide at the beginning of this deck. </a:t>
            </a:r>
            <a:endParaRPr sz="1400">
              <a:latin typeface="Arial"/>
              <a:ea typeface="Arial"/>
              <a:cs typeface="Arial"/>
              <a:sym typeface="Arial"/>
            </a:endParaRPr>
          </a:p>
          <a:p>
            <a:pPr marL="457200" lvl="0" indent="-317500" algn="l" rtl="0">
              <a:lnSpc>
                <a:spcPct val="115000"/>
              </a:lnSpc>
              <a:spcBef>
                <a:spcPts val="0"/>
              </a:spcBef>
              <a:spcAft>
                <a:spcPts val="0"/>
              </a:spcAft>
              <a:buClr>
                <a:schemeClr val="dk1"/>
              </a:buClr>
              <a:buSzPts val="1400"/>
              <a:buChar char="●"/>
            </a:pPr>
            <a:r>
              <a:rPr lang="en-US" sz="1400">
                <a:latin typeface="Arial"/>
                <a:ea typeface="Arial"/>
                <a:cs typeface="Arial"/>
                <a:sym typeface="Arial"/>
              </a:rPr>
              <a:t>You’re welcome and encouraged to add more slides following this one to cover things like:</a:t>
            </a:r>
            <a:endParaRPr sz="1400">
              <a:latin typeface="Arial"/>
              <a:ea typeface="Arial"/>
              <a:cs typeface="Arial"/>
              <a:sym typeface="Arial"/>
            </a:endParaRPr>
          </a:p>
          <a:p>
            <a:pPr marL="914400" lvl="1" indent="-317500" algn="l" rtl="0">
              <a:lnSpc>
                <a:spcPct val="115000"/>
              </a:lnSpc>
              <a:spcBef>
                <a:spcPts val="0"/>
              </a:spcBef>
              <a:spcAft>
                <a:spcPts val="0"/>
              </a:spcAft>
              <a:buClr>
                <a:schemeClr val="dk1"/>
              </a:buClr>
              <a:buSzPts val="1400"/>
              <a:buChar char="○"/>
            </a:pPr>
            <a:r>
              <a:rPr lang="en-US" sz="1400">
                <a:latin typeface="Arial"/>
                <a:ea typeface="Arial"/>
                <a:cs typeface="Arial"/>
                <a:sym typeface="Arial"/>
              </a:rPr>
              <a:t>Ethical considerations</a:t>
            </a:r>
            <a:endParaRPr sz="1400">
              <a:latin typeface="Arial"/>
              <a:ea typeface="Arial"/>
              <a:cs typeface="Arial"/>
              <a:sym typeface="Arial"/>
            </a:endParaRPr>
          </a:p>
          <a:p>
            <a:pPr marL="914400" lvl="1" indent="-317500" algn="l" rtl="0">
              <a:lnSpc>
                <a:spcPct val="115000"/>
              </a:lnSpc>
              <a:spcBef>
                <a:spcPts val="0"/>
              </a:spcBef>
              <a:spcAft>
                <a:spcPts val="0"/>
              </a:spcAft>
              <a:buSzPts val="1400"/>
              <a:buFont typeface="Arial"/>
              <a:buChar char="○"/>
            </a:pPr>
            <a:r>
              <a:rPr lang="en-US" sz="1400">
                <a:latin typeface="Arial"/>
                <a:ea typeface="Arial"/>
                <a:cs typeface="Arial"/>
                <a:sym typeface="Arial"/>
              </a:rPr>
              <a:t>Learning opportunities for the students</a:t>
            </a:r>
            <a:endParaRPr sz="1400">
              <a:latin typeface="Arial"/>
              <a:ea typeface="Arial"/>
              <a:cs typeface="Arial"/>
              <a:sym typeface="Arial"/>
            </a:endParaRPr>
          </a:p>
          <a:p>
            <a:pPr marL="914400" lvl="1" indent="-317500" algn="l" rtl="0">
              <a:lnSpc>
                <a:spcPct val="115000"/>
              </a:lnSpc>
              <a:spcBef>
                <a:spcPts val="0"/>
              </a:spcBef>
              <a:spcAft>
                <a:spcPts val="0"/>
              </a:spcAft>
              <a:buSzPts val="1400"/>
              <a:buFont typeface="Arial"/>
              <a:buChar char="○"/>
            </a:pPr>
            <a:r>
              <a:rPr lang="en-US" sz="1400">
                <a:latin typeface="Arial"/>
                <a:ea typeface="Arial"/>
                <a:cs typeface="Arial"/>
                <a:sym typeface="Arial"/>
              </a:rPr>
              <a:t>Individual work vs. team-based work </a:t>
            </a:r>
            <a:endParaRPr sz="1400">
              <a:latin typeface="Arial"/>
              <a:ea typeface="Arial"/>
              <a:cs typeface="Arial"/>
              <a:sym typeface="Arial"/>
            </a:endParaRPr>
          </a:p>
          <a:p>
            <a:pPr marL="0" lvl="0" indent="0" algn="l" rtl="0">
              <a:spcBef>
                <a:spcPts val="0"/>
              </a:spcBef>
              <a:spcAft>
                <a:spcPts val="0"/>
              </a:spcAft>
              <a:buNone/>
            </a:pPr>
            <a:endParaRPr sz="1400">
              <a:latin typeface="Arial"/>
              <a:ea typeface="Arial"/>
              <a:cs typeface="Arial"/>
              <a:sym typeface="Arial"/>
            </a:endParaRPr>
          </a:p>
        </p:txBody>
      </p:sp>
      <p:sp>
        <p:nvSpPr>
          <p:cNvPr id="1345" name="Google Shape;1345;g211cc67c10c_0_2455:notes"/>
          <p:cNvSpPr>
            <a:spLocks noGrp="1" noRot="1" noChangeAspect="1"/>
          </p:cNvSpPr>
          <p:nvPr>
            <p:ph type="sldImg" idx="2"/>
          </p:nvPr>
        </p:nvSpPr>
        <p:spPr>
          <a:xfrm>
            <a:off x="2547938" y="877888"/>
            <a:ext cx="4213225" cy="237013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8056306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slide" Target="../slides/slide1.xml"/><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 Target="../slides/slide1.xml"/><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8.xml"/><Relationship Id="rId5" Type="http://schemas.openxmlformats.org/officeDocument/2006/relationships/image" Target="../media/image16.png"/><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gif"/><Relationship Id="rId1" Type="http://schemas.openxmlformats.org/officeDocument/2006/relationships/slideMaster" Target="../slideMasters/slideMaster4.xml"/><Relationship Id="rId4" Type="http://schemas.openxmlformats.org/officeDocument/2006/relationships/image" Target="../media/image19.svg"/></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1.png"/><Relationship Id="rId11" Type="http://schemas.openxmlformats.org/officeDocument/2006/relationships/image" Target="../media/image16.png"/><Relationship Id="rId5" Type="http://schemas.openxmlformats.org/officeDocument/2006/relationships/image" Target="../media/image1.emf"/><Relationship Id="rId10" Type="http://schemas.openxmlformats.org/officeDocument/2006/relationships/image" Target="../media/image25.png"/><Relationship Id="rId4" Type="http://schemas.openxmlformats.org/officeDocument/2006/relationships/oleObject" Target="../embeddings/oleObject6.bin"/><Relationship Id="rId9" Type="http://schemas.openxmlformats.org/officeDocument/2006/relationships/image" Target="../media/image24.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1">
  <p:cSld name="Title Slide 1">
    <p:bg>
      <p:bgPr>
        <a:solidFill>
          <a:srgbClr val="002A44"/>
        </a:solidFill>
        <a:effectLst/>
      </p:bgPr>
    </p:bg>
    <p:spTree>
      <p:nvGrpSpPr>
        <p:cNvPr id="1" name="Shape 13"/>
        <p:cNvGrpSpPr/>
        <p:nvPr/>
      </p:nvGrpSpPr>
      <p:grpSpPr>
        <a:xfrm>
          <a:off x="0" y="0"/>
          <a:ext cx="0" cy="0"/>
          <a:chOff x="0" y="0"/>
          <a:chExt cx="0" cy="0"/>
        </a:xfrm>
      </p:grpSpPr>
      <p:pic>
        <p:nvPicPr>
          <p:cNvPr id="14" name="Google Shape;14;p2"/>
          <p:cNvPicPr preferRelativeResize="0"/>
          <p:nvPr/>
        </p:nvPicPr>
        <p:blipFill rotWithShape="1">
          <a:blip r:embed="rId2">
            <a:alphaModFix amt="70000"/>
          </a:blip>
          <a:srcRect l="3729" r="3738"/>
          <a:stretch/>
        </p:blipFill>
        <p:spPr>
          <a:xfrm flipH="1">
            <a:off x="4706651" y="-76200"/>
            <a:ext cx="19670999" cy="13831574"/>
          </a:xfrm>
          <a:prstGeom prst="rect">
            <a:avLst/>
          </a:prstGeom>
          <a:noFill/>
          <a:ln>
            <a:noFill/>
          </a:ln>
        </p:spPr>
      </p:pic>
      <p:pic>
        <p:nvPicPr>
          <p:cNvPr id="15" name="Google Shape;15;p2"/>
          <p:cNvPicPr preferRelativeResize="0"/>
          <p:nvPr/>
        </p:nvPicPr>
        <p:blipFill rotWithShape="1">
          <a:blip r:embed="rId3">
            <a:alphaModFix/>
          </a:blip>
          <a:srcRect l="32281"/>
          <a:stretch/>
        </p:blipFill>
        <p:spPr>
          <a:xfrm>
            <a:off x="-133950" y="-115600"/>
            <a:ext cx="12496799" cy="13831574"/>
          </a:xfrm>
          <a:prstGeom prst="rect">
            <a:avLst/>
          </a:prstGeom>
          <a:noFill/>
          <a:ln>
            <a:noFill/>
          </a:ln>
        </p:spPr>
      </p:pic>
      <p:sp>
        <p:nvSpPr>
          <p:cNvPr id="16" name="Google Shape;16;p2"/>
          <p:cNvSpPr/>
          <p:nvPr/>
        </p:nvSpPr>
        <p:spPr>
          <a:xfrm>
            <a:off x="20438151" y="711675"/>
            <a:ext cx="3072638" cy="1745259"/>
          </a:xfrm>
          <a:custGeom>
            <a:avLst/>
            <a:gdLst/>
            <a:ahLst/>
            <a:cxnLst/>
            <a:rect l="l" t="t" r="r" b="b"/>
            <a:pathLst>
              <a:path w="3864954" h="2195294" extrusionOk="0">
                <a:moveTo>
                  <a:pt x="0" y="0"/>
                </a:moveTo>
                <a:lnTo>
                  <a:pt x="3864953" y="0"/>
                </a:lnTo>
                <a:lnTo>
                  <a:pt x="3864953" y="2195294"/>
                </a:lnTo>
                <a:lnTo>
                  <a:pt x="0" y="2195294"/>
                </a:lnTo>
                <a:lnTo>
                  <a:pt x="0" y="0"/>
                </a:lnTo>
                <a:close/>
              </a:path>
            </a:pathLst>
          </a:custGeom>
          <a:blipFill rotWithShape="1">
            <a:blip r:embed="rId4">
              <a:alphaModFix/>
            </a:blip>
            <a:stretch>
              <a:fillRect/>
            </a:stretch>
          </a:blipFill>
          <a:ln>
            <a:noFill/>
          </a:ln>
        </p:spPr>
      </p:sp>
      <p:sp>
        <p:nvSpPr>
          <p:cNvPr id="17" name="Google Shape;17;p2"/>
          <p:cNvSpPr/>
          <p:nvPr/>
        </p:nvSpPr>
        <p:spPr>
          <a:xfrm>
            <a:off x="3500875" y="3641125"/>
            <a:ext cx="16836900" cy="6518700"/>
          </a:xfrm>
          <a:prstGeom prst="rect">
            <a:avLst/>
          </a:prstGeom>
          <a:noFill/>
          <a:ln w="228600" cap="flat" cmpd="sng">
            <a:solidFill>
              <a:srgbClr val="C1F4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8" name="Google Shape;18;p2"/>
          <p:cNvSpPr txBox="1">
            <a:spLocks noGrp="1"/>
          </p:cNvSpPr>
          <p:nvPr>
            <p:ph type="title"/>
          </p:nvPr>
        </p:nvSpPr>
        <p:spPr>
          <a:xfrm>
            <a:off x="4186075" y="4325450"/>
            <a:ext cx="15421500" cy="5238900"/>
          </a:xfrm>
          <a:prstGeom prst="rect">
            <a:avLst/>
          </a:prstGeom>
          <a:noFill/>
          <a:ln>
            <a:noFill/>
          </a:ln>
        </p:spPr>
        <p:txBody>
          <a:bodyPr spcFirstLastPara="1" wrap="square" lIns="91425" tIns="91425" rIns="91425" bIns="91425" anchor="t" anchorCtr="0">
            <a:normAutofit/>
          </a:bodyPr>
          <a:lstStyle>
            <a:lvl1pPr lvl="0">
              <a:spcBef>
                <a:spcPts val="0"/>
              </a:spcBef>
              <a:spcAft>
                <a:spcPts val="0"/>
              </a:spcAft>
              <a:buClr>
                <a:schemeClr val="lt1"/>
              </a:buClr>
              <a:buSzPts val="10800"/>
              <a:buFont typeface="Montserrat Black"/>
              <a:buNone/>
              <a:defRPr sz="10800">
                <a:solidFill>
                  <a:schemeClr val="lt1"/>
                </a:solidFill>
                <a:latin typeface="Montserrat Black"/>
                <a:ea typeface="Montserrat Black"/>
                <a:cs typeface="Montserrat Black"/>
                <a:sym typeface="Montserrat Black"/>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 name="Google Shape;19;p2"/>
          <p:cNvSpPr txBox="1">
            <a:spLocks noGrp="1"/>
          </p:cNvSpPr>
          <p:nvPr>
            <p:ph type="subTitle" idx="1"/>
          </p:nvPr>
        </p:nvSpPr>
        <p:spPr>
          <a:xfrm>
            <a:off x="11228875" y="11185150"/>
            <a:ext cx="11616000" cy="1240500"/>
          </a:xfrm>
          <a:prstGeom prst="rect">
            <a:avLst/>
          </a:prstGeom>
          <a:noFill/>
          <a:ln>
            <a:noFill/>
          </a:ln>
        </p:spPr>
        <p:txBody>
          <a:bodyPr spcFirstLastPara="1" wrap="square" lIns="91425" tIns="91425" rIns="91425" bIns="91425" anchor="ctr" anchorCtr="0">
            <a:noAutofit/>
          </a:bodyPr>
          <a:lstStyle>
            <a:lvl1pPr lvl="0" algn="r" rtl="0">
              <a:spcBef>
                <a:spcPts val="0"/>
              </a:spcBef>
              <a:spcAft>
                <a:spcPts val="0"/>
              </a:spcAft>
              <a:buClr>
                <a:schemeClr val="lt1"/>
              </a:buClr>
              <a:buSzPts val="4900"/>
              <a:buFont typeface="Montserrat Medium"/>
              <a:buNone/>
              <a:defRPr sz="4900">
                <a:solidFill>
                  <a:schemeClr val="lt1"/>
                </a:solidFill>
                <a:latin typeface="Montserrat Medium"/>
                <a:ea typeface="Montserrat Medium"/>
                <a:cs typeface="Montserrat Medium"/>
                <a:sym typeface="Montserrat Medium"/>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0" name="Google Shape;20;p2"/>
          <p:cNvSpPr txBox="1">
            <a:spLocks noGrp="1"/>
          </p:cNvSpPr>
          <p:nvPr>
            <p:ph type="subTitle" idx="2"/>
          </p:nvPr>
        </p:nvSpPr>
        <p:spPr>
          <a:xfrm>
            <a:off x="1537575" y="11320500"/>
            <a:ext cx="11616000" cy="12405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rgbClr val="C1F400"/>
              </a:buClr>
              <a:buSzPts val="2400"/>
              <a:buFont typeface="Montserrat SemiBold"/>
              <a:buNone/>
              <a:defRPr sz="2400">
                <a:solidFill>
                  <a:srgbClr val="C1F400"/>
                </a:solidFill>
                <a:latin typeface="Montserrat SemiBold"/>
                <a:ea typeface="Montserrat SemiBold"/>
                <a:cs typeface="Montserrat SemiBold"/>
                <a:sym typeface="Montserrat SemiBold"/>
              </a:defRPr>
            </a:lvl1pPr>
            <a:lvl2pPr lvl="1" rtl="0">
              <a:spcBef>
                <a:spcPts val="0"/>
              </a:spcBef>
              <a:spcAft>
                <a:spcPts val="0"/>
              </a:spcAft>
              <a:buSzPts val="2400"/>
              <a:buNone/>
              <a:defRPr sz="2400"/>
            </a:lvl2pPr>
            <a:lvl3pPr lvl="2" rtl="0">
              <a:spcBef>
                <a:spcPts val="0"/>
              </a:spcBef>
              <a:spcAft>
                <a:spcPts val="0"/>
              </a:spcAft>
              <a:buSzPts val="2400"/>
              <a:buNone/>
              <a:defRPr sz="2400"/>
            </a:lvl3pPr>
            <a:lvl4pPr lvl="3" rtl="0">
              <a:spcBef>
                <a:spcPts val="0"/>
              </a:spcBef>
              <a:spcAft>
                <a:spcPts val="0"/>
              </a:spcAft>
              <a:buSzPts val="2400"/>
              <a:buNone/>
              <a:defRPr sz="2400"/>
            </a:lvl4pPr>
            <a:lvl5pPr lvl="4" rtl="0">
              <a:spcBef>
                <a:spcPts val="0"/>
              </a:spcBef>
              <a:spcAft>
                <a:spcPts val="0"/>
              </a:spcAft>
              <a:buSzPts val="2400"/>
              <a:buNone/>
              <a:defRPr sz="2400"/>
            </a:lvl5pPr>
            <a:lvl6pPr lvl="5" rtl="0">
              <a:spcBef>
                <a:spcPts val="0"/>
              </a:spcBef>
              <a:spcAft>
                <a:spcPts val="0"/>
              </a:spcAft>
              <a:buSzPts val="2400"/>
              <a:buNone/>
              <a:defRPr sz="2400"/>
            </a:lvl6pPr>
            <a:lvl7pPr lvl="6" rtl="0">
              <a:spcBef>
                <a:spcPts val="0"/>
              </a:spcBef>
              <a:spcAft>
                <a:spcPts val="0"/>
              </a:spcAft>
              <a:buSzPts val="2400"/>
              <a:buNone/>
              <a:defRPr sz="2400"/>
            </a:lvl7pPr>
            <a:lvl8pPr lvl="7" rtl="0">
              <a:spcBef>
                <a:spcPts val="0"/>
              </a:spcBef>
              <a:spcAft>
                <a:spcPts val="0"/>
              </a:spcAft>
              <a:buSzPts val="2400"/>
              <a:buNone/>
              <a:defRPr sz="2400"/>
            </a:lvl8pPr>
            <a:lvl9pPr lvl="8" rtl="0">
              <a:spcBef>
                <a:spcPts val="0"/>
              </a:spcBef>
              <a:spcAft>
                <a:spcPts val="0"/>
              </a:spcAft>
              <a:buSzPts val="2400"/>
              <a:buNone/>
              <a:defRPr sz="2400"/>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ig Idea w/ lnfographic">
  <p:cSld name="Big Idea w/ lnfographic">
    <p:bg>
      <p:bgPr>
        <a:solidFill>
          <a:srgbClr val="002A44"/>
        </a:solidFill>
        <a:effectLst/>
      </p:bgPr>
    </p:bg>
    <p:spTree>
      <p:nvGrpSpPr>
        <p:cNvPr id="1" name="Shape 107"/>
        <p:cNvGrpSpPr/>
        <p:nvPr/>
      </p:nvGrpSpPr>
      <p:grpSpPr>
        <a:xfrm>
          <a:off x="0" y="0"/>
          <a:ext cx="0" cy="0"/>
          <a:chOff x="0" y="0"/>
          <a:chExt cx="0" cy="0"/>
        </a:xfrm>
      </p:grpSpPr>
      <p:pic>
        <p:nvPicPr>
          <p:cNvPr id="108" name="Google Shape;108;p11"/>
          <p:cNvPicPr preferRelativeResize="0"/>
          <p:nvPr/>
        </p:nvPicPr>
        <p:blipFill rotWithShape="1">
          <a:blip r:embed="rId2">
            <a:alphaModFix/>
          </a:blip>
          <a:srcRect/>
          <a:stretch/>
        </p:blipFill>
        <p:spPr>
          <a:xfrm>
            <a:off x="-1485893" y="0"/>
            <a:ext cx="16740388" cy="13716001"/>
          </a:xfrm>
          <a:prstGeom prst="rect">
            <a:avLst/>
          </a:prstGeom>
          <a:noFill/>
          <a:ln>
            <a:noFill/>
          </a:ln>
        </p:spPr>
      </p:pic>
      <p:sp>
        <p:nvSpPr>
          <p:cNvPr id="109" name="Google Shape;109;p11"/>
          <p:cNvSpPr/>
          <p:nvPr/>
        </p:nvSpPr>
        <p:spPr>
          <a:xfrm>
            <a:off x="22412037" y="536597"/>
            <a:ext cx="1515111" cy="1515111"/>
          </a:xfrm>
          <a:custGeom>
            <a:avLst/>
            <a:gdLst/>
            <a:ahLst/>
            <a:cxnLst/>
            <a:rect l="l" t="t" r="r" b="b"/>
            <a:pathLst>
              <a:path w="1137044" h="1137044" extrusionOk="0">
                <a:moveTo>
                  <a:pt x="0" y="0"/>
                </a:moveTo>
                <a:lnTo>
                  <a:pt x="1137044" y="0"/>
                </a:lnTo>
                <a:lnTo>
                  <a:pt x="1137044" y="1137044"/>
                </a:lnTo>
                <a:lnTo>
                  <a:pt x="0" y="1137044"/>
                </a:lnTo>
                <a:lnTo>
                  <a:pt x="0" y="0"/>
                </a:lnTo>
                <a:close/>
              </a:path>
            </a:pathLst>
          </a:custGeom>
          <a:blipFill rotWithShape="1">
            <a:blip r:embed="rId3">
              <a:alphaModFix/>
            </a:blip>
            <a:stretch>
              <a:fillRect/>
            </a:stretch>
          </a:blipFill>
          <a:ln>
            <a:noFill/>
          </a:ln>
        </p:spPr>
      </p:sp>
      <p:sp>
        <p:nvSpPr>
          <p:cNvPr id="110" name="Google Shape;110;p11"/>
          <p:cNvSpPr txBox="1">
            <a:spLocks noGrp="1"/>
          </p:cNvSpPr>
          <p:nvPr>
            <p:ph type="title"/>
          </p:nvPr>
        </p:nvSpPr>
        <p:spPr>
          <a:xfrm>
            <a:off x="1578925" y="4049700"/>
            <a:ext cx="9129600" cy="73068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8400"/>
              <a:buFont typeface="Montserrat Black"/>
              <a:buNone/>
              <a:defRPr sz="8400">
                <a:solidFill>
                  <a:srgbClr val="002A44"/>
                </a:solidFill>
                <a:latin typeface="Montserrat Black"/>
                <a:ea typeface="Montserrat Black"/>
                <a:cs typeface="Montserrat Black"/>
                <a:sym typeface="Montserrat Black"/>
              </a:defRPr>
            </a:lvl1pPr>
            <a:lvl2pPr lvl="1" rtl="0">
              <a:spcBef>
                <a:spcPts val="0"/>
              </a:spcBef>
              <a:spcAft>
                <a:spcPts val="0"/>
              </a:spcAft>
              <a:buSzPts val="8400"/>
              <a:buNone/>
              <a:defRPr sz="8400"/>
            </a:lvl2pPr>
            <a:lvl3pPr lvl="2" rtl="0">
              <a:spcBef>
                <a:spcPts val="0"/>
              </a:spcBef>
              <a:spcAft>
                <a:spcPts val="0"/>
              </a:spcAft>
              <a:buSzPts val="8400"/>
              <a:buNone/>
              <a:defRPr sz="8400"/>
            </a:lvl3pPr>
            <a:lvl4pPr lvl="3" rtl="0">
              <a:spcBef>
                <a:spcPts val="0"/>
              </a:spcBef>
              <a:spcAft>
                <a:spcPts val="0"/>
              </a:spcAft>
              <a:buSzPts val="8400"/>
              <a:buNone/>
              <a:defRPr sz="8400"/>
            </a:lvl4pPr>
            <a:lvl5pPr lvl="4" rtl="0">
              <a:spcBef>
                <a:spcPts val="0"/>
              </a:spcBef>
              <a:spcAft>
                <a:spcPts val="0"/>
              </a:spcAft>
              <a:buSzPts val="8400"/>
              <a:buNone/>
              <a:defRPr sz="8400"/>
            </a:lvl5pPr>
            <a:lvl6pPr lvl="5" rtl="0">
              <a:spcBef>
                <a:spcPts val="0"/>
              </a:spcBef>
              <a:spcAft>
                <a:spcPts val="0"/>
              </a:spcAft>
              <a:buSzPts val="8400"/>
              <a:buNone/>
              <a:defRPr sz="8400"/>
            </a:lvl6pPr>
            <a:lvl7pPr lvl="6" rtl="0">
              <a:spcBef>
                <a:spcPts val="0"/>
              </a:spcBef>
              <a:spcAft>
                <a:spcPts val="0"/>
              </a:spcAft>
              <a:buSzPts val="8400"/>
              <a:buNone/>
              <a:defRPr sz="8400"/>
            </a:lvl7pPr>
            <a:lvl8pPr lvl="7" rtl="0">
              <a:spcBef>
                <a:spcPts val="0"/>
              </a:spcBef>
              <a:spcAft>
                <a:spcPts val="0"/>
              </a:spcAft>
              <a:buSzPts val="8400"/>
              <a:buNone/>
              <a:defRPr sz="8400"/>
            </a:lvl8pPr>
            <a:lvl9pPr lvl="8" rtl="0">
              <a:spcBef>
                <a:spcPts val="0"/>
              </a:spcBef>
              <a:spcAft>
                <a:spcPts val="0"/>
              </a:spcAft>
              <a:buSzPts val="8400"/>
              <a:buNone/>
              <a:defRPr sz="8400"/>
            </a:lvl9pPr>
          </a:lstStyle>
          <a:p>
            <a:endParaRPr/>
          </a:p>
        </p:txBody>
      </p:sp>
      <p:sp>
        <p:nvSpPr>
          <p:cNvPr id="111" name="Google Shape;111;p11"/>
          <p:cNvSpPr txBox="1"/>
          <p:nvPr/>
        </p:nvSpPr>
        <p:spPr>
          <a:xfrm>
            <a:off x="1675825" y="2964575"/>
            <a:ext cx="4351200" cy="615600"/>
          </a:xfrm>
          <a:prstGeom prst="rect">
            <a:avLst/>
          </a:prstGeom>
          <a:solidFill>
            <a:srgbClr val="C1F400"/>
          </a:solidFill>
          <a:ln>
            <a:noFill/>
          </a:ln>
        </p:spPr>
        <p:txBody>
          <a:bodyPr spcFirstLastPara="1" wrap="square" lIns="91425" tIns="91425" rIns="91425" bIns="91425" anchor="t" anchorCtr="0">
            <a:spAutoFit/>
          </a:bodyPr>
          <a:lstStyle/>
          <a:p>
            <a:pPr marL="457200" lvl="0" indent="0" algn="l" rtl="0">
              <a:lnSpc>
                <a:spcPct val="115000"/>
              </a:lnSpc>
              <a:spcBef>
                <a:spcPts val="0"/>
              </a:spcBef>
              <a:spcAft>
                <a:spcPts val="0"/>
              </a:spcAft>
              <a:buNone/>
            </a:pPr>
            <a:endParaRPr sz="2800">
              <a:solidFill>
                <a:srgbClr val="002A44"/>
              </a:solidFill>
              <a:latin typeface="Montserrat Black"/>
              <a:ea typeface="Montserrat Black"/>
              <a:cs typeface="Montserrat Black"/>
              <a:sym typeface="Montserrat Black"/>
            </a:endParaRPr>
          </a:p>
        </p:txBody>
      </p:sp>
      <p:sp>
        <p:nvSpPr>
          <p:cNvPr id="112" name="Google Shape;112;p11"/>
          <p:cNvSpPr txBox="1">
            <a:spLocks noGrp="1"/>
          </p:cNvSpPr>
          <p:nvPr>
            <p:ph type="subTitle" idx="1"/>
          </p:nvPr>
        </p:nvSpPr>
        <p:spPr>
          <a:xfrm>
            <a:off x="1783925" y="2631700"/>
            <a:ext cx="7136400" cy="12405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1pPr>
            <a:lvl2pPr lvl="1"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2pPr>
            <a:lvl3pPr lvl="2"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3pPr>
            <a:lvl4pPr lvl="3"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4pPr>
            <a:lvl5pPr lvl="4"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5pPr>
            <a:lvl6pPr lvl="5"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6pPr>
            <a:lvl7pPr lvl="6"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7pPr>
            <a:lvl8pPr lvl="7"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8pPr>
            <a:lvl9pPr lvl="8"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9pPr>
          </a:lstStyle>
          <a:p>
            <a:endParaRPr/>
          </a:p>
        </p:txBody>
      </p:sp>
      <p:grpSp>
        <p:nvGrpSpPr>
          <p:cNvPr id="113" name="Google Shape;113;p11"/>
          <p:cNvGrpSpPr/>
          <p:nvPr/>
        </p:nvGrpSpPr>
        <p:grpSpPr>
          <a:xfrm>
            <a:off x="12173918" y="1493350"/>
            <a:ext cx="10881629" cy="10452614"/>
            <a:chOff x="7137399" y="3454401"/>
            <a:chExt cx="9502776" cy="9128124"/>
          </a:xfrm>
        </p:grpSpPr>
        <p:sp>
          <p:nvSpPr>
            <p:cNvPr id="114" name="Google Shape;114;p11"/>
            <p:cNvSpPr/>
            <p:nvPr/>
          </p:nvSpPr>
          <p:spPr>
            <a:xfrm>
              <a:off x="8886824" y="3454401"/>
              <a:ext cx="6261099" cy="5810251"/>
            </a:xfrm>
            <a:custGeom>
              <a:avLst/>
              <a:gdLst/>
              <a:ahLst/>
              <a:cxnLst/>
              <a:rect l="l" t="t" r="r" b="b"/>
              <a:pathLst>
                <a:path w="990" h="919" extrusionOk="0">
                  <a:moveTo>
                    <a:pt x="495" y="0"/>
                  </a:moveTo>
                  <a:cubicBezTo>
                    <a:pt x="222" y="0"/>
                    <a:pt x="1" y="220"/>
                    <a:pt x="0" y="492"/>
                  </a:cubicBezTo>
                  <a:cubicBezTo>
                    <a:pt x="0" y="493"/>
                    <a:pt x="0" y="495"/>
                    <a:pt x="0" y="496"/>
                  </a:cubicBezTo>
                  <a:cubicBezTo>
                    <a:pt x="0" y="675"/>
                    <a:pt x="95" y="832"/>
                    <a:pt x="237" y="919"/>
                  </a:cubicBezTo>
                  <a:cubicBezTo>
                    <a:pt x="248" y="748"/>
                    <a:pt x="345" y="600"/>
                    <a:pt x="485" y="520"/>
                  </a:cubicBezTo>
                  <a:cubicBezTo>
                    <a:pt x="558" y="478"/>
                    <a:pt x="642" y="454"/>
                    <a:pt x="731" y="454"/>
                  </a:cubicBezTo>
                  <a:cubicBezTo>
                    <a:pt x="826" y="454"/>
                    <a:pt x="914" y="481"/>
                    <a:pt x="989" y="526"/>
                  </a:cubicBezTo>
                  <a:cubicBezTo>
                    <a:pt x="989" y="516"/>
                    <a:pt x="990" y="506"/>
                    <a:pt x="990" y="496"/>
                  </a:cubicBezTo>
                  <a:cubicBezTo>
                    <a:pt x="990" y="222"/>
                    <a:pt x="768" y="0"/>
                    <a:pt x="495" y="0"/>
                  </a:cubicBezTo>
                  <a:close/>
                </a:path>
              </a:pathLst>
            </a:custGeom>
            <a:noFill/>
            <a:ln w="152400" cap="flat" cmpd="sng">
              <a:solidFill>
                <a:srgbClr val="C1F400"/>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3600">
                <a:solidFill>
                  <a:schemeClr val="dk1"/>
                </a:solidFill>
                <a:latin typeface="Calibri"/>
                <a:ea typeface="Calibri"/>
                <a:cs typeface="Calibri"/>
                <a:sym typeface="Calibri"/>
              </a:endParaRPr>
            </a:p>
          </p:txBody>
        </p:sp>
        <p:sp>
          <p:nvSpPr>
            <p:cNvPr id="115" name="Google Shape;115;p11"/>
            <p:cNvSpPr/>
            <p:nvPr/>
          </p:nvSpPr>
          <p:spPr>
            <a:xfrm>
              <a:off x="11884025" y="6324600"/>
              <a:ext cx="4756150" cy="6257924"/>
            </a:xfrm>
            <a:custGeom>
              <a:avLst/>
              <a:gdLst/>
              <a:ahLst/>
              <a:cxnLst/>
              <a:rect l="l" t="t" r="r" b="b"/>
              <a:pathLst>
                <a:path w="752" h="990" extrusionOk="0">
                  <a:moveTo>
                    <a:pt x="515" y="72"/>
                  </a:moveTo>
                  <a:cubicBezTo>
                    <a:pt x="440" y="27"/>
                    <a:pt x="352" y="0"/>
                    <a:pt x="257" y="0"/>
                  </a:cubicBezTo>
                  <a:cubicBezTo>
                    <a:pt x="168" y="0"/>
                    <a:pt x="84" y="24"/>
                    <a:pt x="11" y="66"/>
                  </a:cubicBezTo>
                  <a:cubicBezTo>
                    <a:pt x="148" y="155"/>
                    <a:pt x="239" y="310"/>
                    <a:pt x="239" y="486"/>
                  </a:cubicBezTo>
                  <a:cubicBezTo>
                    <a:pt x="239" y="487"/>
                    <a:pt x="239" y="488"/>
                    <a:pt x="239" y="488"/>
                  </a:cubicBezTo>
                  <a:cubicBezTo>
                    <a:pt x="239" y="671"/>
                    <a:pt x="144" y="830"/>
                    <a:pt x="0" y="918"/>
                  </a:cubicBezTo>
                  <a:cubicBezTo>
                    <a:pt x="75" y="964"/>
                    <a:pt x="163" y="990"/>
                    <a:pt x="257" y="990"/>
                  </a:cubicBezTo>
                  <a:cubicBezTo>
                    <a:pt x="531" y="990"/>
                    <a:pt x="752" y="769"/>
                    <a:pt x="752" y="495"/>
                  </a:cubicBezTo>
                  <a:cubicBezTo>
                    <a:pt x="752" y="316"/>
                    <a:pt x="657" y="159"/>
                    <a:pt x="515" y="72"/>
                  </a:cubicBezTo>
                  <a:close/>
                </a:path>
              </a:pathLst>
            </a:custGeom>
            <a:noFill/>
            <a:ln w="152400" cap="flat" cmpd="sng">
              <a:solidFill>
                <a:srgbClr val="C1F400"/>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3600">
                <a:solidFill>
                  <a:schemeClr val="dk1"/>
                </a:solidFill>
                <a:latin typeface="Calibri"/>
                <a:ea typeface="Calibri"/>
                <a:cs typeface="Calibri"/>
                <a:sym typeface="Calibri"/>
              </a:endParaRPr>
            </a:p>
          </p:txBody>
        </p:sp>
        <p:sp>
          <p:nvSpPr>
            <p:cNvPr id="116" name="Google Shape;116;p11"/>
            <p:cNvSpPr/>
            <p:nvPr/>
          </p:nvSpPr>
          <p:spPr>
            <a:xfrm>
              <a:off x="7137399" y="6562724"/>
              <a:ext cx="6257926" cy="6019801"/>
            </a:xfrm>
            <a:custGeom>
              <a:avLst/>
              <a:gdLst/>
              <a:ahLst/>
              <a:cxnLst/>
              <a:rect l="l" t="t" r="r" b="b"/>
              <a:pathLst>
                <a:path w="990" h="952" extrusionOk="0">
                  <a:moveTo>
                    <a:pt x="990" y="448"/>
                  </a:moveTo>
                  <a:cubicBezTo>
                    <a:pt x="924" y="481"/>
                    <a:pt x="850" y="499"/>
                    <a:pt x="772" y="499"/>
                  </a:cubicBezTo>
                  <a:cubicBezTo>
                    <a:pt x="677" y="499"/>
                    <a:pt x="589" y="473"/>
                    <a:pt x="514" y="427"/>
                  </a:cubicBezTo>
                  <a:cubicBezTo>
                    <a:pt x="372" y="340"/>
                    <a:pt x="277" y="183"/>
                    <a:pt x="277" y="4"/>
                  </a:cubicBezTo>
                  <a:cubicBezTo>
                    <a:pt x="277" y="3"/>
                    <a:pt x="277" y="1"/>
                    <a:pt x="277" y="0"/>
                  </a:cubicBezTo>
                  <a:cubicBezTo>
                    <a:pt x="113" y="82"/>
                    <a:pt x="0" y="253"/>
                    <a:pt x="0" y="450"/>
                  </a:cubicBezTo>
                  <a:cubicBezTo>
                    <a:pt x="0" y="728"/>
                    <a:pt x="222" y="952"/>
                    <a:pt x="495" y="952"/>
                  </a:cubicBezTo>
                  <a:cubicBezTo>
                    <a:pt x="589" y="952"/>
                    <a:pt x="677" y="926"/>
                    <a:pt x="751" y="880"/>
                  </a:cubicBezTo>
                  <a:cubicBezTo>
                    <a:pt x="895" y="792"/>
                    <a:pt x="990" y="633"/>
                    <a:pt x="990" y="450"/>
                  </a:cubicBezTo>
                  <a:cubicBezTo>
                    <a:pt x="990" y="450"/>
                    <a:pt x="990" y="449"/>
                    <a:pt x="990" y="448"/>
                  </a:cubicBezTo>
                  <a:close/>
                </a:path>
              </a:pathLst>
            </a:custGeom>
            <a:noFill/>
            <a:ln w="152400" cap="flat" cmpd="sng">
              <a:solidFill>
                <a:srgbClr val="C1F400"/>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3600">
                <a:solidFill>
                  <a:schemeClr val="dk1"/>
                </a:solidFill>
                <a:latin typeface="Calibri"/>
                <a:ea typeface="Calibri"/>
                <a:cs typeface="Calibri"/>
                <a:sym typeface="Calibri"/>
              </a:endParaRPr>
            </a:p>
          </p:txBody>
        </p:sp>
      </p:grpSp>
      <p:sp>
        <p:nvSpPr>
          <p:cNvPr id="117" name="Google Shape;117;p11"/>
          <p:cNvSpPr txBox="1">
            <a:spLocks noGrp="1"/>
          </p:cNvSpPr>
          <p:nvPr>
            <p:ph type="title" idx="2"/>
          </p:nvPr>
        </p:nvSpPr>
        <p:spPr>
          <a:xfrm>
            <a:off x="15923575" y="2598850"/>
            <a:ext cx="9129600" cy="849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3600"/>
              <a:buFont typeface="Montserrat Black"/>
              <a:buNone/>
              <a:defRPr sz="3600">
                <a:solidFill>
                  <a:schemeClr val="lt1"/>
                </a:solidFill>
                <a:latin typeface="Montserrat Black"/>
                <a:ea typeface="Montserrat Black"/>
                <a:cs typeface="Montserrat Black"/>
                <a:sym typeface="Montserrat Black"/>
              </a:defRPr>
            </a:lvl1pPr>
            <a:lvl2pPr lvl="1" rtl="0">
              <a:spcBef>
                <a:spcPts val="0"/>
              </a:spcBef>
              <a:spcAft>
                <a:spcPts val="0"/>
              </a:spcAft>
              <a:buSzPts val="3600"/>
              <a:buNone/>
              <a:defRPr sz="3600"/>
            </a:lvl2pPr>
            <a:lvl3pPr lvl="2" rtl="0">
              <a:spcBef>
                <a:spcPts val="0"/>
              </a:spcBef>
              <a:spcAft>
                <a:spcPts val="0"/>
              </a:spcAft>
              <a:buSzPts val="3600"/>
              <a:buNone/>
              <a:defRPr sz="3600"/>
            </a:lvl3pPr>
            <a:lvl4pPr lvl="3" rtl="0">
              <a:spcBef>
                <a:spcPts val="0"/>
              </a:spcBef>
              <a:spcAft>
                <a:spcPts val="0"/>
              </a:spcAft>
              <a:buSzPts val="3600"/>
              <a:buNone/>
              <a:defRPr sz="3600"/>
            </a:lvl4pPr>
            <a:lvl5pPr lvl="4" rtl="0">
              <a:spcBef>
                <a:spcPts val="0"/>
              </a:spcBef>
              <a:spcAft>
                <a:spcPts val="0"/>
              </a:spcAft>
              <a:buSzPts val="3600"/>
              <a:buNone/>
              <a:defRPr sz="3600"/>
            </a:lvl5pPr>
            <a:lvl6pPr lvl="5" rtl="0">
              <a:spcBef>
                <a:spcPts val="0"/>
              </a:spcBef>
              <a:spcAft>
                <a:spcPts val="0"/>
              </a:spcAft>
              <a:buSzPts val="3600"/>
              <a:buNone/>
              <a:defRPr sz="3600"/>
            </a:lvl6pPr>
            <a:lvl7pPr lvl="6" rtl="0">
              <a:spcBef>
                <a:spcPts val="0"/>
              </a:spcBef>
              <a:spcAft>
                <a:spcPts val="0"/>
              </a:spcAft>
              <a:buSzPts val="3600"/>
              <a:buNone/>
              <a:defRPr sz="3600"/>
            </a:lvl7pPr>
            <a:lvl8pPr lvl="7" rtl="0">
              <a:spcBef>
                <a:spcPts val="0"/>
              </a:spcBef>
              <a:spcAft>
                <a:spcPts val="0"/>
              </a:spcAft>
              <a:buSzPts val="3600"/>
              <a:buNone/>
              <a:defRPr sz="3600"/>
            </a:lvl8pPr>
            <a:lvl9pPr lvl="8" rtl="0">
              <a:spcBef>
                <a:spcPts val="0"/>
              </a:spcBef>
              <a:spcAft>
                <a:spcPts val="0"/>
              </a:spcAft>
              <a:buSzPts val="3600"/>
              <a:buNone/>
              <a:defRPr sz="3600"/>
            </a:lvl9pPr>
          </a:lstStyle>
          <a:p>
            <a:endParaRPr/>
          </a:p>
        </p:txBody>
      </p:sp>
      <p:sp>
        <p:nvSpPr>
          <p:cNvPr id="118" name="Google Shape;118;p11"/>
          <p:cNvSpPr txBox="1">
            <a:spLocks noGrp="1"/>
          </p:cNvSpPr>
          <p:nvPr>
            <p:ph type="subTitle" idx="3"/>
          </p:nvPr>
        </p:nvSpPr>
        <p:spPr>
          <a:xfrm>
            <a:off x="15971125" y="3295450"/>
            <a:ext cx="3469500" cy="1374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2200"/>
              <a:buFont typeface="Open Sans"/>
              <a:buNone/>
              <a:defRPr sz="2200">
                <a:solidFill>
                  <a:schemeClr val="lt1"/>
                </a:solidFill>
                <a:latin typeface="Open Sans"/>
                <a:ea typeface="Open Sans"/>
                <a:cs typeface="Open Sans"/>
                <a:sym typeface="Open Sans"/>
              </a:defRPr>
            </a:lvl1pPr>
            <a:lvl2pPr lvl="1" rtl="0">
              <a:spcBef>
                <a:spcPts val="0"/>
              </a:spcBef>
              <a:spcAft>
                <a:spcPts val="0"/>
              </a:spcAft>
              <a:buClr>
                <a:schemeClr val="lt1"/>
              </a:buClr>
              <a:buSzPts val="2200"/>
              <a:buNone/>
              <a:defRPr sz="2200">
                <a:solidFill>
                  <a:schemeClr val="lt1"/>
                </a:solidFill>
              </a:defRPr>
            </a:lvl2pPr>
            <a:lvl3pPr lvl="2" rtl="0">
              <a:spcBef>
                <a:spcPts val="0"/>
              </a:spcBef>
              <a:spcAft>
                <a:spcPts val="0"/>
              </a:spcAft>
              <a:buClr>
                <a:schemeClr val="lt1"/>
              </a:buClr>
              <a:buSzPts val="2200"/>
              <a:buNone/>
              <a:defRPr sz="2200">
                <a:solidFill>
                  <a:schemeClr val="lt1"/>
                </a:solidFill>
              </a:defRPr>
            </a:lvl3pPr>
            <a:lvl4pPr lvl="3" rtl="0">
              <a:spcBef>
                <a:spcPts val="0"/>
              </a:spcBef>
              <a:spcAft>
                <a:spcPts val="0"/>
              </a:spcAft>
              <a:buClr>
                <a:schemeClr val="lt1"/>
              </a:buClr>
              <a:buSzPts val="2200"/>
              <a:buNone/>
              <a:defRPr sz="2200">
                <a:solidFill>
                  <a:schemeClr val="lt1"/>
                </a:solidFill>
              </a:defRPr>
            </a:lvl4pPr>
            <a:lvl5pPr lvl="4" rtl="0">
              <a:spcBef>
                <a:spcPts val="0"/>
              </a:spcBef>
              <a:spcAft>
                <a:spcPts val="0"/>
              </a:spcAft>
              <a:buClr>
                <a:schemeClr val="lt1"/>
              </a:buClr>
              <a:buSzPts val="2200"/>
              <a:buNone/>
              <a:defRPr sz="2200">
                <a:solidFill>
                  <a:schemeClr val="lt1"/>
                </a:solidFill>
              </a:defRPr>
            </a:lvl5pPr>
            <a:lvl6pPr lvl="5" rtl="0">
              <a:spcBef>
                <a:spcPts val="0"/>
              </a:spcBef>
              <a:spcAft>
                <a:spcPts val="0"/>
              </a:spcAft>
              <a:buClr>
                <a:schemeClr val="lt1"/>
              </a:buClr>
              <a:buSzPts val="2200"/>
              <a:buNone/>
              <a:defRPr sz="2200">
                <a:solidFill>
                  <a:schemeClr val="lt1"/>
                </a:solidFill>
              </a:defRPr>
            </a:lvl6pPr>
            <a:lvl7pPr lvl="6" rtl="0">
              <a:spcBef>
                <a:spcPts val="0"/>
              </a:spcBef>
              <a:spcAft>
                <a:spcPts val="0"/>
              </a:spcAft>
              <a:buClr>
                <a:schemeClr val="lt1"/>
              </a:buClr>
              <a:buSzPts val="2200"/>
              <a:buNone/>
              <a:defRPr sz="2200">
                <a:solidFill>
                  <a:schemeClr val="lt1"/>
                </a:solidFill>
              </a:defRPr>
            </a:lvl7pPr>
            <a:lvl8pPr lvl="7" rtl="0">
              <a:spcBef>
                <a:spcPts val="0"/>
              </a:spcBef>
              <a:spcAft>
                <a:spcPts val="0"/>
              </a:spcAft>
              <a:buClr>
                <a:schemeClr val="lt1"/>
              </a:buClr>
              <a:buSzPts val="2200"/>
              <a:buNone/>
              <a:defRPr sz="2200">
                <a:solidFill>
                  <a:schemeClr val="lt1"/>
                </a:solidFill>
              </a:defRPr>
            </a:lvl8pPr>
            <a:lvl9pPr lvl="8" rtl="0">
              <a:spcBef>
                <a:spcPts val="0"/>
              </a:spcBef>
              <a:spcAft>
                <a:spcPts val="0"/>
              </a:spcAft>
              <a:buClr>
                <a:schemeClr val="lt1"/>
              </a:buClr>
              <a:buSzPts val="2200"/>
              <a:buNone/>
              <a:defRPr sz="2200">
                <a:solidFill>
                  <a:schemeClr val="lt1"/>
                </a:solidFill>
              </a:defRPr>
            </a:lvl9pPr>
          </a:lstStyle>
          <a:p>
            <a:endParaRPr/>
          </a:p>
        </p:txBody>
      </p:sp>
      <p:sp>
        <p:nvSpPr>
          <p:cNvPr id="119" name="Google Shape;119;p11"/>
          <p:cNvSpPr txBox="1">
            <a:spLocks noGrp="1"/>
          </p:cNvSpPr>
          <p:nvPr>
            <p:ph type="title" idx="4"/>
          </p:nvPr>
        </p:nvSpPr>
        <p:spPr>
          <a:xfrm>
            <a:off x="14418625" y="9056800"/>
            <a:ext cx="9129600" cy="849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3600"/>
              <a:buFont typeface="Montserrat Black"/>
              <a:buNone/>
              <a:defRPr sz="3600">
                <a:solidFill>
                  <a:schemeClr val="lt1"/>
                </a:solidFill>
                <a:latin typeface="Montserrat Black"/>
                <a:ea typeface="Montserrat Black"/>
                <a:cs typeface="Montserrat Black"/>
                <a:sym typeface="Montserrat Black"/>
              </a:defRPr>
            </a:lvl1pPr>
            <a:lvl2pPr lvl="1" rtl="0">
              <a:spcBef>
                <a:spcPts val="0"/>
              </a:spcBef>
              <a:spcAft>
                <a:spcPts val="0"/>
              </a:spcAft>
              <a:buSzPts val="3600"/>
              <a:buNone/>
              <a:defRPr sz="3600"/>
            </a:lvl2pPr>
            <a:lvl3pPr lvl="2" rtl="0">
              <a:spcBef>
                <a:spcPts val="0"/>
              </a:spcBef>
              <a:spcAft>
                <a:spcPts val="0"/>
              </a:spcAft>
              <a:buSzPts val="3600"/>
              <a:buNone/>
              <a:defRPr sz="3600"/>
            </a:lvl3pPr>
            <a:lvl4pPr lvl="3" rtl="0">
              <a:spcBef>
                <a:spcPts val="0"/>
              </a:spcBef>
              <a:spcAft>
                <a:spcPts val="0"/>
              </a:spcAft>
              <a:buSzPts val="3600"/>
              <a:buNone/>
              <a:defRPr sz="3600"/>
            </a:lvl4pPr>
            <a:lvl5pPr lvl="4" rtl="0">
              <a:spcBef>
                <a:spcPts val="0"/>
              </a:spcBef>
              <a:spcAft>
                <a:spcPts val="0"/>
              </a:spcAft>
              <a:buSzPts val="3600"/>
              <a:buNone/>
              <a:defRPr sz="3600"/>
            </a:lvl5pPr>
            <a:lvl6pPr lvl="5" rtl="0">
              <a:spcBef>
                <a:spcPts val="0"/>
              </a:spcBef>
              <a:spcAft>
                <a:spcPts val="0"/>
              </a:spcAft>
              <a:buSzPts val="3600"/>
              <a:buNone/>
              <a:defRPr sz="3600"/>
            </a:lvl6pPr>
            <a:lvl7pPr lvl="6" rtl="0">
              <a:spcBef>
                <a:spcPts val="0"/>
              </a:spcBef>
              <a:spcAft>
                <a:spcPts val="0"/>
              </a:spcAft>
              <a:buSzPts val="3600"/>
              <a:buNone/>
              <a:defRPr sz="3600"/>
            </a:lvl7pPr>
            <a:lvl8pPr lvl="7" rtl="0">
              <a:spcBef>
                <a:spcPts val="0"/>
              </a:spcBef>
              <a:spcAft>
                <a:spcPts val="0"/>
              </a:spcAft>
              <a:buSzPts val="3600"/>
              <a:buNone/>
              <a:defRPr sz="3600"/>
            </a:lvl8pPr>
            <a:lvl9pPr lvl="8" rtl="0">
              <a:spcBef>
                <a:spcPts val="0"/>
              </a:spcBef>
              <a:spcAft>
                <a:spcPts val="0"/>
              </a:spcAft>
              <a:buSzPts val="3600"/>
              <a:buNone/>
              <a:defRPr sz="3600"/>
            </a:lvl9pPr>
          </a:lstStyle>
          <a:p>
            <a:endParaRPr/>
          </a:p>
        </p:txBody>
      </p:sp>
      <p:sp>
        <p:nvSpPr>
          <p:cNvPr id="120" name="Google Shape;120;p11"/>
          <p:cNvSpPr txBox="1">
            <a:spLocks noGrp="1"/>
          </p:cNvSpPr>
          <p:nvPr>
            <p:ph type="subTitle" idx="5"/>
          </p:nvPr>
        </p:nvSpPr>
        <p:spPr>
          <a:xfrm>
            <a:off x="14466175" y="9753400"/>
            <a:ext cx="3583800" cy="1515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2200"/>
              <a:buFont typeface="Open Sans"/>
              <a:buNone/>
              <a:defRPr sz="2200">
                <a:solidFill>
                  <a:schemeClr val="lt1"/>
                </a:solidFill>
                <a:latin typeface="Open Sans"/>
                <a:ea typeface="Open Sans"/>
                <a:cs typeface="Open Sans"/>
                <a:sym typeface="Open Sans"/>
              </a:defRPr>
            </a:lvl1pPr>
            <a:lvl2pPr lvl="1" rtl="0">
              <a:spcBef>
                <a:spcPts val="0"/>
              </a:spcBef>
              <a:spcAft>
                <a:spcPts val="0"/>
              </a:spcAft>
              <a:buClr>
                <a:schemeClr val="lt1"/>
              </a:buClr>
              <a:buSzPts val="2200"/>
              <a:buNone/>
              <a:defRPr sz="2200">
                <a:solidFill>
                  <a:schemeClr val="lt1"/>
                </a:solidFill>
              </a:defRPr>
            </a:lvl2pPr>
            <a:lvl3pPr lvl="2" rtl="0">
              <a:spcBef>
                <a:spcPts val="0"/>
              </a:spcBef>
              <a:spcAft>
                <a:spcPts val="0"/>
              </a:spcAft>
              <a:buClr>
                <a:schemeClr val="lt1"/>
              </a:buClr>
              <a:buSzPts val="2200"/>
              <a:buNone/>
              <a:defRPr sz="2200">
                <a:solidFill>
                  <a:schemeClr val="lt1"/>
                </a:solidFill>
              </a:defRPr>
            </a:lvl3pPr>
            <a:lvl4pPr lvl="3" rtl="0">
              <a:spcBef>
                <a:spcPts val="0"/>
              </a:spcBef>
              <a:spcAft>
                <a:spcPts val="0"/>
              </a:spcAft>
              <a:buClr>
                <a:schemeClr val="lt1"/>
              </a:buClr>
              <a:buSzPts val="2200"/>
              <a:buNone/>
              <a:defRPr sz="2200">
                <a:solidFill>
                  <a:schemeClr val="lt1"/>
                </a:solidFill>
              </a:defRPr>
            </a:lvl4pPr>
            <a:lvl5pPr lvl="4" rtl="0">
              <a:spcBef>
                <a:spcPts val="0"/>
              </a:spcBef>
              <a:spcAft>
                <a:spcPts val="0"/>
              </a:spcAft>
              <a:buClr>
                <a:schemeClr val="lt1"/>
              </a:buClr>
              <a:buSzPts val="2200"/>
              <a:buNone/>
              <a:defRPr sz="2200">
                <a:solidFill>
                  <a:schemeClr val="lt1"/>
                </a:solidFill>
              </a:defRPr>
            </a:lvl5pPr>
            <a:lvl6pPr lvl="5" rtl="0">
              <a:spcBef>
                <a:spcPts val="0"/>
              </a:spcBef>
              <a:spcAft>
                <a:spcPts val="0"/>
              </a:spcAft>
              <a:buClr>
                <a:schemeClr val="lt1"/>
              </a:buClr>
              <a:buSzPts val="2200"/>
              <a:buNone/>
              <a:defRPr sz="2200">
                <a:solidFill>
                  <a:schemeClr val="lt1"/>
                </a:solidFill>
              </a:defRPr>
            </a:lvl6pPr>
            <a:lvl7pPr lvl="6" rtl="0">
              <a:spcBef>
                <a:spcPts val="0"/>
              </a:spcBef>
              <a:spcAft>
                <a:spcPts val="0"/>
              </a:spcAft>
              <a:buClr>
                <a:schemeClr val="lt1"/>
              </a:buClr>
              <a:buSzPts val="2200"/>
              <a:buNone/>
              <a:defRPr sz="2200">
                <a:solidFill>
                  <a:schemeClr val="lt1"/>
                </a:solidFill>
              </a:defRPr>
            </a:lvl7pPr>
            <a:lvl8pPr lvl="7" rtl="0">
              <a:spcBef>
                <a:spcPts val="0"/>
              </a:spcBef>
              <a:spcAft>
                <a:spcPts val="0"/>
              </a:spcAft>
              <a:buClr>
                <a:schemeClr val="lt1"/>
              </a:buClr>
              <a:buSzPts val="2200"/>
              <a:buNone/>
              <a:defRPr sz="2200">
                <a:solidFill>
                  <a:schemeClr val="lt1"/>
                </a:solidFill>
              </a:defRPr>
            </a:lvl8pPr>
            <a:lvl9pPr lvl="8" rtl="0">
              <a:spcBef>
                <a:spcPts val="0"/>
              </a:spcBef>
              <a:spcAft>
                <a:spcPts val="0"/>
              </a:spcAft>
              <a:buClr>
                <a:schemeClr val="lt1"/>
              </a:buClr>
              <a:buSzPts val="2200"/>
              <a:buNone/>
              <a:defRPr sz="2200">
                <a:solidFill>
                  <a:schemeClr val="lt1"/>
                </a:solidFill>
              </a:defRPr>
            </a:lvl9pPr>
          </a:lstStyle>
          <a:p>
            <a:endParaRPr/>
          </a:p>
        </p:txBody>
      </p:sp>
      <p:sp>
        <p:nvSpPr>
          <p:cNvPr id="121" name="Google Shape;121;p11"/>
          <p:cNvSpPr txBox="1">
            <a:spLocks noGrp="1"/>
          </p:cNvSpPr>
          <p:nvPr>
            <p:ph type="title" idx="6"/>
          </p:nvPr>
        </p:nvSpPr>
        <p:spPr>
          <a:xfrm>
            <a:off x="19714525" y="6877050"/>
            <a:ext cx="9129600" cy="849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3600"/>
              <a:buFont typeface="Montserrat Black"/>
              <a:buNone/>
              <a:defRPr sz="3600">
                <a:solidFill>
                  <a:schemeClr val="lt1"/>
                </a:solidFill>
                <a:latin typeface="Montserrat Black"/>
                <a:ea typeface="Montserrat Black"/>
                <a:cs typeface="Montserrat Black"/>
                <a:sym typeface="Montserrat Black"/>
              </a:defRPr>
            </a:lvl1pPr>
            <a:lvl2pPr lvl="1" rtl="0">
              <a:spcBef>
                <a:spcPts val="0"/>
              </a:spcBef>
              <a:spcAft>
                <a:spcPts val="0"/>
              </a:spcAft>
              <a:buSzPts val="3600"/>
              <a:buNone/>
              <a:defRPr sz="3600"/>
            </a:lvl2pPr>
            <a:lvl3pPr lvl="2" rtl="0">
              <a:spcBef>
                <a:spcPts val="0"/>
              </a:spcBef>
              <a:spcAft>
                <a:spcPts val="0"/>
              </a:spcAft>
              <a:buSzPts val="3600"/>
              <a:buNone/>
              <a:defRPr sz="3600"/>
            </a:lvl3pPr>
            <a:lvl4pPr lvl="3" rtl="0">
              <a:spcBef>
                <a:spcPts val="0"/>
              </a:spcBef>
              <a:spcAft>
                <a:spcPts val="0"/>
              </a:spcAft>
              <a:buSzPts val="3600"/>
              <a:buNone/>
              <a:defRPr sz="3600"/>
            </a:lvl4pPr>
            <a:lvl5pPr lvl="4" rtl="0">
              <a:spcBef>
                <a:spcPts val="0"/>
              </a:spcBef>
              <a:spcAft>
                <a:spcPts val="0"/>
              </a:spcAft>
              <a:buSzPts val="3600"/>
              <a:buNone/>
              <a:defRPr sz="3600"/>
            </a:lvl5pPr>
            <a:lvl6pPr lvl="5" rtl="0">
              <a:spcBef>
                <a:spcPts val="0"/>
              </a:spcBef>
              <a:spcAft>
                <a:spcPts val="0"/>
              </a:spcAft>
              <a:buSzPts val="3600"/>
              <a:buNone/>
              <a:defRPr sz="3600"/>
            </a:lvl6pPr>
            <a:lvl7pPr lvl="6" rtl="0">
              <a:spcBef>
                <a:spcPts val="0"/>
              </a:spcBef>
              <a:spcAft>
                <a:spcPts val="0"/>
              </a:spcAft>
              <a:buSzPts val="3600"/>
              <a:buNone/>
              <a:defRPr sz="3600"/>
            </a:lvl7pPr>
            <a:lvl8pPr lvl="7" rtl="0">
              <a:spcBef>
                <a:spcPts val="0"/>
              </a:spcBef>
              <a:spcAft>
                <a:spcPts val="0"/>
              </a:spcAft>
              <a:buSzPts val="3600"/>
              <a:buNone/>
              <a:defRPr sz="3600"/>
            </a:lvl8pPr>
            <a:lvl9pPr lvl="8" rtl="0">
              <a:spcBef>
                <a:spcPts val="0"/>
              </a:spcBef>
              <a:spcAft>
                <a:spcPts val="0"/>
              </a:spcAft>
              <a:buSzPts val="3600"/>
              <a:buNone/>
              <a:defRPr sz="3600"/>
            </a:lvl9pPr>
          </a:lstStyle>
          <a:p>
            <a:endParaRPr/>
          </a:p>
        </p:txBody>
      </p:sp>
      <p:sp>
        <p:nvSpPr>
          <p:cNvPr id="122" name="Google Shape;122;p11"/>
          <p:cNvSpPr txBox="1">
            <a:spLocks noGrp="1"/>
          </p:cNvSpPr>
          <p:nvPr>
            <p:ph type="subTitle" idx="7"/>
          </p:nvPr>
        </p:nvSpPr>
        <p:spPr>
          <a:xfrm>
            <a:off x="19762075" y="7573650"/>
            <a:ext cx="3469500" cy="11079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2200"/>
              <a:buFont typeface="Open Sans"/>
              <a:buNone/>
              <a:defRPr sz="2200">
                <a:solidFill>
                  <a:schemeClr val="lt1"/>
                </a:solidFill>
                <a:latin typeface="Open Sans"/>
                <a:ea typeface="Open Sans"/>
                <a:cs typeface="Open Sans"/>
                <a:sym typeface="Open Sans"/>
              </a:defRPr>
            </a:lvl1pPr>
            <a:lvl2pPr lvl="1" rtl="0">
              <a:spcBef>
                <a:spcPts val="0"/>
              </a:spcBef>
              <a:spcAft>
                <a:spcPts val="0"/>
              </a:spcAft>
              <a:buClr>
                <a:schemeClr val="lt1"/>
              </a:buClr>
              <a:buSzPts val="2200"/>
              <a:buNone/>
              <a:defRPr sz="2200">
                <a:solidFill>
                  <a:schemeClr val="lt1"/>
                </a:solidFill>
              </a:defRPr>
            </a:lvl2pPr>
            <a:lvl3pPr lvl="2" rtl="0">
              <a:spcBef>
                <a:spcPts val="0"/>
              </a:spcBef>
              <a:spcAft>
                <a:spcPts val="0"/>
              </a:spcAft>
              <a:buClr>
                <a:schemeClr val="lt1"/>
              </a:buClr>
              <a:buSzPts val="2200"/>
              <a:buNone/>
              <a:defRPr sz="2200">
                <a:solidFill>
                  <a:schemeClr val="lt1"/>
                </a:solidFill>
              </a:defRPr>
            </a:lvl3pPr>
            <a:lvl4pPr lvl="3" rtl="0">
              <a:spcBef>
                <a:spcPts val="0"/>
              </a:spcBef>
              <a:spcAft>
                <a:spcPts val="0"/>
              </a:spcAft>
              <a:buClr>
                <a:schemeClr val="lt1"/>
              </a:buClr>
              <a:buSzPts val="2200"/>
              <a:buNone/>
              <a:defRPr sz="2200">
                <a:solidFill>
                  <a:schemeClr val="lt1"/>
                </a:solidFill>
              </a:defRPr>
            </a:lvl4pPr>
            <a:lvl5pPr lvl="4" rtl="0">
              <a:spcBef>
                <a:spcPts val="0"/>
              </a:spcBef>
              <a:spcAft>
                <a:spcPts val="0"/>
              </a:spcAft>
              <a:buClr>
                <a:schemeClr val="lt1"/>
              </a:buClr>
              <a:buSzPts val="2200"/>
              <a:buNone/>
              <a:defRPr sz="2200">
                <a:solidFill>
                  <a:schemeClr val="lt1"/>
                </a:solidFill>
              </a:defRPr>
            </a:lvl5pPr>
            <a:lvl6pPr lvl="5" rtl="0">
              <a:spcBef>
                <a:spcPts val="0"/>
              </a:spcBef>
              <a:spcAft>
                <a:spcPts val="0"/>
              </a:spcAft>
              <a:buClr>
                <a:schemeClr val="lt1"/>
              </a:buClr>
              <a:buSzPts val="2200"/>
              <a:buNone/>
              <a:defRPr sz="2200">
                <a:solidFill>
                  <a:schemeClr val="lt1"/>
                </a:solidFill>
              </a:defRPr>
            </a:lvl6pPr>
            <a:lvl7pPr lvl="6" rtl="0">
              <a:spcBef>
                <a:spcPts val="0"/>
              </a:spcBef>
              <a:spcAft>
                <a:spcPts val="0"/>
              </a:spcAft>
              <a:buClr>
                <a:schemeClr val="lt1"/>
              </a:buClr>
              <a:buSzPts val="2200"/>
              <a:buNone/>
              <a:defRPr sz="2200">
                <a:solidFill>
                  <a:schemeClr val="lt1"/>
                </a:solidFill>
              </a:defRPr>
            </a:lvl7pPr>
            <a:lvl8pPr lvl="7" rtl="0">
              <a:spcBef>
                <a:spcPts val="0"/>
              </a:spcBef>
              <a:spcAft>
                <a:spcPts val="0"/>
              </a:spcAft>
              <a:buClr>
                <a:schemeClr val="lt1"/>
              </a:buClr>
              <a:buSzPts val="2200"/>
              <a:buNone/>
              <a:defRPr sz="2200">
                <a:solidFill>
                  <a:schemeClr val="lt1"/>
                </a:solidFill>
              </a:defRPr>
            </a:lvl8pPr>
            <a:lvl9pPr lvl="8" rtl="0">
              <a:spcBef>
                <a:spcPts val="0"/>
              </a:spcBef>
              <a:spcAft>
                <a:spcPts val="0"/>
              </a:spcAft>
              <a:buClr>
                <a:schemeClr val="lt1"/>
              </a:buClr>
              <a:buSzPts val="2200"/>
              <a:buNone/>
              <a:defRPr sz="2200">
                <a:solidFill>
                  <a:schemeClr val="lt1"/>
                </a:solidFill>
              </a:defRPr>
            </a:lvl9pPr>
          </a:lstStyle>
          <a:p>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Quote">
  <p:cSld name="Quote">
    <p:spTree>
      <p:nvGrpSpPr>
        <p:cNvPr id="1" name="Shape 123"/>
        <p:cNvGrpSpPr/>
        <p:nvPr/>
      </p:nvGrpSpPr>
      <p:grpSpPr>
        <a:xfrm>
          <a:off x="0" y="0"/>
          <a:ext cx="0" cy="0"/>
          <a:chOff x="0" y="0"/>
          <a:chExt cx="0" cy="0"/>
        </a:xfrm>
      </p:grpSpPr>
      <p:pic>
        <p:nvPicPr>
          <p:cNvPr id="124" name="Google Shape;124;p12"/>
          <p:cNvPicPr preferRelativeResize="0"/>
          <p:nvPr/>
        </p:nvPicPr>
        <p:blipFill rotWithShape="1">
          <a:blip r:embed="rId2">
            <a:alphaModFix/>
          </a:blip>
          <a:srcRect l="1839" r="1849"/>
          <a:stretch/>
        </p:blipFill>
        <p:spPr>
          <a:xfrm>
            <a:off x="12694300" y="-76200"/>
            <a:ext cx="12816425" cy="14175926"/>
          </a:xfrm>
          <a:prstGeom prst="rect">
            <a:avLst/>
          </a:prstGeom>
          <a:noFill/>
          <a:ln>
            <a:noFill/>
          </a:ln>
        </p:spPr>
      </p:pic>
      <p:pic>
        <p:nvPicPr>
          <p:cNvPr id="125" name="Google Shape;125;p12"/>
          <p:cNvPicPr preferRelativeResize="0"/>
          <p:nvPr/>
        </p:nvPicPr>
        <p:blipFill rotWithShape="1">
          <a:blip r:embed="rId3">
            <a:alphaModFix/>
          </a:blip>
          <a:srcRect/>
          <a:stretch/>
        </p:blipFill>
        <p:spPr>
          <a:xfrm>
            <a:off x="105175" y="-120050"/>
            <a:ext cx="16886927" cy="13836050"/>
          </a:xfrm>
          <a:prstGeom prst="rect">
            <a:avLst/>
          </a:prstGeom>
          <a:noFill/>
          <a:ln>
            <a:noFill/>
          </a:ln>
        </p:spPr>
      </p:pic>
      <p:sp>
        <p:nvSpPr>
          <p:cNvPr id="126" name="Google Shape;126;p12"/>
          <p:cNvSpPr/>
          <p:nvPr/>
        </p:nvSpPr>
        <p:spPr>
          <a:xfrm>
            <a:off x="3093025" y="3550400"/>
            <a:ext cx="17986500" cy="5976300"/>
          </a:xfrm>
          <a:prstGeom prst="rect">
            <a:avLst/>
          </a:prstGeom>
          <a:noFill/>
          <a:ln w="228600" cap="flat" cmpd="sng">
            <a:solidFill>
              <a:srgbClr val="C1F4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27" name="Google Shape;127;p12"/>
          <p:cNvSpPr txBox="1"/>
          <p:nvPr/>
        </p:nvSpPr>
        <p:spPr>
          <a:xfrm>
            <a:off x="4239400" y="1975500"/>
            <a:ext cx="3000000" cy="4602300"/>
          </a:xfrm>
          <a:prstGeom prst="rect">
            <a:avLst/>
          </a:prstGeom>
          <a:solidFill>
            <a:srgbClr val="002A44"/>
          </a:solid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28700" b="1">
                <a:solidFill>
                  <a:srgbClr val="C1F400"/>
                </a:solidFill>
                <a:latin typeface="Century Gothic"/>
                <a:ea typeface="Century Gothic"/>
                <a:cs typeface="Century Gothic"/>
                <a:sym typeface="Century Gothic"/>
              </a:rPr>
              <a:t>“</a:t>
            </a:r>
            <a:endParaRPr>
              <a:solidFill>
                <a:srgbClr val="C1F400"/>
              </a:solidFill>
            </a:endParaRPr>
          </a:p>
        </p:txBody>
      </p:sp>
      <p:sp>
        <p:nvSpPr>
          <p:cNvPr id="128" name="Google Shape;128;p12"/>
          <p:cNvSpPr/>
          <p:nvPr/>
        </p:nvSpPr>
        <p:spPr>
          <a:xfrm>
            <a:off x="22412037" y="536597"/>
            <a:ext cx="1515111" cy="1515111"/>
          </a:xfrm>
          <a:custGeom>
            <a:avLst/>
            <a:gdLst/>
            <a:ahLst/>
            <a:cxnLst/>
            <a:rect l="l" t="t" r="r" b="b"/>
            <a:pathLst>
              <a:path w="1137044" h="1137044" extrusionOk="0">
                <a:moveTo>
                  <a:pt x="0" y="0"/>
                </a:moveTo>
                <a:lnTo>
                  <a:pt x="1137044" y="0"/>
                </a:lnTo>
                <a:lnTo>
                  <a:pt x="1137044" y="1137044"/>
                </a:lnTo>
                <a:lnTo>
                  <a:pt x="0" y="1137044"/>
                </a:lnTo>
                <a:lnTo>
                  <a:pt x="0" y="0"/>
                </a:lnTo>
                <a:close/>
              </a:path>
            </a:pathLst>
          </a:custGeom>
          <a:blipFill rotWithShape="1">
            <a:blip r:embed="rId4">
              <a:alphaModFix/>
            </a:blip>
            <a:stretch>
              <a:fillRect/>
            </a:stretch>
          </a:blipFill>
          <a:ln>
            <a:noFill/>
          </a:ln>
        </p:spPr>
      </p:sp>
      <p:sp>
        <p:nvSpPr>
          <p:cNvPr id="129" name="Google Shape;129;p12"/>
          <p:cNvSpPr txBox="1">
            <a:spLocks noGrp="1"/>
          </p:cNvSpPr>
          <p:nvPr>
            <p:ph type="title"/>
          </p:nvPr>
        </p:nvSpPr>
        <p:spPr>
          <a:xfrm>
            <a:off x="3759125" y="4274225"/>
            <a:ext cx="16554600" cy="4602300"/>
          </a:xfrm>
          <a:prstGeom prst="rect">
            <a:avLst/>
          </a:prstGeom>
          <a:noFill/>
          <a:ln>
            <a:noFill/>
          </a:ln>
        </p:spPr>
        <p:txBody>
          <a:bodyPr spcFirstLastPara="1" wrap="square" lIns="91425" tIns="91425" rIns="91425" bIns="91425" anchor="t" anchorCtr="0">
            <a:normAutofit/>
          </a:bodyPr>
          <a:lstStyle>
            <a:lvl1pPr lvl="0" rtl="0">
              <a:spcBef>
                <a:spcPts val="0"/>
              </a:spcBef>
              <a:spcAft>
                <a:spcPts val="0"/>
              </a:spcAft>
              <a:buClr>
                <a:schemeClr val="lt1"/>
              </a:buClr>
              <a:buSzPts val="8400"/>
              <a:buFont typeface="Montserrat Black"/>
              <a:buNone/>
              <a:defRPr sz="8400">
                <a:solidFill>
                  <a:schemeClr val="lt1"/>
                </a:solidFill>
                <a:latin typeface="Montserrat Black"/>
                <a:ea typeface="Montserrat Black"/>
                <a:cs typeface="Montserrat Black"/>
                <a:sym typeface="Montserrat Black"/>
              </a:defRPr>
            </a:lvl1pPr>
            <a:lvl2pPr lvl="1" rtl="0">
              <a:spcBef>
                <a:spcPts val="0"/>
              </a:spcBef>
              <a:spcAft>
                <a:spcPts val="0"/>
              </a:spcAft>
              <a:buClr>
                <a:schemeClr val="lt1"/>
              </a:buClr>
              <a:buSzPts val="8400"/>
              <a:buNone/>
              <a:defRPr sz="8400">
                <a:solidFill>
                  <a:schemeClr val="lt1"/>
                </a:solidFill>
              </a:defRPr>
            </a:lvl2pPr>
            <a:lvl3pPr lvl="2" rtl="0">
              <a:spcBef>
                <a:spcPts val="0"/>
              </a:spcBef>
              <a:spcAft>
                <a:spcPts val="0"/>
              </a:spcAft>
              <a:buClr>
                <a:schemeClr val="lt1"/>
              </a:buClr>
              <a:buSzPts val="8400"/>
              <a:buNone/>
              <a:defRPr sz="8400">
                <a:solidFill>
                  <a:schemeClr val="lt1"/>
                </a:solidFill>
              </a:defRPr>
            </a:lvl3pPr>
            <a:lvl4pPr lvl="3" rtl="0">
              <a:spcBef>
                <a:spcPts val="0"/>
              </a:spcBef>
              <a:spcAft>
                <a:spcPts val="0"/>
              </a:spcAft>
              <a:buClr>
                <a:schemeClr val="lt1"/>
              </a:buClr>
              <a:buSzPts val="8400"/>
              <a:buNone/>
              <a:defRPr sz="8400">
                <a:solidFill>
                  <a:schemeClr val="lt1"/>
                </a:solidFill>
              </a:defRPr>
            </a:lvl4pPr>
            <a:lvl5pPr lvl="4" rtl="0">
              <a:spcBef>
                <a:spcPts val="0"/>
              </a:spcBef>
              <a:spcAft>
                <a:spcPts val="0"/>
              </a:spcAft>
              <a:buClr>
                <a:schemeClr val="lt1"/>
              </a:buClr>
              <a:buSzPts val="8400"/>
              <a:buNone/>
              <a:defRPr sz="8400">
                <a:solidFill>
                  <a:schemeClr val="lt1"/>
                </a:solidFill>
              </a:defRPr>
            </a:lvl5pPr>
            <a:lvl6pPr lvl="5" rtl="0">
              <a:spcBef>
                <a:spcPts val="0"/>
              </a:spcBef>
              <a:spcAft>
                <a:spcPts val="0"/>
              </a:spcAft>
              <a:buClr>
                <a:schemeClr val="lt1"/>
              </a:buClr>
              <a:buSzPts val="8400"/>
              <a:buNone/>
              <a:defRPr sz="8400">
                <a:solidFill>
                  <a:schemeClr val="lt1"/>
                </a:solidFill>
              </a:defRPr>
            </a:lvl6pPr>
            <a:lvl7pPr lvl="6" rtl="0">
              <a:spcBef>
                <a:spcPts val="0"/>
              </a:spcBef>
              <a:spcAft>
                <a:spcPts val="0"/>
              </a:spcAft>
              <a:buClr>
                <a:schemeClr val="lt1"/>
              </a:buClr>
              <a:buSzPts val="8400"/>
              <a:buNone/>
              <a:defRPr sz="8400">
                <a:solidFill>
                  <a:schemeClr val="lt1"/>
                </a:solidFill>
              </a:defRPr>
            </a:lvl7pPr>
            <a:lvl8pPr lvl="7" rtl="0">
              <a:spcBef>
                <a:spcPts val="0"/>
              </a:spcBef>
              <a:spcAft>
                <a:spcPts val="0"/>
              </a:spcAft>
              <a:buClr>
                <a:schemeClr val="lt1"/>
              </a:buClr>
              <a:buSzPts val="8400"/>
              <a:buNone/>
              <a:defRPr sz="8400">
                <a:solidFill>
                  <a:schemeClr val="lt1"/>
                </a:solidFill>
              </a:defRPr>
            </a:lvl8pPr>
            <a:lvl9pPr lvl="8" rtl="0">
              <a:spcBef>
                <a:spcPts val="0"/>
              </a:spcBef>
              <a:spcAft>
                <a:spcPts val="0"/>
              </a:spcAft>
              <a:buClr>
                <a:schemeClr val="lt1"/>
              </a:buClr>
              <a:buSzPts val="8400"/>
              <a:buNone/>
              <a:defRPr sz="8400">
                <a:solidFill>
                  <a:schemeClr val="lt1"/>
                </a:solidFill>
              </a:defRPr>
            </a:lvl9pPr>
          </a:lstStyle>
          <a:p>
            <a:endParaRPr/>
          </a:p>
        </p:txBody>
      </p:sp>
      <p:sp>
        <p:nvSpPr>
          <p:cNvPr id="130" name="Google Shape;130;p12"/>
          <p:cNvSpPr txBox="1">
            <a:spLocks noGrp="1"/>
          </p:cNvSpPr>
          <p:nvPr>
            <p:ph type="subTitle" idx="1"/>
          </p:nvPr>
        </p:nvSpPr>
        <p:spPr>
          <a:xfrm>
            <a:off x="3760100" y="10404100"/>
            <a:ext cx="8305800" cy="6477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3200"/>
              <a:buFont typeface="Montserrat SemiBold"/>
              <a:buNone/>
              <a:defRPr sz="3200">
                <a:solidFill>
                  <a:schemeClr val="lt1"/>
                </a:solidFill>
                <a:latin typeface="Montserrat SemiBold"/>
                <a:ea typeface="Montserrat SemiBold"/>
                <a:cs typeface="Montserrat SemiBold"/>
                <a:sym typeface="Montserrat SemiBold"/>
              </a:defRPr>
            </a:lvl1pPr>
            <a:lvl2pPr lvl="1" rtl="0">
              <a:spcBef>
                <a:spcPts val="0"/>
              </a:spcBef>
              <a:spcAft>
                <a:spcPts val="0"/>
              </a:spcAft>
              <a:buClr>
                <a:schemeClr val="lt1"/>
              </a:buClr>
              <a:buSzPts val="3200"/>
              <a:buFont typeface="Montserrat Black"/>
              <a:buNone/>
              <a:defRPr sz="3200">
                <a:solidFill>
                  <a:schemeClr val="lt1"/>
                </a:solidFill>
                <a:latin typeface="Montserrat Black"/>
                <a:ea typeface="Montserrat Black"/>
                <a:cs typeface="Montserrat Black"/>
                <a:sym typeface="Montserrat Black"/>
              </a:defRPr>
            </a:lvl2pPr>
            <a:lvl3pPr lvl="2" rtl="0">
              <a:spcBef>
                <a:spcPts val="0"/>
              </a:spcBef>
              <a:spcAft>
                <a:spcPts val="0"/>
              </a:spcAft>
              <a:buClr>
                <a:schemeClr val="lt1"/>
              </a:buClr>
              <a:buSzPts val="3200"/>
              <a:buFont typeface="Montserrat Black"/>
              <a:buNone/>
              <a:defRPr sz="3200">
                <a:solidFill>
                  <a:schemeClr val="lt1"/>
                </a:solidFill>
                <a:latin typeface="Montserrat Black"/>
                <a:ea typeface="Montserrat Black"/>
                <a:cs typeface="Montserrat Black"/>
                <a:sym typeface="Montserrat Black"/>
              </a:defRPr>
            </a:lvl3pPr>
            <a:lvl4pPr lvl="3" rtl="0">
              <a:spcBef>
                <a:spcPts val="0"/>
              </a:spcBef>
              <a:spcAft>
                <a:spcPts val="0"/>
              </a:spcAft>
              <a:buClr>
                <a:schemeClr val="lt1"/>
              </a:buClr>
              <a:buSzPts val="3200"/>
              <a:buFont typeface="Montserrat Black"/>
              <a:buNone/>
              <a:defRPr sz="3200">
                <a:solidFill>
                  <a:schemeClr val="lt1"/>
                </a:solidFill>
                <a:latin typeface="Montserrat Black"/>
                <a:ea typeface="Montserrat Black"/>
                <a:cs typeface="Montserrat Black"/>
                <a:sym typeface="Montserrat Black"/>
              </a:defRPr>
            </a:lvl4pPr>
            <a:lvl5pPr lvl="4" rtl="0">
              <a:spcBef>
                <a:spcPts val="0"/>
              </a:spcBef>
              <a:spcAft>
                <a:spcPts val="0"/>
              </a:spcAft>
              <a:buClr>
                <a:schemeClr val="lt1"/>
              </a:buClr>
              <a:buSzPts val="3200"/>
              <a:buFont typeface="Montserrat Black"/>
              <a:buNone/>
              <a:defRPr sz="3200">
                <a:solidFill>
                  <a:schemeClr val="lt1"/>
                </a:solidFill>
                <a:latin typeface="Montserrat Black"/>
                <a:ea typeface="Montserrat Black"/>
                <a:cs typeface="Montserrat Black"/>
                <a:sym typeface="Montserrat Black"/>
              </a:defRPr>
            </a:lvl5pPr>
            <a:lvl6pPr lvl="5" rtl="0">
              <a:spcBef>
                <a:spcPts val="0"/>
              </a:spcBef>
              <a:spcAft>
                <a:spcPts val="0"/>
              </a:spcAft>
              <a:buClr>
                <a:schemeClr val="lt1"/>
              </a:buClr>
              <a:buSzPts val="3200"/>
              <a:buFont typeface="Montserrat Black"/>
              <a:buNone/>
              <a:defRPr sz="3200">
                <a:solidFill>
                  <a:schemeClr val="lt1"/>
                </a:solidFill>
                <a:latin typeface="Montserrat Black"/>
                <a:ea typeface="Montserrat Black"/>
                <a:cs typeface="Montserrat Black"/>
                <a:sym typeface="Montserrat Black"/>
              </a:defRPr>
            </a:lvl6pPr>
            <a:lvl7pPr lvl="6" rtl="0">
              <a:spcBef>
                <a:spcPts val="0"/>
              </a:spcBef>
              <a:spcAft>
                <a:spcPts val="0"/>
              </a:spcAft>
              <a:buClr>
                <a:schemeClr val="lt1"/>
              </a:buClr>
              <a:buSzPts val="3200"/>
              <a:buFont typeface="Montserrat Black"/>
              <a:buNone/>
              <a:defRPr sz="3200">
                <a:solidFill>
                  <a:schemeClr val="lt1"/>
                </a:solidFill>
                <a:latin typeface="Montserrat Black"/>
                <a:ea typeface="Montserrat Black"/>
                <a:cs typeface="Montserrat Black"/>
                <a:sym typeface="Montserrat Black"/>
              </a:defRPr>
            </a:lvl7pPr>
            <a:lvl8pPr lvl="7" rtl="0">
              <a:spcBef>
                <a:spcPts val="0"/>
              </a:spcBef>
              <a:spcAft>
                <a:spcPts val="0"/>
              </a:spcAft>
              <a:buClr>
                <a:schemeClr val="lt1"/>
              </a:buClr>
              <a:buSzPts val="3200"/>
              <a:buFont typeface="Montserrat Black"/>
              <a:buNone/>
              <a:defRPr sz="3200">
                <a:solidFill>
                  <a:schemeClr val="lt1"/>
                </a:solidFill>
                <a:latin typeface="Montserrat Black"/>
                <a:ea typeface="Montserrat Black"/>
                <a:cs typeface="Montserrat Black"/>
                <a:sym typeface="Montserrat Black"/>
              </a:defRPr>
            </a:lvl8pPr>
            <a:lvl9pPr lvl="8" rtl="0">
              <a:spcBef>
                <a:spcPts val="0"/>
              </a:spcBef>
              <a:spcAft>
                <a:spcPts val="0"/>
              </a:spcAft>
              <a:buClr>
                <a:schemeClr val="lt1"/>
              </a:buClr>
              <a:buSzPts val="3200"/>
              <a:buFont typeface="Montserrat Black"/>
              <a:buNone/>
              <a:defRPr sz="3200">
                <a:solidFill>
                  <a:schemeClr val="lt1"/>
                </a:solidFill>
                <a:latin typeface="Montserrat Black"/>
                <a:ea typeface="Montserrat Black"/>
                <a:cs typeface="Montserrat Black"/>
                <a:sym typeface="Montserrat Black"/>
              </a:defRPr>
            </a:lvl9pPr>
          </a:lstStyle>
          <a:p>
            <a:endParaRPr/>
          </a:p>
        </p:txBody>
      </p:sp>
      <p:sp>
        <p:nvSpPr>
          <p:cNvPr id="131" name="Google Shape;131;p12"/>
          <p:cNvSpPr txBox="1">
            <a:spLocks noGrp="1"/>
          </p:cNvSpPr>
          <p:nvPr>
            <p:ph type="subTitle" idx="2"/>
          </p:nvPr>
        </p:nvSpPr>
        <p:spPr>
          <a:xfrm>
            <a:off x="3760100" y="11051800"/>
            <a:ext cx="8305800" cy="6477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1pPr>
            <a:lvl2pPr lvl="1" rtl="0">
              <a:spcBef>
                <a:spcPts val="0"/>
              </a:spcBef>
              <a:spcAft>
                <a:spcPts val="0"/>
              </a:spcAft>
              <a:buClr>
                <a:schemeClr val="lt1"/>
              </a:buClr>
              <a:buSzPts val="2400"/>
              <a:buFont typeface="Open Sans"/>
              <a:buNone/>
              <a:defRPr sz="2400">
                <a:solidFill>
                  <a:schemeClr val="lt1"/>
                </a:solidFill>
                <a:latin typeface="Open Sans"/>
                <a:ea typeface="Open Sans"/>
                <a:cs typeface="Open Sans"/>
                <a:sym typeface="Open Sans"/>
              </a:defRPr>
            </a:lvl2pPr>
            <a:lvl3pPr lvl="2" rtl="0">
              <a:spcBef>
                <a:spcPts val="0"/>
              </a:spcBef>
              <a:spcAft>
                <a:spcPts val="0"/>
              </a:spcAft>
              <a:buClr>
                <a:schemeClr val="lt1"/>
              </a:buClr>
              <a:buSzPts val="2400"/>
              <a:buFont typeface="Open Sans"/>
              <a:buNone/>
              <a:defRPr sz="2400">
                <a:solidFill>
                  <a:schemeClr val="lt1"/>
                </a:solidFill>
                <a:latin typeface="Open Sans"/>
                <a:ea typeface="Open Sans"/>
                <a:cs typeface="Open Sans"/>
                <a:sym typeface="Open Sans"/>
              </a:defRPr>
            </a:lvl3pPr>
            <a:lvl4pPr lvl="3" rtl="0">
              <a:spcBef>
                <a:spcPts val="0"/>
              </a:spcBef>
              <a:spcAft>
                <a:spcPts val="0"/>
              </a:spcAft>
              <a:buClr>
                <a:schemeClr val="lt1"/>
              </a:buClr>
              <a:buSzPts val="2400"/>
              <a:buFont typeface="Open Sans"/>
              <a:buNone/>
              <a:defRPr sz="2400">
                <a:solidFill>
                  <a:schemeClr val="lt1"/>
                </a:solidFill>
                <a:latin typeface="Open Sans"/>
                <a:ea typeface="Open Sans"/>
                <a:cs typeface="Open Sans"/>
                <a:sym typeface="Open Sans"/>
              </a:defRPr>
            </a:lvl4pPr>
            <a:lvl5pPr lvl="4" rtl="0">
              <a:spcBef>
                <a:spcPts val="0"/>
              </a:spcBef>
              <a:spcAft>
                <a:spcPts val="0"/>
              </a:spcAft>
              <a:buClr>
                <a:schemeClr val="lt1"/>
              </a:buClr>
              <a:buSzPts val="2400"/>
              <a:buFont typeface="Open Sans"/>
              <a:buNone/>
              <a:defRPr sz="2400">
                <a:solidFill>
                  <a:schemeClr val="lt1"/>
                </a:solidFill>
                <a:latin typeface="Open Sans"/>
                <a:ea typeface="Open Sans"/>
                <a:cs typeface="Open Sans"/>
                <a:sym typeface="Open Sans"/>
              </a:defRPr>
            </a:lvl5pPr>
            <a:lvl6pPr lvl="5" rtl="0">
              <a:spcBef>
                <a:spcPts val="0"/>
              </a:spcBef>
              <a:spcAft>
                <a:spcPts val="0"/>
              </a:spcAft>
              <a:buClr>
                <a:schemeClr val="lt1"/>
              </a:buClr>
              <a:buSzPts val="2400"/>
              <a:buFont typeface="Open Sans"/>
              <a:buNone/>
              <a:defRPr sz="2400">
                <a:solidFill>
                  <a:schemeClr val="lt1"/>
                </a:solidFill>
                <a:latin typeface="Open Sans"/>
                <a:ea typeface="Open Sans"/>
                <a:cs typeface="Open Sans"/>
                <a:sym typeface="Open Sans"/>
              </a:defRPr>
            </a:lvl6pPr>
            <a:lvl7pPr lvl="6" rtl="0">
              <a:spcBef>
                <a:spcPts val="0"/>
              </a:spcBef>
              <a:spcAft>
                <a:spcPts val="0"/>
              </a:spcAft>
              <a:buClr>
                <a:schemeClr val="lt1"/>
              </a:buClr>
              <a:buSzPts val="2400"/>
              <a:buFont typeface="Open Sans"/>
              <a:buNone/>
              <a:defRPr sz="2400">
                <a:solidFill>
                  <a:schemeClr val="lt1"/>
                </a:solidFill>
                <a:latin typeface="Open Sans"/>
                <a:ea typeface="Open Sans"/>
                <a:cs typeface="Open Sans"/>
                <a:sym typeface="Open Sans"/>
              </a:defRPr>
            </a:lvl7pPr>
            <a:lvl8pPr lvl="7" rtl="0">
              <a:spcBef>
                <a:spcPts val="0"/>
              </a:spcBef>
              <a:spcAft>
                <a:spcPts val="0"/>
              </a:spcAft>
              <a:buClr>
                <a:schemeClr val="lt1"/>
              </a:buClr>
              <a:buSzPts val="2400"/>
              <a:buFont typeface="Open Sans"/>
              <a:buNone/>
              <a:defRPr sz="2400">
                <a:solidFill>
                  <a:schemeClr val="lt1"/>
                </a:solidFill>
                <a:latin typeface="Open Sans"/>
                <a:ea typeface="Open Sans"/>
                <a:cs typeface="Open Sans"/>
                <a:sym typeface="Open Sans"/>
              </a:defRPr>
            </a:lvl8pPr>
            <a:lvl9pPr lvl="8" rtl="0">
              <a:spcBef>
                <a:spcPts val="0"/>
              </a:spcBef>
              <a:spcAft>
                <a:spcPts val="0"/>
              </a:spcAft>
              <a:buClr>
                <a:schemeClr val="lt1"/>
              </a:buClr>
              <a:buSzPts val="2400"/>
              <a:buFont typeface="Open Sans"/>
              <a:buNone/>
              <a:defRPr sz="2400">
                <a:solidFill>
                  <a:schemeClr val="lt1"/>
                </a:solidFill>
                <a:latin typeface="Open Sans"/>
                <a:ea typeface="Open Sans"/>
                <a:cs typeface="Open Sans"/>
                <a:sym typeface="Open Sans"/>
              </a:defRPr>
            </a:lvl9pPr>
          </a:lstStyle>
          <a:p>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Six Bullet Points">
  <p:cSld name="Six Bullet Points">
    <p:bg>
      <p:bgPr>
        <a:solidFill>
          <a:srgbClr val="002A44"/>
        </a:solidFill>
        <a:effectLst/>
      </p:bgPr>
    </p:bg>
    <p:spTree>
      <p:nvGrpSpPr>
        <p:cNvPr id="1" name="Shape 160"/>
        <p:cNvGrpSpPr/>
        <p:nvPr/>
      </p:nvGrpSpPr>
      <p:grpSpPr>
        <a:xfrm>
          <a:off x="0" y="0"/>
          <a:ext cx="0" cy="0"/>
          <a:chOff x="0" y="0"/>
          <a:chExt cx="0" cy="0"/>
        </a:xfrm>
      </p:grpSpPr>
      <p:pic>
        <p:nvPicPr>
          <p:cNvPr id="161" name="Google Shape;161;p15"/>
          <p:cNvPicPr preferRelativeResize="0"/>
          <p:nvPr/>
        </p:nvPicPr>
        <p:blipFill rotWithShape="1">
          <a:blip r:embed="rId2">
            <a:alphaModFix/>
          </a:blip>
          <a:srcRect b="93557"/>
          <a:stretch/>
        </p:blipFill>
        <p:spPr>
          <a:xfrm>
            <a:off x="0" y="13111675"/>
            <a:ext cx="24377651" cy="604325"/>
          </a:xfrm>
          <a:prstGeom prst="rect">
            <a:avLst/>
          </a:prstGeom>
          <a:noFill/>
          <a:ln>
            <a:noFill/>
          </a:ln>
        </p:spPr>
      </p:pic>
      <p:sp>
        <p:nvSpPr>
          <p:cNvPr id="162" name="Google Shape;162;p15"/>
          <p:cNvSpPr/>
          <p:nvPr/>
        </p:nvSpPr>
        <p:spPr>
          <a:xfrm>
            <a:off x="22412037" y="536597"/>
            <a:ext cx="1515111" cy="1515111"/>
          </a:xfrm>
          <a:custGeom>
            <a:avLst/>
            <a:gdLst/>
            <a:ahLst/>
            <a:cxnLst/>
            <a:rect l="l" t="t" r="r" b="b"/>
            <a:pathLst>
              <a:path w="1137044" h="1137044" extrusionOk="0">
                <a:moveTo>
                  <a:pt x="0" y="0"/>
                </a:moveTo>
                <a:lnTo>
                  <a:pt x="1137044" y="0"/>
                </a:lnTo>
                <a:lnTo>
                  <a:pt x="1137044" y="1137044"/>
                </a:lnTo>
                <a:lnTo>
                  <a:pt x="0" y="1137044"/>
                </a:lnTo>
                <a:lnTo>
                  <a:pt x="0" y="0"/>
                </a:lnTo>
                <a:close/>
              </a:path>
            </a:pathLst>
          </a:custGeom>
          <a:blipFill rotWithShape="1">
            <a:blip r:embed="rId3">
              <a:alphaModFix/>
            </a:blip>
            <a:stretch>
              <a:fillRect/>
            </a:stretch>
          </a:blipFill>
          <a:ln>
            <a:noFill/>
          </a:ln>
        </p:spPr>
      </p:sp>
      <p:sp>
        <p:nvSpPr>
          <p:cNvPr id="163" name="Google Shape;163;p15"/>
          <p:cNvSpPr txBox="1">
            <a:spLocks noGrp="1"/>
          </p:cNvSpPr>
          <p:nvPr>
            <p:ph type="title"/>
          </p:nvPr>
        </p:nvSpPr>
        <p:spPr>
          <a:xfrm>
            <a:off x="1990350" y="2201850"/>
            <a:ext cx="19257600" cy="1370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7200"/>
              <a:buFont typeface="Montserrat Black"/>
              <a:buNone/>
              <a:defRPr sz="7200">
                <a:solidFill>
                  <a:schemeClr val="lt1"/>
                </a:solidFill>
                <a:latin typeface="Montserrat Black"/>
                <a:ea typeface="Montserrat Black"/>
                <a:cs typeface="Montserrat Black"/>
                <a:sym typeface="Montserrat Black"/>
              </a:defRPr>
            </a:lvl1pPr>
            <a:lvl2pPr lvl="1" rtl="0">
              <a:spcBef>
                <a:spcPts val="0"/>
              </a:spcBef>
              <a:spcAft>
                <a:spcPts val="0"/>
              </a:spcAft>
              <a:buClr>
                <a:schemeClr val="lt1"/>
              </a:buClr>
              <a:buSzPts val="7200"/>
              <a:buNone/>
              <a:defRPr sz="7200">
                <a:solidFill>
                  <a:schemeClr val="lt1"/>
                </a:solidFill>
              </a:defRPr>
            </a:lvl2pPr>
            <a:lvl3pPr lvl="2" rtl="0">
              <a:spcBef>
                <a:spcPts val="0"/>
              </a:spcBef>
              <a:spcAft>
                <a:spcPts val="0"/>
              </a:spcAft>
              <a:buClr>
                <a:schemeClr val="lt1"/>
              </a:buClr>
              <a:buSzPts val="7200"/>
              <a:buNone/>
              <a:defRPr sz="7200">
                <a:solidFill>
                  <a:schemeClr val="lt1"/>
                </a:solidFill>
              </a:defRPr>
            </a:lvl3pPr>
            <a:lvl4pPr lvl="3" rtl="0">
              <a:spcBef>
                <a:spcPts val="0"/>
              </a:spcBef>
              <a:spcAft>
                <a:spcPts val="0"/>
              </a:spcAft>
              <a:buClr>
                <a:schemeClr val="lt1"/>
              </a:buClr>
              <a:buSzPts val="7200"/>
              <a:buNone/>
              <a:defRPr sz="7200">
                <a:solidFill>
                  <a:schemeClr val="lt1"/>
                </a:solidFill>
              </a:defRPr>
            </a:lvl4pPr>
            <a:lvl5pPr lvl="4" rtl="0">
              <a:spcBef>
                <a:spcPts val="0"/>
              </a:spcBef>
              <a:spcAft>
                <a:spcPts val="0"/>
              </a:spcAft>
              <a:buClr>
                <a:schemeClr val="lt1"/>
              </a:buClr>
              <a:buSzPts val="7200"/>
              <a:buNone/>
              <a:defRPr sz="7200">
                <a:solidFill>
                  <a:schemeClr val="lt1"/>
                </a:solidFill>
              </a:defRPr>
            </a:lvl5pPr>
            <a:lvl6pPr lvl="5" rtl="0">
              <a:spcBef>
                <a:spcPts val="0"/>
              </a:spcBef>
              <a:spcAft>
                <a:spcPts val="0"/>
              </a:spcAft>
              <a:buClr>
                <a:schemeClr val="lt1"/>
              </a:buClr>
              <a:buSzPts val="7200"/>
              <a:buNone/>
              <a:defRPr sz="7200">
                <a:solidFill>
                  <a:schemeClr val="lt1"/>
                </a:solidFill>
              </a:defRPr>
            </a:lvl6pPr>
            <a:lvl7pPr lvl="6" rtl="0">
              <a:spcBef>
                <a:spcPts val="0"/>
              </a:spcBef>
              <a:spcAft>
                <a:spcPts val="0"/>
              </a:spcAft>
              <a:buClr>
                <a:schemeClr val="lt1"/>
              </a:buClr>
              <a:buSzPts val="7200"/>
              <a:buNone/>
              <a:defRPr sz="7200">
                <a:solidFill>
                  <a:schemeClr val="lt1"/>
                </a:solidFill>
              </a:defRPr>
            </a:lvl7pPr>
            <a:lvl8pPr lvl="7" rtl="0">
              <a:spcBef>
                <a:spcPts val="0"/>
              </a:spcBef>
              <a:spcAft>
                <a:spcPts val="0"/>
              </a:spcAft>
              <a:buClr>
                <a:schemeClr val="lt1"/>
              </a:buClr>
              <a:buSzPts val="7200"/>
              <a:buNone/>
              <a:defRPr sz="7200">
                <a:solidFill>
                  <a:schemeClr val="lt1"/>
                </a:solidFill>
              </a:defRPr>
            </a:lvl8pPr>
            <a:lvl9pPr lvl="8" rtl="0">
              <a:spcBef>
                <a:spcPts val="0"/>
              </a:spcBef>
              <a:spcAft>
                <a:spcPts val="0"/>
              </a:spcAft>
              <a:buClr>
                <a:schemeClr val="lt1"/>
              </a:buClr>
              <a:buSzPts val="7200"/>
              <a:buNone/>
              <a:defRPr sz="7200">
                <a:solidFill>
                  <a:schemeClr val="lt1"/>
                </a:solidFill>
              </a:defRPr>
            </a:lvl9pPr>
          </a:lstStyle>
          <a:p>
            <a:endParaRPr/>
          </a:p>
        </p:txBody>
      </p:sp>
      <p:sp>
        <p:nvSpPr>
          <p:cNvPr id="164" name="Google Shape;164;p15"/>
          <p:cNvSpPr txBox="1">
            <a:spLocks noGrp="1"/>
          </p:cNvSpPr>
          <p:nvPr>
            <p:ph type="subTitle" idx="1"/>
          </p:nvPr>
        </p:nvSpPr>
        <p:spPr>
          <a:xfrm>
            <a:off x="2050300" y="3798050"/>
            <a:ext cx="20078700" cy="1681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3600"/>
              <a:buFont typeface="Montserrat"/>
              <a:buNone/>
              <a:defRPr sz="3600">
                <a:solidFill>
                  <a:schemeClr val="lt1"/>
                </a:solidFill>
                <a:latin typeface="Montserrat"/>
                <a:ea typeface="Montserrat"/>
                <a:cs typeface="Montserrat"/>
                <a:sym typeface="Montserrat"/>
              </a:defRPr>
            </a:lvl1pPr>
            <a:lvl2pPr lvl="1" rtl="0">
              <a:spcBef>
                <a:spcPts val="0"/>
              </a:spcBef>
              <a:spcAft>
                <a:spcPts val="0"/>
              </a:spcAft>
              <a:buClr>
                <a:schemeClr val="lt1"/>
              </a:buClr>
              <a:buSzPts val="3600"/>
              <a:buNone/>
              <a:defRPr sz="3600">
                <a:solidFill>
                  <a:schemeClr val="lt1"/>
                </a:solidFill>
              </a:defRPr>
            </a:lvl2pPr>
            <a:lvl3pPr lvl="2" rtl="0">
              <a:spcBef>
                <a:spcPts val="0"/>
              </a:spcBef>
              <a:spcAft>
                <a:spcPts val="0"/>
              </a:spcAft>
              <a:buClr>
                <a:schemeClr val="lt1"/>
              </a:buClr>
              <a:buSzPts val="3600"/>
              <a:buNone/>
              <a:defRPr sz="3600">
                <a:solidFill>
                  <a:schemeClr val="lt1"/>
                </a:solidFill>
              </a:defRPr>
            </a:lvl3pPr>
            <a:lvl4pPr lvl="3" rtl="0">
              <a:spcBef>
                <a:spcPts val="0"/>
              </a:spcBef>
              <a:spcAft>
                <a:spcPts val="0"/>
              </a:spcAft>
              <a:buClr>
                <a:schemeClr val="lt1"/>
              </a:buClr>
              <a:buSzPts val="3600"/>
              <a:buNone/>
              <a:defRPr sz="3600">
                <a:solidFill>
                  <a:schemeClr val="lt1"/>
                </a:solidFill>
              </a:defRPr>
            </a:lvl4pPr>
            <a:lvl5pPr lvl="4" rtl="0">
              <a:spcBef>
                <a:spcPts val="0"/>
              </a:spcBef>
              <a:spcAft>
                <a:spcPts val="0"/>
              </a:spcAft>
              <a:buClr>
                <a:schemeClr val="lt1"/>
              </a:buClr>
              <a:buSzPts val="3600"/>
              <a:buNone/>
              <a:defRPr sz="3600">
                <a:solidFill>
                  <a:schemeClr val="lt1"/>
                </a:solidFill>
              </a:defRPr>
            </a:lvl5pPr>
            <a:lvl6pPr lvl="5" rtl="0">
              <a:spcBef>
                <a:spcPts val="0"/>
              </a:spcBef>
              <a:spcAft>
                <a:spcPts val="0"/>
              </a:spcAft>
              <a:buClr>
                <a:schemeClr val="lt1"/>
              </a:buClr>
              <a:buSzPts val="3600"/>
              <a:buNone/>
              <a:defRPr sz="3600">
                <a:solidFill>
                  <a:schemeClr val="lt1"/>
                </a:solidFill>
              </a:defRPr>
            </a:lvl6pPr>
            <a:lvl7pPr lvl="6" rtl="0">
              <a:spcBef>
                <a:spcPts val="0"/>
              </a:spcBef>
              <a:spcAft>
                <a:spcPts val="0"/>
              </a:spcAft>
              <a:buClr>
                <a:schemeClr val="lt1"/>
              </a:buClr>
              <a:buSzPts val="3600"/>
              <a:buNone/>
              <a:defRPr sz="3600">
                <a:solidFill>
                  <a:schemeClr val="lt1"/>
                </a:solidFill>
              </a:defRPr>
            </a:lvl7pPr>
            <a:lvl8pPr lvl="7" rtl="0">
              <a:spcBef>
                <a:spcPts val="0"/>
              </a:spcBef>
              <a:spcAft>
                <a:spcPts val="0"/>
              </a:spcAft>
              <a:buClr>
                <a:schemeClr val="lt1"/>
              </a:buClr>
              <a:buSzPts val="3600"/>
              <a:buNone/>
              <a:defRPr sz="3600">
                <a:solidFill>
                  <a:schemeClr val="lt1"/>
                </a:solidFill>
              </a:defRPr>
            </a:lvl8pPr>
            <a:lvl9pPr lvl="8" rtl="0">
              <a:spcBef>
                <a:spcPts val="0"/>
              </a:spcBef>
              <a:spcAft>
                <a:spcPts val="0"/>
              </a:spcAft>
              <a:buClr>
                <a:schemeClr val="lt1"/>
              </a:buClr>
              <a:buSzPts val="3600"/>
              <a:buNone/>
              <a:defRPr sz="3600">
                <a:solidFill>
                  <a:schemeClr val="lt1"/>
                </a:solidFill>
              </a:defRPr>
            </a:lvl9pPr>
          </a:lstStyle>
          <a:p>
            <a:endParaRPr/>
          </a:p>
        </p:txBody>
      </p:sp>
      <p:sp>
        <p:nvSpPr>
          <p:cNvPr id="165" name="Google Shape;165;p15"/>
          <p:cNvSpPr/>
          <p:nvPr/>
        </p:nvSpPr>
        <p:spPr>
          <a:xfrm>
            <a:off x="2167172" y="6117646"/>
            <a:ext cx="514200" cy="514200"/>
          </a:xfrm>
          <a:prstGeom prst="ellipse">
            <a:avLst/>
          </a:prstGeom>
          <a:solidFill>
            <a:srgbClr val="C1F4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6" name="Google Shape;166;p15"/>
          <p:cNvSpPr/>
          <p:nvPr/>
        </p:nvSpPr>
        <p:spPr>
          <a:xfrm>
            <a:off x="2167172" y="7905996"/>
            <a:ext cx="514200" cy="514200"/>
          </a:xfrm>
          <a:prstGeom prst="ellipse">
            <a:avLst/>
          </a:prstGeom>
          <a:solidFill>
            <a:srgbClr val="C1F4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7" name="Google Shape;167;p15"/>
          <p:cNvSpPr/>
          <p:nvPr/>
        </p:nvSpPr>
        <p:spPr>
          <a:xfrm>
            <a:off x="2167172" y="9812996"/>
            <a:ext cx="514200" cy="514200"/>
          </a:xfrm>
          <a:prstGeom prst="ellipse">
            <a:avLst/>
          </a:prstGeom>
          <a:solidFill>
            <a:srgbClr val="C1F4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8" name="Google Shape;168;p15"/>
          <p:cNvSpPr txBox="1">
            <a:spLocks noGrp="1"/>
          </p:cNvSpPr>
          <p:nvPr>
            <p:ph type="subTitle" idx="2"/>
          </p:nvPr>
        </p:nvSpPr>
        <p:spPr>
          <a:xfrm>
            <a:off x="3043649" y="6117650"/>
            <a:ext cx="9073800" cy="753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400"/>
              <a:buFont typeface="Montserrat SemiBold"/>
              <a:buNone/>
              <a:defRPr sz="2400">
                <a:solidFill>
                  <a:srgbClr val="C1F400"/>
                </a:solidFill>
                <a:latin typeface="Montserrat SemiBold"/>
                <a:ea typeface="Montserrat SemiBold"/>
                <a:cs typeface="Montserrat SemiBold"/>
                <a:sym typeface="Montserrat SemiBold"/>
              </a:defRPr>
            </a:lvl1pPr>
            <a:lvl2pPr lvl="1"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2pPr>
            <a:lvl3pPr lvl="2"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3pPr>
            <a:lvl4pPr lvl="3"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4pPr>
            <a:lvl5pPr lvl="4"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5pPr>
            <a:lvl6pPr lvl="5"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6pPr>
            <a:lvl7pPr lvl="6"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7pPr>
            <a:lvl8pPr lvl="7"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8pPr>
            <a:lvl9pPr lvl="8"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9pPr>
          </a:lstStyle>
          <a:p>
            <a:endParaRPr/>
          </a:p>
        </p:txBody>
      </p:sp>
      <p:sp>
        <p:nvSpPr>
          <p:cNvPr id="169" name="Google Shape;169;p15"/>
          <p:cNvSpPr txBox="1">
            <a:spLocks noGrp="1"/>
          </p:cNvSpPr>
          <p:nvPr>
            <p:ph type="subTitle" idx="3"/>
          </p:nvPr>
        </p:nvSpPr>
        <p:spPr>
          <a:xfrm>
            <a:off x="3043649" y="7906000"/>
            <a:ext cx="9073800" cy="753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400"/>
              <a:buFont typeface="Montserrat SemiBold"/>
              <a:buNone/>
              <a:defRPr sz="2400">
                <a:solidFill>
                  <a:srgbClr val="C1F400"/>
                </a:solidFill>
                <a:latin typeface="Montserrat SemiBold"/>
                <a:ea typeface="Montserrat SemiBold"/>
                <a:cs typeface="Montserrat SemiBold"/>
                <a:sym typeface="Montserrat SemiBold"/>
              </a:defRPr>
            </a:lvl1pPr>
            <a:lvl2pPr lvl="1"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2pPr>
            <a:lvl3pPr lvl="2"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3pPr>
            <a:lvl4pPr lvl="3"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4pPr>
            <a:lvl5pPr lvl="4"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5pPr>
            <a:lvl6pPr lvl="5"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6pPr>
            <a:lvl7pPr lvl="6"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7pPr>
            <a:lvl8pPr lvl="7"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8pPr>
            <a:lvl9pPr lvl="8"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9pPr>
          </a:lstStyle>
          <a:p>
            <a:endParaRPr/>
          </a:p>
        </p:txBody>
      </p:sp>
      <p:sp>
        <p:nvSpPr>
          <p:cNvPr id="170" name="Google Shape;170;p15"/>
          <p:cNvSpPr txBox="1">
            <a:spLocks noGrp="1"/>
          </p:cNvSpPr>
          <p:nvPr>
            <p:ph type="subTitle" idx="4"/>
          </p:nvPr>
        </p:nvSpPr>
        <p:spPr>
          <a:xfrm>
            <a:off x="3043649" y="9813000"/>
            <a:ext cx="9073800" cy="753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400"/>
              <a:buFont typeface="Montserrat SemiBold"/>
              <a:buNone/>
              <a:defRPr sz="2400">
                <a:solidFill>
                  <a:srgbClr val="C1F400"/>
                </a:solidFill>
                <a:latin typeface="Montserrat SemiBold"/>
                <a:ea typeface="Montserrat SemiBold"/>
                <a:cs typeface="Montserrat SemiBold"/>
                <a:sym typeface="Montserrat SemiBold"/>
              </a:defRPr>
            </a:lvl1pPr>
            <a:lvl2pPr lvl="1"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2pPr>
            <a:lvl3pPr lvl="2"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3pPr>
            <a:lvl4pPr lvl="3"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4pPr>
            <a:lvl5pPr lvl="4"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5pPr>
            <a:lvl6pPr lvl="5"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6pPr>
            <a:lvl7pPr lvl="6"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7pPr>
            <a:lvl8pPr lvl="7"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8pPr>
            <a:lvl9pPr lvl="8"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9pPr>
          </a:lstStyle>
          <a:p>
            <a:endParaRPr/>
          </a:p>
        </p:txBody>
      </p:sp>
      <p:sp>
        <p:nvSpPr>
          <p:cNvPr id="171" name="Google Shape;171;p15"/>
          <p:cNvSpPr/>
          <p:nvPr/>
        </p:nvSpPr>
        <p:spPr>
          <a:xfrm>
            <a:off x="12640247" y="6117646"/>
            <a:ext cx="514200" cy="514200"/>
          </a:xfrm>
          <a:prstGeom prst="ellipse">
            <a:avLst/>
          </a:prstGeom>
          <a:solidFill>
            <a:srgbClr val="C1F4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2" name="Google Shape;172;p15"/>
          <p:cNvSpPr/>
          <p:nvPr/>
        </p:nvSpPr>
        <p:spPr>
          <a:xfrm>
            <a:off x="12640247" y="7905996"/>
            <a:ext cx="514200" cy="514200"/>
          </a:xfrm>
          <a:prstGeom prst="ellipse">
            <a:avLst/>
          </a:prstGeom>
          <a:solidFill>
            <a:srgbClr val="C1F4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3" name="Google Shape;173;p15"/>
          <p:cNvSpPr/>
          <p:nvPr/>
        </p:nvSpPr>
        <p:spPr>
          <a:xfrm>
            <a:off x="12640247" y="9812996"/>
            <a:ext cx="514200" cy="514200"/>
          </a:xfrm>
          <a:prstGeom prst="ellipse">
            <a:avLst/>
          </a:prstGeom>
          <a:solidFill>
            <a:srgbClr val="C1F4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4" name="Google Shape;174;p15"/>
          <p:cNvSpPr txBox="1">
            <a:spLocks noGrp="1"/>
          </p:cNvSpPr>
          <p:nvPr>
            <p:ph type="subTitle" idx="5"/>
          </p:nvPr>
        </p:nvSpPr>
        <p:spPr>
          <a:xfrm>
            <a:off x="13516724" y="6117650"/>
            <a:ext cx="9073800" cy="753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400"/>
              <a:buFont typeface="Montserrat SemiBold"/>
              <a:buNone/>
              <a:defRPr sz="2400">
                <a:solidFill>
                  <a:srgbClr val="C1F400"/>
                </a:solidFill>
                <a:latin typeface="Montserrat SemiBold"/>
                <a:ea typeface="Montserrat SemiBold"/>
                <a:cs typeface="Montserrat SemiBold"/>
                <a:sym typeface="Montserrat SemiBold"/>
              </a:defRPr>
            </a:lvl1pPr>
            <a:lvl2pPr lvl="1"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2pPr>
            <a:lvl3pPr lvl="2"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3pPr>
            <a:lvl4pPr lvl="3"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4pPr>
            <a:lvl5pPr lvl="4"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5pPr>
            <a:lvl6pPr lvl="5"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6pPr>
            <a:lvl7pPr lvl="6"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7pPr>
            <a:lvl8pPr lvl="7"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8pPr>
            <a:lvl9pPr lvl="8"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9pPr>
          </a:lstStyle>
          <a:p>
            <a:endParaRPr/>
          </a:p>
        </p:txBody>
      </p:sp>
      <p:sp>
        <p:nvSpPr>
          <p:cNvPr id="175" name="Google Shape;175;p15"/>
          <p:cNvSpPr txBox="1">
            <a:spLocks noGrp="1"/>
          </p:cNvSpPr>
          <p:nvPr>
            <p:ph type="subTitle" idx="6"/>
          </p:nvPr>
        </p:nvSpPr>
        <p:spPr>
          <a:xfrm>
            <a:off x="13516724" y="7906000"/>
            <a:ext cx="9073800" cy="753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400"/>
              <a:buFont typeface="Montserrat SemiBold"/>
              <a:buNone/>
              <a:defRPr sz="2400">
                <a:solidFill>
                  <a:srgbClr val="C1F400"/>
                </a:solidFill>
                <a:latin typeface="Montserrat SemiBold"/>
                <a:ea typeface="Montserrat SemiBold"/>
                <a:cs typeface="Montserrat SemiBold"/>
                <a:sym typeface="Montserrat SemiBold"/>
              </a:defRPr>
            </a:lvl1pPr>
            <a:lvl2pPr lvl="1"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2pPr>
            <a:lvl3pPr lvl="2"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3pPr>
            <a:lvl4pPr lvl="3"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4pPr>
            <a:lvl5pPr lvl="4"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5pPr>
            <a:lvl6pPr lvl="5"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6pPr>
            <a:lvl7pPr lvl="6"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7pPr>
            <a:lvl8pPr lvl="7"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8pPr>
            <a:lvl9pPr lvl="8"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9pPr>
          </a:lstStyle>
          <a:p>
            <a:endParaRPr/>
          </a:p>
        </p:txBody>
      </p:sp>
      <p:sp>
        <p:nvSpPr>
          <p:cNvPr id="176" name="Google Shape;176;p15"/>
          <p:cNvSpPr txBox="1">
            <a:spLocks noGrp="1"/>
          </p:cNvSpPr>
          <p:nvPr>
            <p:ph type="subTitle" idx="7"/>
          </p:nvPr>
        </p:nvSpPr>
        <p:spPr>
          <a:xfrm>
            <a:off x="13516724" y="9813000"/>
            <a:ext cx="9073800" cy="753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400"/>
              <a:buFont typeface="Montserrat SemiBold"/>
              <a:buNone/>
              <a:defRPr sz="2400">
                <a:solidFill>
                  <a:srgbClr val="C1F400"/>
                </a:solidFill>
                <a:latin typeface="Montserrat SemiBold"/>
                <a:ea typeface="Montserrat SemiBold"/>
                <a:cs typeface="Montserrat SemiBold"/>
                <a:sym typeface="Montserrat SemiBold"/>
              </a:defRPr>
            </a:lvl1pPr>
            <a:lvl2pPr lvl="1"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2pPr>
            <a:lvl3pPr lvl="2"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3pPr>
            <a:lvl4pPr lvl="3"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4pPr>
            <a:lvl5pPr lvl="4"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5pPr>
            <a:lvl6pPr lvl="5"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6pPr>
            <a:lvl7pPr lvl="6"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7pPr>
            <a:lvl8pPr lvl="7"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8pPr>
            <a:lvl9pPr lvl="8"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9pPr>
          </a:lstStyle>
          <a:p>
            <a:endParaRPr/>
          </a:p>
        </p:txBody>
      </p:sp>
      <p:pic>
        <p:nvPicPr>
          <p:cNvPr id="177" name="Google Shape;177;p15"/>
          <p:cNvPicPr preferRelativeResize="0"/>
          <p:nvPr/>
        </p:nvPicPr>
        <p:blipFill rotWithShape="1">
          <a:blip r:embed="rId2">
            <a:alphaModFix/>
          </a:blip>
          <a:srcRect t="83846"/>
          <a:stretch/>
        </p:blipFill>
        <p:spPr>
          <a:xfrm>
            <a:off x="-2992950" y="-451525"/>
            <a:ext cx="24377651" cy="1515099"/>
          </a:xfrm>
          <a:prstGeom prst="rect">
            <a:avLst/>
          </a:prstGeom>
          <a:noFill/>
          <a:ln>
            <a:noFill/>
          </a:ln>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Six Bullet Points Light">
  <p:cSld name="Six Bullet Points Light">
    <p:bg>
      <p:bgPr>
        <a:solidFill>
          <a:schemeClr val="lt1"/>
        </a:solidFill>
        <a:effectLst/>
      </p:bgPr>
    </p:bg>
    <p:spTree>
      <p:nvGrpSpPr>
        <p:cNvPr id="1" name="Shape 178"/>
        <p:cNvGrpSpPr/>
        <p:nvPr/>
      </p:nvGrpSpPr>
      <p:grpSpPr>
        <a:xfrm>
          <a:off x="0" y="0"/>
          <a:ext cx="0" cy="0"/>
          <a:chOff x="0" y="0"/>
          <a:chExt cx="0" cy="0"/>
        </a:xfrm>
      </p:grpSpPr>
      <p:pic>
        <p:nvPicPr>
          <p:cNvPr id="179" name="Google Shape;179;p16"/>
          <p:cNvPicPr preferRelativeResize="0"/>
          <p:nvPr/>
        </p:nvPicPr>
        <p:blipFill rotWithShape="1">
          <a:blip r:embed="rId2">
            <a:alphaModFix/>
          </a:blip>
          <a:srcRect b="93557"/>
          <a:stretch/>
        </p:blipFill>
        <p:spPr>
          <a:xfrm>
            <a:off x="0" y="13111675"/>
            <a:ext cx="24377651" cy="604325"/>
          </a:xfrm>
          <a:prstGeom prst="rect">
            <a:avLst/>
          </a:prstGeom>
          <a:noFill/>
          <a:ln>
            <a:noFill/>
          </a:ln>
        </p:spPr>
      </p:pic>
      <p:sp>
        <p:nvSpPr>
          <p:cNvPr id="180" name="Google Shape;180;p16"/>
          <p:cNvSpPr/>
          <p:nvPr/>
        </p:nvSpPr>
        <p:spPr>
          <a:xfrm>
            <a:off x="22412037" y="536597"/>
            <a:ext cx="1515111" cy="1515111"/>
          </a:xfrm>
          <a:custGeom>
            <a:avLst/>
            <a:gdLst/>
            <a:ahLst/>
            <a:cxnLst/>
            <a:rect l="l" t="t" r="r" b="b"/>
            <a:pathLst>
              <a:path w="1137044" h="1137044" extrusionOk="0">
                <a:moveTo>
                  <a:pt x="0" y="0"/>
                </a:moveTo>
                <a:lnTo>
                  <a:pt x="1137044" y="0"/>
                </a:lnTo>
                <a:lnTo>
                  <a:pt x="1137044" y="1137044"/>
                </a:lnTo>
                <a:lnTo>
                  <a:pt x="0" y="1137044"/>
                </a:lnTo>
                <a:lnTo>
                  <a:pt x="0" y="0"/>
                </a:lnTo>
                <a:close/>
              </a:path>
            </a:pathLst>
          </a:custGeom>
          <a:blipFill rotWithShape="1">
            <a:blip r:embed="rId3">
              <a:alphaModFix/>
            </a:blip>
            <a:stretch>
              <a:fillRect/>
            </a:stretch>
          </a:blipFill>
          <a:ln>
            <a:noFill/>
          </a:ln>
        </p:spPr>
      </p:sp>
      <p:sp>
        <p:nvSpPr>
          <p:cNvPr id="181" name="Google Shape;181;p16"/>
          <p:cNvSpPr txBox="1">
            <a:spLocks noGrp="1"/>
          </p:cNvSpPr>
          <p:nvPr>
            <p:ph type="title"/>
          </p:nvPr>
        </p:nvSpPr>
        <p:spPr>
          <a:xfrm>
            <a:off x="1990350" y="2201850"/>
            <a:ext cx="19257600" cy="1370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D45"/>
              </a:buClr>
              <a:buSzPts val="7200"/>
              <a:buFont typeface="Montserrat Black"/>
              <a:buNone/>
              <a:defRPr sz="7200">
                <a:solidFill>
                  <a:srgbClr val="002D45"/>
                </a:solidFill>
                <a:latin typeface="Montserrat Black"/>
                <a:ea typeface="Montserrat Black"/>
                <a:cs typeface="Montserrat Black"/>
                <a:sym typeface="Montserrat Black"/>
              </a:defRPr>
            </a:lvl1pPr>
            <a:lvl2pPr lvl="1" rtl="0">
              <a:spcBef>
                <a:spcPts val="0"/>
              </a:spcBef>
              <a:spcAft>
                <a:spcPts val="0"/>
              </a:spcAft>
              <a:buClr>
                <a:srgbClr val="002D45"/>
              </a:buClr>
              <a:buSzPts val="7200"/>
              <a:buNone/>
              <a:defRPr sz="7200">
                <a:solidFill>
                  <a:srgbClr val="002D45"/>
                </a:solidFill>
              </a:defRPr>
            </a:lvl2pPr>
            <a:lvl3pPr lvl="2" rtl="0">
              <a:spcBef>
                <a:spcPts val="0"/>
              </a:spcBef>
              <a:spcAft>
                <a:spcPts val="0"/>
              </a:spcAft>
              <a:buClr>
                <a:srgbClr val="002D45"/>
              </a:buClr>
              <a:buSzPts val="7200"/>
              <a:buNone/>
              <a:defRPr sz="7200">
                <a:solidFill>
                  <a:srgbClr val="002D45"/>
                </a:solidFill>
              </a:defRPr>
            </a:lvl3pPr>
            <a:lvl4pPr lvl="3" rtl="0">
              <a:spcBef>
                <a:spcPts val="0"/>
              </a:spcBef>
              <a:spcAft>
                <a:spcPts val="0"/>
              </a:spcAft>
              <a:buClr>
                <a:srgbClr val="002D45"/>
              </a:buClr>
              <a:buSzPts val="7200"/>
              <a:buNone/>
              <a:defRPr sz="7200">
                <a:solidFill>
                  <a:srgbClr val="002D45"/>
                </a:solidFill>
              </a:defRPr>
            </a:lvl4pPr>
            <a:lvl5pPr lvl="4" rtl="0">
              <a:spcBef>
                <a:spcPts val="0"/>
              </a:spcBef>
              <a:spcAft>
                <a:spcPts val="0"/>
              </a:spcAft>
              <a:buClr>
                <a:srgbClr val="002D45"/>
              </a:buClr>
              <a:buSzPts val="7200"/>
              <a:buNone/>
              <a:defRPr sz="7200">
                <a:solidFill>
                  <a:srgbClr val="002D45"/>
                </a:solidFill>
              </a:defRPr>
            </a:lvl5pPr>
            <a:lvl6pPr lvl="5" rtl="0">
              <a:spcBef>
                <a:spcPts val="0"/>
              </a:spcBef>
              <a:spcAft>
                <a:spcPts val="0"/>
              </a:spcAft>
              <a:buClr>
                <a:srgbClr val="002D45"/>
              </a:buClr>
              <a:buSzPts val="7200"/>
              <a:buNone/>
              <a:defRPr sz="7200">
                <a:solidFill>
                  <a:srgbClr val="002D45"/>
                </a:solidFill>
              </a:defRPr>
            </a:lvl6pPr>
            <a:lvl7pPr lvl="6" rtl="0">
              <a:spcBef>
                <a:spcPts val="0"/>
              </a:spcBef>
              <a:spcAft>
                <a:spcPts val="0"/>
              </a:spcAft>
              <a:buClr>
                <a:srgbClr val="002D45"/>
              </a:buClr>
              <a:buSzPts val="7200"/>
              <a:buNone/>
              <a:defRPr sz="7200">
                <a:solidFill>
                  <a:srgbClr val="002D45"/>
                </a:solidFill>
              </a:defRPr>
            </a:lvl7pPr>
            <a:lvl8pPr lvl="7" rtl="0">
              <a:spcBef>
                <a:spcPts val="0"/>
              </a:spcBef>
              <a:spcAft>
                <a:spcPts val="0"/>
              </a:spcAft>
              <a:buClr>
                <a:srgbClr val="002D45"/>
              </a:buClr>
              <a:buSzPts val="7200"/>
              <a:buNone/>
              <a:defRPr sz="7200">
                <a:solidFill>
                  <a:srgbClr val="002D45"/>
                </a:solidFill>
              </a:defRPr>
            </a:lvl8pPr>
            <a:lvl9pPr lvl="8" rtl="0">
              <a:spcBef>
                <a:spcPts val="0"/>
              </a:spcBef>
              <a:spcAft>
                <a:spcPts val="0"/>
              </a:spcAft>
              <a:buClr>
                <a:srgbClr val="002D45"/>
              </a:buClr>
              <a:buSzPts val="7200"/>
              <a:buNone/>
              <a:defRPr sz="7200">
                <a:solidFill>
                  <a:srgbClr val="002D45"/>
                </a:solidFill>
              </a:defRPr>
            </a:lvl9pPr>
          </a:lstStyle>
          <a:p>
            <a:endParaRPr/>
          </a:p>
        </p:txBody>
      </p:sp>
      <p:sp>
        <p:nvSpPr>
          <p:cNvPr id="182" name="Google Shape;182;p16"/>
          <p:cNvSpPr txBox="1">
            <a:spLocks noGrp="1"/>
          </p:cNvSpPr>
          <p:nvPr>
            <p:ph type="subTitle" idx="1"/>
          </p:nvPr>
        </p:nvSpPr>
        <p:spPr>
          <a:xfrm>
            <a:off x="2050300" y="3798050"/>
            <a:ext cx="20078700" cy="1681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D45"/>
              </a:buClr>
              <a:buSzPts val="3600"/>
              <a:buFont typeface="Montserrat"/>
              <a:buNone/>
              <a:defRPr sz="3600">
                <a:solidFill>
                  <a:srgbClr val="002D45"/>
                </a:solidFill>
                <a:latin typeface="Montserrat"/>
                <a:ea typeface="Montserrat"/>
                <a:cs typeface="Montserrat"/>
                <a:sym typeface="Montserrat"/>
              </a:defRPr>
            </a:lvl1pPr>
            <a:lvl2pPr lvl="1" rtl="0">
              <a:spcBef>
                <a:spcPts val="0"/>
              </a:spcBef>
              <a:spcAft>
                <a:spcPts val="0"/>
              </a:spcAft>
              <a:buClr>
                <a:srgbClr val="002D45"/>
              </a:buClr>
              <a:buSzPts val="3600"/>
              <a:buNone/>
              <a:defRPr sz="3600">
                <a:solidFill>
                  <a:srgbClr val="002D45"/>
                </a:solidFill>
              </a:defRPr>
            </a:lvl2pPr>
            <a:lvl3pPr lvl="2" rtl="0">
              <a:spcBef>
                <a:spcPts val="0"/>
              </a:spcBef>
              <a:spcAft>
                <a:spcPts val="0"/>
              </a:spcAft>
              <a:buClr>
                <a:srgbClr val="002D45"/>
              </a:buClr>
              <a:buSzPts val="3600"/>
              <a:buNone/>
              <a:defRPr sz="3600">
                <a:solidFill>
                  <a:srgbClr val="002D45"/>
                </a:solidFill>
              </a:defRPr>
            </a:lvl3pPr>
            <a:lvl4pPr lvl="3" rtl="0">
              <a:spcBef>
                <a:spcPts val="0"/>
              </a:spcBef>
              <a:spcAft>
                <a:spcPts val="0"/>
              </a:spcAft>
              <a:buClr>
                <a:srgbClr val="002D45"/>
              </a:buClr>
              <a:buSzPts val="3600"/>
              <a:buNone/>
              <a:defRPr sz="3600">
                <a:solidFill>
                  <a:srgbClr val="002D45"/>
                </a:solidFill>
              </a:defRPr>
            </a:lvl4pPr>
            <a:lvl5pPr lvl="4" rtl="0">
              <a:spcBef>
                <a:spcPts val="0"/>
              </a:spcBef>
              <a:spcAft>
                <a:spcPts val="0"/>
              </a:spcAft>
              <a:buClr>
                <a:srgbClr val="002D45"/>
              </a:buClr>
              <a:buSzPts val="3600"/>
              <a:buNone/>
              <a:defRPr sz="3600">
                <a:solidFill>
                  <a:srgbClr val="002D45"/>
                </a:solidFill>
              </a:defRPr>
            </a:lvl5pPr>
            <a:lvl6pPr lvl="5" rtl="0">
              <a:spcBef>
                <a:spcPts val="0"/>
              </a:spcBef>
              <a:spcAft>
                <a:spcPts val="0"/>
              </a:spcAft>
              <a:buClr>
                <a:srgbClr val="002D45"/>
              </a:buClr>
              <a:buSzPts val="3600"/>
              <a:buNone/>
              <a:defRPr sz="3600">
                <a:solidFill>
                  <a:srgbClr val="002D45"/>
                </a:solidFill>
              </a:defRPr>
            </a:lvl6pPr>
            <a:lvl7pPr lvl="6" rtl="0">
              <a:spcBef>
                <a:spcPts val="0"/>
              </a:spcBef>
              <a:spcAft>
                <a:spcPts val="0"/>
              </a:spcAft>
              <a:buClr>
                <a:srgbClr val="002D45"/>
              </a:buClr>
              <a:buSzPts val="3600"/>
              <a:buNone/>
              <a:defRPr sz="3600">
                <a:solidFill>
                  <a:srgbClr val="002D45"/>
                </a:solidFill>
              </a:defRPr>
            </a:lvl7pPr>
            <a:lvl8pPr lvl="7" rtl="0">
              <a:spcBef>
                <a:spcPts val="0"/>
              </a:spcBef>
              <a:spcAft>
                <a:spcPts val="0"/>
              </a:spcAft>
              <a:buClr>
                <a:srgbClr val="002D45"/>
              </a:buClr>
              <a:buSzPts val="3600"/>
              <a:buNone/>
              <a:defRPr sz="3600">
                <a:solidFill>
                  <a:srgbClr val="002D45"/>
                </a:solidFill>
              </a:defRPr>
            </a:lvl8pPr>
            <a:lvl9pPr lvl="8" rtl="0">
              <a:spcBef>
                <a:spcPts val="0"/>
              </a:spcBef>
              <a:spcAft>
                <a:spcPts val="0"/>
              </a:spcAft>
              <a:buClr>
                <a:srgbClr val="002D45"/>
              </a:buClr>
              <a:buSzPts val="3600"/>
              <a:buNone/>
              <a:defRPr sz="3600">
                <a:solidFill>
                  <a:srgbClr val="002D45"/>
                </a:solidFill>
              </a:defRPr>
            </a:lvl9pPr>
          </a:lstStyle>
          <a:p>
            <a:endParaRPr/>
          </a:p>
        </p:txBody>
      </p:sp>
      <p:sp>
        <p:nvSpPr>
          <p:cNvPr id="183" name="Google Shape;183;p16"/>
          <p:cNvSpPr/>
          <p:nvPr/>
        </p:nvSpPr>
        <p:spPr>
          <a:xfrm>
            <a:off x="2167172" y="6117646"/>
            <a:ext cx="514200" cy="514200"/>
          </a:xfrm>
          <a:prstGeom prst="ellipse">
            <a:avLst/>
          </a:prstGeom>
          <a:solidFill>
            <a:srgbClr val="C1F4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4" name="Google Shape;184;p16"/>
          <p:cNvSpPr/>
          <p:nvPr/>
        </p:nvSpPr>
        <p:spPr>
          <a:xfrm>
            <a:off x="2167172" y="7905996"/>
            <a:ext cx="514200" cy="514200"/>
          </a:xfrm>
          <a:prstGeom prst="ellipse">
            <a:avLst/>
          </a:prstGeom>
          <a:solidFill>
            <a:srgbClr val="C1F4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5" name="Google Shape;185;p16"/>
          <p:cNvSpPr/>
          <p:nvPr/>
        </p:nvSpPr>
        <p:spPr>
          <a:xfrm>
            <a:off x="2167172" y="9812996"/>
            <a:ext cx="514200" cy="514200"/>
          </a:xfrm>
          <a:prstGeom prst="ellipse">
            <a:avLst/>
          </a:prstGeom>
          <a:solidFill>
            <a:srgbClr val="C1F4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6" name="Google Shape;186;p16"/>
          <p:cNvSpPr txBox="1">
            <a:spLocks noGrp="1"/>
          </p:cNvSpPr>
          <p:nvPr>
            <p:ph type="subTitle" idx="2"/>
          </p:nvPr>
        </p:nvSpPr>
        <p:spPr>
          <a:xfrm>
            <a:off x="3043649" y="6117650"/>
            <a:ext cx="9073800" cy="753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D45"/>
              </a:buClr>
              <a:buSzPts val="2400"/>
              <a:buFont typeface="Montserrat SemiBold"/>
              <a:buNone/>
              <a:defRPr sz="2400">
                <a:solidFill>
                  <a:srgbClr val="002D45"/>
                </a:solidFill>
                <a:latin typeface="Montserrat SemiBold"/>
                <a:ea typeface="Montserrat SemiBold"/>
                <a:cs typeface="Montserrat SemiBold"/>
                <a:sym typeface="Montserrat SemiBold"/>
              </a:defRPr>
            </a:lvl1pPr>
            <a:lvl2pPr lvl="1"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2pPr>
            <a:lvl3pPr lvl="2"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3pPr>
            <a:lvl4pPr lvl="3"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4pPr>
            <a:lvl5pPr lvl="4"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5pPr>
            <a:lvl6pPr lvl="5"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6pPr>
            <a:lvl7pPr lvl="6"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7pPr>
            <a:lvl8pPr lvl="7"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8pPr>
            <a:lvl9pPr lvl="8"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9pPr>
          </a:lstStyle>
          <a:p>
            <a:endParaRPr/>
          </a:p>
        </p:txBody>
      </p:sp>
      <p:sp>
        <p:nvSpPr>
          <p:cNvPr id="187" name="Google Shape;187;p16"/>
          <p:cNvSpPr txBox="1">
            <a:spLocks noGrp="1"/>
          </p:cNvSpPr>
          <p:nvPr>
            <p:ph type="subTitle" idx="3"/>
          </p:nvPr>
        </p:nvSpPr>
        <p:spPr>
          <a:xfrm>
            <a:off x="3043649" y="7906000"/>
            <a:ext cx="9073800" cy="753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D45"/>
              </a:buClr>
              <a:buSzPts val="2400"/>
              <a:buFont typeface="Montserrat SemiBold"/>
              <a:buNone/>
              <a:defRPr sz="2400">
                <a:solidFill>
                  <a:srgbClr val="002D45"/>
                </a:solidFill>
                <a:latin typeface="Montserrat SemiBold"/>
                <a:ea typeface="Montserrat SemiBold"/>
                <a:cs typeface="Montserrat SemiBold"/>
                <a:sym typeface="Montserrat SemiBold"/>
              </a:defRPr>
            </a:lvl1pPr>
            <a:lvl2pPr lvl="1"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2pPr>
            <a:lvl3pPr lvl="2"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3pPr>
            <a:lvl4pPr lvl="3"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4pPr>
            <a:lvl5pPr lvl="4"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5pPr>
            <a:lvl6pPr lvl="5"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6pPr>
            <a:lvl7pPr lvl="6"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7pPr>
            <a:lvl8pPr lvl="7"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8pPr>
            <a:lvl9pPr lvl="8"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9pPr>
          </a:lstStyle>
          <a:p>
            <a:endParaRPr/>
          </a:p>
        </p:txBody>
      </p:sp>
      <p:sp>
        <p:nvSpPr>
          <p:cNvPr id="188" name="Google Shape;188;p16"/>
          <p:cNvSpPr txBox="1">
            <a:spLocks noGrp="1"/>
          </p:cNvSpPr>
          <p:nvPr>
            <p:ph type="subTitle" idx="4"/>
          </p:nvPr>
        </p:nvSpPr>
        <p:spPr>
          <a:xfrm>
            <a:off x="3043649" y="9813000"/>
            <a:ext cx="9073800" cy="753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D45"/>
              </a:buClr>
              <a:buSzPts val="2400"/>
              <a:buFont typeface="Montserrat SemiBold"/>
              <a:buNone/>
              <a:defRPr sz="2400">
                <a:solidFill>
                  <a:srgbClr val="002D45"/>
                </a:solidFill>
                <a:latin typeface="Montserrat SemiBold"/>
                <a:ea typeface="Montserrat SemiBold"/>
                <a:cs typeface="Montserrat SemiBold"/>
                <a:sym typeface="Montserrat SemiBold"/>
              </a:defRPr>
            </a:lvl1pPr>
            <a:lvl2pPr lvl="1"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2pPr>
            <a:lvl3pPr lvl="2"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3pPr>
            <a:lvl4pPr lvl="3"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4pPr>
            <a:lvl5pPr lvl="4"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5pPr>
            <a:lvl6pPr lvl="5"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6pPr>
            <a:lvl7pPr lvl="6"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7pPr>
            <a:lvl8pPr lvl="7"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8pPr>
            <a:lvl9pPr lvl="8"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9pPr>
          </a:lstStyle>
          <a:p>
            <a:endParaRPr/>
          </a:p>
        </p:txBody>
      </p:sp>
      <p:sp>
        <p:nvSpPr>
          <p:cNvPr id="189" name="Google Shape;189;p16"/>
          <p:cNvSpPr/>
          <p:nvPr/>
        </p:nvSpPr>
        <p:spPr>
          <a:xfrm>
            <a:off x="12640247" y="6117646"/>
            <a:ext cx="514200" cy="514200"/>
          </a:xfrm>
          <a:prstGeom prst="ellipse">
            <a:avLst/>
          </a:prstGeom>
          <a:solidFill>
            <a:srgbClr val="C1F4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0" name="Google Shape;190;p16"/>
          <p:cNvSpPr/>
          <p:nvPr/>
        </p:nvSpPr>
        <p:spPr>
          <a:xfrm>
            <a:off x="12640247" y="7905996"/>
            <a:ext cx="514200" cy="514200"/>
          </a:xfrm>
          <a:prstGeom prst="ellipse">
            <a:avLst/>
          </a:prstGeom>
          <a:solidFill>
            <a:srgbClr val="C1F4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1" name="Google Shape;191;p16"/>
          <p:cNvSpPr/>
          <p:nvPr/>
        </p:nvSpPr>
        <p:spPr>
          <a:xfrm>
            <a:off x="12640247" y="9812996"/>
            <a:ext cx="514200" cy="514200"/>
          </a:xfrm>
          <a:prstGeom prst="ellipse">
            <a:avLst/>
          </a:prstGeom>
          <a:solidFill>
            <a:srgbClr val="C1F4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2" name="Google Shape;192;p16"/>
          <p:cNvSpPr txBox="1">
            <a:spLocks noGrp="1"/>
          </p:cNvSpPr>
          <p:nvPr>
            <p:ph type="subTitle" idx="5"/>
          </p:nvPr>
        </p:nvSpPr>
        <p:spPr>
          <a:xfrm>
            <a:off x="13516724" y="6117650"/>
            <a:ext cx="9073800" cy="753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D45"/>
              </a:buClr>
              <a:buSzPts val="2400"/>
              <a:buFont typeface="Montserrat SemiBold"/>
              <a:buNone/>
              <a:defRPr sz="2400">
                <a:solidFill>
                  <a:srgbClr val="002D45"/>
                </a:solidFill>
                <a:latin typeface="Montserrat SemiBold"/>
                <a:ea typeface="Montserrat SemiBold"/>
                <a:cs typeface="Montserrat SemiBold"/>
                <a:sym typeface="Montserrat SemiBold"/>
              </a:defRPr>
            </a:lvl1pPr>
            <a:lvl2pPr lvl="1"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2pPr>
            <a:lvl3pPr lvl="2"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3pPr>
            <a:lvl4pPr lvl="3"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4pPr>
            <a:lvl5pPr lvl="4"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5pPr>
            <a:lvl6pPr lvl="5"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6pPr>
            <a:lvl7pPr lvl="6"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7pPr>
            <a:lvl8pPr lvl="7"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8pPr>
            <a:lvl9pPr lvl="8"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9pPr>
          </a:lstStyle>
          <a:p>
            <a:endParaRPr/>
          </a:p>
        </p:txBody>
      </p:sp>
      <p:sp>
        <p:nvSpPr>
          <p:cNvPr id="193" name="Google Shape;193;p16"/>
          <p:cNvSpPr txBox="1">
            <a:spLocks noGrp="1"/>
          </p:cNvSpPr>
          <p:nvPr>
            <p:ph type="subTitle" idx="6"/>
          </p:nvPr>
        </p:nvSpPr>
        <p:spPr>
          <a:xfrm>
            <a:off x="13516724" y="7906000"/>
            <a:ext cx="9073800" cy="753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D45"/>
              </a:buClr>
              <a:buSzPts val="2400"/>
              <a:buFont typeface="Montserrat SemiBold"/>
              <a:buNone/>
              <a:defRPr sz="2400">
                <a:solidFill>
                  <a:srgbClr val="002D45"/>
                </a:solidFill>
                <a:latin typeface="Montserrat SemiBold"/>
                <a:ea typeface="Montserrat SemiBold"/>
                <a:cs typeface="Montserrat SemiBold"/>
                <a:sym typeface="Montserrat SemiBold"/>
              </a:defRPr>
            </a:lvl1pPr>
            <a:lvl2pPr lvl="1"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2pPr>
            <a:lvl3pPr lvl="2"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3pPr>
            <a:lvl4pPr lvl="3"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4pPr>
            <a:lvl5pPr lvl="4"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5pPr>
            <a:lvl6pPr lvl="5"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6pPr>
            <a:lvl7pPr lvl="6"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7pPr>
            <a:lvl8pPr lvl="7"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8pPr>
            <a:lvl9pPr lvl="8"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9pPr>
          </a:lstStyle>
          <a:p>
            <a:endParaRPr/>
          </a:p>
        </p:txBody>
      </p:sp>
      <p:sp>
        <p:nvSpPr>
          <p:cNvPr id="194" name="Google Shape;194;p16"/>
          <p:cNvSpPr txBox="1">
            <a:spLocks noGrp="1"/>
          </p:cNvSpPr>
          <p:nvPr>
            <p:ph type="subTitle" idx="7"/>
          </p:nvPr>
        </p:nvSpPr>
        <p:spPr>
          <a:xfrm>
            <a:off x="13516724" y="9813000"/>
            <a:ext cx="9073800" cy="753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D45"/>
              </a:buClr>
              <a:buSzPts val="2400"/>
              <a:buFont typeface="Montserrat SemiBold"/>
              <a:buNone/>
              <a:defRPr sz="2400">
                <a:solidFill>
                  <a:srgbClr val="002D45"/>
                </a:solidFill>
                <a:latin typeface="Montserrat SemiBold"/>
                <a:ea typeface="Montserrat SemiBold"/>
                <a:cs typeface="Montserrat SemiBold"/>
                <a:sym typeface="Montserrat SemiBold"/>
              </a:defRPr>
            </a:lvl1pPr>
            <a:lvl2pPr lvl="1"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2pPr>
            <a:lvl3pPr lvl="2"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3pPr>
            <a:lvl4pPr lvl="3"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4pPr>
            <a:lvl5pPr lvl="4"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5pPr>
            <a:lvl6pPr lvl="5"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6pPr>
            <a:lvl7pPr lvl="6"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7pPr>
            <a:lvl8pPr lvl="7"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8pPr>
            <a:lvl9pPr lvl="8"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9pPr>
          </a:lstStyle>
          <a:p>
            <a:endParaRPr/>
          </a:p>
        </p:txBody>
      </p:sp>
      <p:pic>
        <p:nvPicPr>
          <p:cNvPr id="195" name="Google Shape;195;p16"/>
          <p:cNvPicPr preferRelativeResize="0"/>
          <p:nvPr/>
        </p:nvPicPr>
        <p:blipFill rotWithShape="1">
          <a:blip r:embed="rId2">
            <a:alphaModFix/>
          </a:blip>
          <a:srcRect t="83846"/>
          <a:stretch/>
        </p:blipFill>
        <p:spPr>
          <a:xfrm>
            <a:off x="-2992950" y="-451525"/>
            <a:ext cx="24377651" cy="1515099"/>
          </a:xfrm>
          <a:prstGeom prst="rect">
            <a:avLst/>
          </a:prstGeom>
          <a:noFill/>
          <a:ln>
            <a:noFill/>
          </a:ln>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Blank Slide">
  <p:cSld name="Blank Slide">
    <p:bg>
      <p:bgPr>
        <a:solidFill>
          <a:schemeClr val="lt1"/>
        </a:solidFill>
        <a:effectLst/>
      </p:bgPr>
    </p:bg>
    <p:spTree>
      <p:nvGrpSpPr>
        <p:cNvPr id="1" name="Shape 196"/>
        <p:cNvGrpSpPr/>
        <p:nvPr/>
      </p:nvGrpSpPr>
      <p:grpSpPr>
        <a:xfrm>
          <a:off x="0" y="0"/>
          <a:ext cx="0" cy="0"/>
          <a:chOff x="0" y="0"/>
          <a:chExt cx="0" cy="0"/>
        </a:xfrm>
      </p:grpSpPr>
      <p:pic>
        <p:nvPicPr>
          <p:cNvPr id="197" name="Google Shape;197;p17"/>
          <p:cNvPicPr preferRelativeResize="0"/>
          <p:nvPr/>
        </p:nvPicPr>
        <p:blipFill rotWithShape="1">
          <a:blip r:embed="rId2">
            <a:alphaModFix/>
          </a:blip>
          <a:srcRect t="83846"/>
          <a:stretch/>
        </p:blipFill>
        <p:spPr>
          <a:xfrm>
            <a:off x="-3678750" y="-680125"/>
            <a:ext cx="24377651" cy="1515099"/>
          </a:xfrm>
          <a:prstGeom prst="rect">
            <a:avLst/>
          </a:prstGeom>
          <a:noFill/>
          <a:ln>
            <a:noFill/>
          </a:ln>
        </p:spPr>
      </p:pic>
      <p:pic>
        <p:nvPicPr>
          <p:cNvPr id="198" name="Google Shape;198;p17"/>
          <p:cNvPicPr preferRelativeResize="0"/>
          <p:nvPr/>
        </p:nvPicPr>
        <p:blipFill rotWithShape="1">
          <a:blip r:embed="rId2">
            <a:alphaModFix/>
          </a:blip>
          <a:srcRect b="93557"/>
          <a:stretch/>
        </p:blipFill>
        <p:spPr>
          <a:xfrm>
            <a:off x="0" y="13111675"/>
            <a:ext cx="24377651" cy="604325"/>
          </a:xfrm>
          <a:prstGeom prst="rect">
            <a:avLst/>
          </a:prstGeom>
          <a:noFill/>
          <a:ln>
            <a:noFill/>
          </a:ln>
        </p:spPr>
      </p:pic>
      <p:sp>
        <p:nvSpPr>
          <p:cNvPr id="199" name="Google Shape;199;p17"/>
          <p:cNvSpPr/>
          <p:nvPr/>
        </p:nvSpPr>
        <p:spPr>
          <a:xfrm>
            <a:off x="22412037" y="536597"/>
            <a:ext cx="1515111" cy="1515111"/>
          </a:xfrm>
          <a:custGeom>
            <a:avLst/>
            <a:gdLst/>
            <a:ahLst/>
            <a:cxnLst/>
            <a:rect l="l" t="t" r="r" b="b"/>
            <a:pathLst>
              <a:path w="1137044" h="1137044" extrusionOk="0">
                <a:moveTo>
                  <a:pt x="0" y="0"/>
                </a:moveTo>
                <a:lnTo>
                  <a:pt x="1137044" y="0"/>
                </a:lnTo>
                <a:lnTo>
                  <a:pt x="1137044" y="1137044"/>
                </a:lnTo>
                <a:lnTo>
                  <a:pt x="0" y="1137044"/>
                </a:lnTo>
                <a:lnTo>
                  <a:pt x="0" y="0"/>
                </a:lnTo>
                <a:close/>
              </a:path>
            </a:pathLst>
          </a:custGeom>
          <a:blipFill rotWithShape="1">
            <a:blip r:embed="rId3">
              <a:alphaModFix/>
            </a:blip>
            <a:stretch>
              <a:fillRect/>
            </a:stretch>
          </a:blipFill>
          <a:ln>
            <a:noFill/>
          </a:ln>
        </p:spPr>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Section title slide - no image">
  <p:cSld name="Section title slide - no image">
    <p:bg>
      <p:bgPr>
        <a:solidFill>
          <a:srgbClr val="C1F400"/>
        </a:solidFill>
        <a:effectLst/>
      </p:bgPr>
    </p:bg>
    <p:spTree>
      <p:nvGrpSpPr>
        <p:cNvPr id="1" name="Shape 222"/>
        <p:cNvGrpSpPr/>
        <p:nvPr/>
      </p:nvGrpSpPr>
      <p:grpSpPr>
        <a:xfrm>
          <a:off x="0" y="0"/>
          <a:ext cx="0" cy="0"/>
          <a:chOff x="0" y="0"/>
          <a:chExt cx="0" cy="0"/>
        </a:xfrm>
      </p:grpSpPr>
      <p:pic>
        <p:nvPicPr>
          <p:cNvPr id="223" name="Google Shape;223;p19"/>
          <p:cNvPicPr preferRelativeResize="0"/>
          <p:nvPr/>
        </p:nvPicPr>
        <p:blipFill>
          <a:blip r:embed="rId2">
            <a:alphaModFix/>
          </a:blip>
          <a:stretch>
            <a:fillRect/>
          </a:stretch>
        </p:blipFill>
        <p:spPr>
          <a:xfrm>
            <a:off x="0" y="1676425"/>
            <a:ext cx="24377651" cy="10608076"/>
          </a:xfrm>
          <a:prstGeom prst="rect">
            <a:avLst/>
          </a:prstGeom>
          <a:noFill/>
          <a:ln>
            <a:noFill/>
          </a:ln>
        </p:spPr>
      </p:pic>
      <p:sp>
        <p:nvSpPr>
          <p:cNvPr id="224" name="Google Shape;224;p19"/>
          <p:cNvSpPr txBox="1">
            <a:spLocks noGrp="1"/>
          </p:cNvSpPr>
          <p:nvPr>
            <p:ph type="title"/>
          </p:nvPr>
        </p:nvSpPr>
        <p:spPr>
          <a:xfrm>
            <a:off x="5329075" y="4201950"/>
            <a:ext cx="15421500" cy="35448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0800"/>
              <a:buFont typeface="Montserrat Black"/>
              <a:buNone/>
              <a:defRPr sz="10800">
                <a:solidFill>
                  <a:schemeClr val="lt1"/>
                </a:solidFill>
                <a:latin typeface="Montserrat Black"/>
                <a:ea typeface="Montserrat Black"/>
                <a:cs typeface="Montserrat Black"/>
                <a:sym typeface="Montserrat Black"/>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25" name="Google Shape;225;p19"/>
          <p:cNvSpPr txBox="1">
            <a:spLocks noGrp="1"/>
          </p:cNvSpPr>
          <p:nvPr>
            <p:ph type="title" idx="2"/>
          </p:nvPr>
        </p:nvSpPr>
        <p:spPr>
          <a:xfrm>
            <a:off x="1347625" y="3459000"/>
            <a:ext cx="2888700" cy="35448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8700"/>
              <a:buFont typeface="Montserrat Black"/>
              <a:buNone/>
              <a:defRPr sz="28700">
                <a:solidFill>
                  <a:srgbClr val="C1F400"/>
                </a:solidFill>
                <a:latin typeface="Montserrat Black"/>
                <a:ea typeface="Montserrat Black"/>
                <a:cs typeface="Montserrat Black"/>
                <a:sym typeface="Montserrat Black"/>
              </a:defRPr>
            </a:lvl1pPr>
            <a:lvl2pPr lvl="1" rtl="0">
              <a:spcBef>
                <a:spcPts val="0"/>
              </a:spcBef>
              <a:spcAft>
                <a:spcPts val="0"/>
              </a:spcAft>
              <a:buClr>
                <a:srgbClr val="C1F400"/>
              </a:buClr>
              <a:buSzPts val="28700"/>
              <a:buNone/>
              <a:defRPr sz="28700">
                <a:solidFill>
                  <a:srgbClr val="C1F400"/>
                </a:solidFill>
              </a:defRPr>
            </a:lvl2pPr>
            <a:lvl3pPr lvl="2" rtl="0">
              <a:spcBef>
                <a:spcPts val="0"/>
              </a:spcBef>
              <a:spcAft>
                <a:spcPts val="0"/>
              </a:spcAft>
              <a:buClr>
                <a:srgbClr val="C1F400"/>
              </a:buClr>
              <a:buSzPts val="28700"/>
              <a:buNone/>
              <a:defRPr sz="28700">
                <a:solidFill>
                  <a:srgbClr val="C1F400"/>
                </a:solidFill>
              </a:defRPr>
            </a:lvl3pPr>
            <a:lvl4pPr lvl="3" rtl="0">
              <a:spcBef>
                <a:spcPts val="0"/>
              </a:spcBef>
              <a:spcAft>
                <a:spcPts val="0"/>
              </a:spcAft>
              <a:buClr>
                <a:srgbClr val="C1F400"/>
              </a:buClr>
              <a:buSzPts val="28700"/>
              <a:buNone/>
              <a:defRPr sz="28700">
                <a:solidFill>
                  <a:srgbClr val="C1F400"/>
                </a:solidFill>
              </a:defRPr>
            </a:lvl4pPr>
            <a:lvl5pPr lvl="4" rtl="0">
              <a:spcBef>
                <a:spcPts val="0"/>
              </a:spcBef>
              <a:spcAft>
                <a:spcPts val="0"/>
              </a:spcAft>
              <a:buClr>
                <a:srgbClr val="C1F400"/>
              </a:buClr>
              <a:buSzPts val="28700"/>
              <a:buNone/>
              <a:defRPr sz="28700">
                <a:solidFill>
                  <a:srgbClr val="C1F400"/>
                </a:solidFill>
              </a:defRPr>
            </a:lvl5pPr>
            <a:lvl6pPr lvl="5" rtl="0">
              <a:spcBef>
                <a:spcPts val="0"/>
              </a:spcBef>
              <a:spcAft>
                <a:spcPts val="0"/>
              </a:spcAft>
              <a:buClr>
                <a:srgbClr val="C1F400"/>
              </a:buClr>
              <a:buSzPts val="28700"/>
              <a:buNone/>
              <a:defRPr sz="28700">
                <a:solidFill>
                  <a:srgbClr val="C1F400"/>
                </a:solidFill>
              </a:defRPr>
            </a:lvl6pPr>
            <a:lvl7pPr lvl="6" rtl="0">
              <a:spcBef>
                <a:spcPts val="0"/>
              </a:spcBef>
              <a:spcAft>
                <a:spcPts val="0"/>
              </a:spcAft>
              <a:buClr>
                <a:srgbClr val="C1F400"/>
              </a:buClr>
              <a:buSzPts val="28700"/>
              <a:buNone/>
              <a:defRPr sz="28700">
                <a:solidFill>
                  <a:srgbClr val="C1F400"/>
                </a:solidFill>
              </a:defRPr>
            </a:lvl7pPr>
            <a:lvl8pPr lvl="7" rtl="0">
              <a:spcBef>
                <a:spcPts val="0"/>
              </a:spcBef>
              <a:spcAft>
                <a:spcPts val="0"/>
              </a:spcAft>
              <a:buClr>
                <a:srgbClr val="C1F400"/>
              </a:buClr>
              <a:buSzPts val="28700"/>
              <a:buNone/>
              <a:defRPr sz="28700">
                <a:solidFill>
                  <a:srgbClr val="C1F400"/>
                </a:solidFill>
              </a:defRPr>
            </a:lvl8pPr>
            <a:lvl9pPr lvl="8" rtl="0">
              <a:spcBef>
                <a:spcPts val="0"/>
              </a:spcBef>
              <a:spcAft>
                <a:spcPts val="0"/>
              </a:spcAft>
              <a:buClr>
                <a:srgbClr val="C1F400"/>
              </a:buClr>
              <a:buSzPts val="28700"/>
              <a:buNone/>
              <a:defRPr sz="28700">
                <a:solidFill>
                  <a:srgbClr val="C1F400"/>
                </a:solidFill>
              </a:defRPr>
            </a:lvl9pPr>
          </a:lstStyle>
          <a:p>
            <a:endParaRPr/>
          </a:p>
        </p:txBody>
      </p:sp>
      <p:sp>
        <p:nvSpPr>
          <p:cNvPr id="226" name="Google Shape;226;p19"/>
          <p:cNvSpPr txBox="1">
            <a:spLocks noGrp="1"/>
          </p:cNvSpPr>
          <p:nvPr>
            <p:ph type="subTitle" idx="1"/>
          </p:nvPr>
        </p:nvSpPr>
        <p:spPr>
          <a:xfrm>
            <a:off x="5329075" y="7622800"/>
            <a:ext cx="11616000" cy="12405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rgbClr val="C1F400"/>
              </a:buClr>
              <a:buSzPts val="4900"/>
              <a:buFont typeface="Montserrat Medium"/>
              <a:buNone/>
              <a:defRPr sz="4900">
                <a:solidFill>
                  <a:srgbClr val="C1F400"/>
                </a:solidFill>
                <a:latin typeface="Montserrat Medium"/>
                <a:ea typeface="Montserrat Medium"/>
                <a:cs typeface="Montserrat Medium"/>
                <a:sym typeface="Montserrat Medium"/>
              </a:defRPr>
            </a:lvl1pPr>
            <a:lvl2pPr lvl="1" rtl="0">
              <a:spcBef>
                <a:spcPts val="0"/>
              </a:spcBef>
              <a:spcAft>
                <a:spcPts val="0"/>
              </a:spcAft>
              <a:buClr>
                <a:srgbClr val="C1F400"/>
              </a:buClr>
              <a:buSzPts val="1400"/>
              <a:buNone/>
              <a:defRPr>
                <a:solidFill>
                  <a:srgbClr val="C1F400"/>
                </a:solidFill>
              </a:defRPr>
            </a:lvl2pPr>
            <a:lvl3pPr lvl="2" rtl="0">
              <a:spcBef>
                <a:spcPts val="0"/>
              </a:spcBef>
              <a:spcAft>
                <a:spcPts val="0"/>
              </a:spcAft>
              <a:buClr>
                <a:srgbClr val="C1F400"/>
              </a:buClr>
              <a:buSzPts val="1400"/>
              <a:buNone/>
              <a:defRPr>
                <a:solidFill>
                  <a:srgbClr val="C1F400"/>
                </a:solidFill>
              </a:defRPr>
            </a:lvl3pPr>
            <a:lvl4pPr lvl="3" rtl="0">
              <a:spcBef>
                <a:spcPts val="0"/>
              </a:spcBef>
              <a:spcAft>
                <a:spcPts val="0"/>
              </a:spcAft>
              <a:buClr>
                <a:srgbClr val="C1F400"/>
              </a:buClr>
              <a:buSzPts val="1400"/>
              <a:buNone/>
              <a:defRPr>
                <a:solidFill>
                  <a:srgbClr val="C1F400"/>
                </a:solidFill>
              </a:defRPr>
            </a:lvl4pPr>
            <a:lvl5pPr lvl="4" rtl="0">
              <a:spcBef>
                <a:spcPts val="0"/>
              </a:spcBef>
              <a:spcAft>
                <a:spcPts val="0"/>
              </a:spcAft>
              <a:buClr>
                <a:srgbClr val="C1F400"/>
              </a:buClr>
              <a:buSzPts val="1400"/>
              <a:buNone/>
              <a:defRPr>
                <a:solidFill>
                  <a:srgbClr val="C1F400"/>
                </a:solidFill>
              </a:defRPr>
            </a:lvl5pPr>
            <a:lvl6pPr lvl="5" rtl="0">
              <a:spcBef>
                <a:spcPts val="0"/>
              </a:spcBef>
              <a:spcAft>
                <a:spcPts val="0"/>
              </a:spcAft>
              <a:buClr>
                <a:srgbClr val="C1F400"/>
              </a:buClr>
              <a:buSzPts val="1400"/>
              <a:buNone/>
              <a:defRPr>
                <a:solidFill>
                  <a:srgbClr val="C1F400"/>
                </a:solidFill>
              </a:defRPr>
            </a:lvl6pPr>
            <a:lvl7pPr lvl="6" rtl="0">
              <a:spcBef>
                <a:spcPts val="0"/>
              </a:spcBef>
              <a:spcAft>
                <a:spcPts val="0"/>
              </a:spcAft>
              <a:buClr>
                <a:srgbClr val="C1F400"/>
              </a:buClr>
              <a:buSzPts val="1400"/>
              <a:buNone/>
              <a:defRPr>
                <a:solidFill>
                  <a:srgbClr val="C1F400"/>
                </a:solidFill>
              </a:defRPr>
            </a:lvl7pPr>
            <a:lvl8pPr lvl="7" rtl="0">
              <a:spcBef>
                <a:spcPts val="0"/>
              </a:spcBef>
              <a:spcAft>
                <a:spcPts val="0"/>
              </a:spcAft>
              <a:buClr>
                <a:srgbClr val="C1F400"/>
              </a:buClr>
              <a:buSzPts val="1400"/>
              <a:buNone/>
              <a:defRPr>
                <a:solidFill>
                  <a:srgbClr val="C1F400"/>
                </a:solidFill>
              </a:defRPr>
            </a:lvl8pPr>
            <a:lvl9pPr lvl="8" rtl="0">
              <a:spcBef>
                <a:spcPts val="0"/>
              </a:spcBef>
              <a:spcAft>
                <a:spcPts val="0"/>
              </a:spcAft>
              <a:buClr>
                <a:srgbClr val="C1F400"/>
              </a:buClr>
              <a:buSzPts val="1400"/>
              <a:buNone/>
              <a:defRPr>
                <a:solidFill>
                  <a:srgbClr val="C1F400"/>
                </a:solidFill>
              </a:defRPr>
            </a:lvl9pPr>
          </a:lstStyle>
          <a:p>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Section title slide with Image">
  <p:cSld name="Section title slide with Image">
    <p:bg>
      <p:bgPr>
        <a:solidFill>
          <a:srgbClr val="C1F400"/>
        </a:solidFill>
        <a:effectLst/>
      </p:bgPr>
    </p:bg>
    <p:spTree>
      <p:nvGrpSpPr>
        <p:cNvPr id="1" name="Shape 227"/>
        <p:cNvGrpSpPr/>
        <p:nvPr/>
      </p:nvGrpSpPr>
      <p:grpSpPr>
        <a:xfrm>
          <a:off x="0" y="0"/>
          <a:ext cx="0" cy="0"/>
          <a:chOff x="0" y="0"/>
          <a:chExt cx="0" cy="0"/>
        </a:xfrm>
      </p:grpSpPr>
      <p:pic>
        <p:nvPicPr>
          <p:cNvPr id="228" name="Google Shape;228;p20"/>
          <p:cNvPicPr preferRelativeResize="0"/>
          <p:nvPr/>
        </p:nvPicPr>
        <p:blipFill rotWithShape="1">
          <a:blip r:embed="rId2">
            <a:alphaModFix/>
          </a:blip>
          <a:srcRect t="3737" b="3737"/>
          <a:stretch/>
        </p:blipFill>
        <p:spPr>
          <a:xfrm flipH="1">
            <a:off x="-3" y="-699009"/>
            <a:ext cx="24377653" cy="5724335"/>
          </a:xfrm>
          <a:prstGeom prst="rect">
            <a:avLst/>
          </a:prstGeom>
          <a:solidFill>
            <a:schemeClr val="lt2"/>
          </a:solidFill>
          <a:ln>
            <a:noFill/>
          </a:ln>
        </p:spPr>
      </p:pic>
      <p:pic>
        <p:nvPicPr>
          <p:cNvPr id="229" name="Google Shape;229;p20"/>
          <p:cNvPicPr preferRelativeResize="0"/>
          <p:nvPr/>
        </p:nvPicPr>
        <p:blipFill>
          <a:blip r:embed="rId3">
            <a:alphaModFix/>
          </a:blip>
          <a:stretch>
            <a:fillRect/>
          </a:stretch>
        </p:blipFill>
        <p:spPr>
          <a:xfrm>
            <a:off x="0" y="2745925"/>
            <a:ext cx="24377651" cy="9538575"/>
          </a:xfrm>
          <a:prstGeom prst="rect">
            <a:avLst/>
          </a:prstGeom>
          <a:noFill/>
          <a:ln>
            <a:noFill/>
          </a:ln>
        </p:spPr>
      </p:pic>
      <p:sp>
        <p:nvSpPr>
          <p:cNvPr id="230" name="Google Shape;230;p20"/>
          <p:cNvSpPr txBox="1">
            <a:spLocks noGrp="1"/>
          </p:cNvSpPr>
          <p:nvPr>
            <p:ph type="title"/>
          </p:nvPr>
        </p:nvSpPr>
        <p:spPr>
          <a:xfrm>
            <a:off x="5329075" y="4201950"/>
            <a:ext cx="15421500" cy="35448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0800"/>
              <a:buFont typeface="Montserrat Black"/>
              <a:buNone/>
              <a:defRPr sz="10800">
                <a:solidFill>
                  <a:schemeClr val="lt1"/>
                </a:solidFill>
                <a:latin typeface="Montserrat Black"/>
                <a:ea typeface="Montserrat Black"/>
                <a:cs typeface="Montserrat Black"/>
                <a:sym typeface="Montserrat Black"/>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31" name="Google Shape;231;p20"/>
          <p:cNvSpPr txBox="1">
            <a:spLocks noGrp="1"/>
          </p:cNvSpPr>
          <p:nvPr>
            <p:ph type="title" idx="2"/>
          </p:nvPr>
        </p:nvSpPr>
        <p:spPr>
          <a:xfrm>
            <a:off x="1347625" y="3420900"/>
            <a:ext cx="2888700" cy="35448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8700"/>
              <a:buFont typeface="Montserrat Black"/>
              <a:buNone/>
              <a:defRPr sz="28700">
                <a:solidFill>
                  <a:srgbClr val="C1F400"/>
                </a:solidFill>
                <a:latin typeface="Montserrat Black"/>
                <a:ea typeface="Montserrat Black"/>
                <a:cs typeface="Montserrat Black"/>
                <a:sym typeface="Montserrat Black"/>
              </a:defRPr>
            </a:lvl1pPr>
            <a:lvl2pPr lvl="1" rtl="0">
              <a:spcBef>
                <a:spcPts val="0"/>
              </a:spcBef>
              <a:spcAft>
                <a:spcPts val="0"/>
              </a:spcAft>
              <a:buClr>
                <a:srgbClr val="C1F400"/>
              </a:buClr>
              <a:buSzPts val="28700"/>
              <a:buNone/>
              <a:defRPr sz="28700">
                <a:solidFill>
                  <a:srgbClr val="C1F400"/>
                </a:solidFill>
              </a:defRPr>
            </a:lvl2pPr>
            <a:lvl3pPr lvl="2" rtl="0">
              <a:spcBef>
                <a:spcPts val="0"/>
              </a:spcBef>
              <a:spcAft>
                <a:spcPts val="0"/>
              </a:spcAft>
              <a:buClr>
                <a:srgbClr val="C1F400"/>
              </a:buClr>
              <a:buSzPts val="28700"/>
              <a:buNone/>
              <a:defRPr sz="28700">
                <a:solidFill>
                  <a:srgbClr val="C1F400"/>
                </a:solidFill>
              </a:defRPr>
            </a:lvl3pPr>
            <a:lvl4pPr lvl="3" rtl="0">
              <a:spcBef>
                <a:spcPts val="0"/>
              </a:spcBef>
              <a:spcAft>
                <a:spcPts val="0"/>
              </a:spcAft>
              <a:buClr>
                <a:srgbClr val="C1F400"/>
              </a:buClr>
              <a:buSzPts val="28700"/>
              <a:buNone/>
              <a:defRPr sz="28700">
                <a:solidFill>
                  <a:srgbClr val="C1F400"/>
                </a:solidFill>
              </a:defRPr>
            </a:lvl4pPr>
            <a:lvl5pPr lvl="4" rtl="0">
              <a:spcBef>
                <a:spcPts val="0"/>
              </a:spcBef>
              <a:spcAft>
                <a:spcPts val="0"/>
              </a:spcAft>
              <a:buClr>
                <a:srgbClr val="C1F400"/>
              </a:buClr>
              <a:buSzPts val="28700"/>
              <a:buNone/>
              <a:defRPr sz="28700">
                <a:solidFill>
                  <a:srgbClr val="C1F400"/>
                </a:solidFill>
              </a:defRPr>
            </a:lvl5pPr>
            <a:lvl6pPr lvl="5" rtl="0">
              <a:spcBef>
                <a:spcPts val="0"/>
              </a:spcBef>
              <a:spcAft>
                <a:spcPts val="0"/>
              </a:spcAft>
              <a:buClr>
                <a:srgbClr val="C1F400"/>
              </a:buClr>
              <a:buSzPts val="28700"/>
              <a:buNone/>
              <a:defRPr sz="28700">
                <a:solidFill>
                  <a:srgbClr val="C1F400"/>
                </a:solidFill>
              </a:defRPr>
            </a:lvl6pPr>
            <a:lvl7pPr lvl="6" rtl="0">
              <a:spcBef>
                <a:spcPts val="0"/>
              </a:spcBef>
              <a:spcAft>
                <a:spcPts val="0"/>
              </a:spcAft>
              <a:buClr>
                <a:srgbClr val="C1F400"/>
              </a:buClr>
              <a:buSzPts val="28700"/>
              <a:buNone/>
              <a:defRPr sz="28700">
                <a:solidFill>
                  <a:srgbClr val="C1F400"/>
                </a:solidFill>
              </a:defRPr>
            </a:lvl7pPr>
            <a:lvl8pPr lvl="7" rtl="0">
              <a:spcBef>
                <a:spcPts val="0"/>
              </a:spcBef>
              <a:spcAft>
                <a:spcPts val="0"/>
              </a:spcAft>
              <a:buClr>
                <a:srgbClr val="C1F400"/>
              </a:buClr>
              <a:buSzPts val="28700"/>
              <a:buNone/>
              <a:defRPr sz="28700">
                <a:solidFill>
                  <a:srgbClr val="C1F400"/>
                </a:solidFill>
              </a:defRPr>
            </a:lvl8pPr>
            <a:lvl9pPr lvl="8" rtl="0">
              <a:spcBef>
                <a:spcPts val="0"/>
              </a:spcBef>
              <a:spcAft>
                <a:spcPts val="0"/>
              </a:spcAft>
              <a:buClr>
                <a:srgbClr val="C1F400"/>
              </a:buClr>
              <a:buSzPts val="28700"/>
              <a:buNone/>
              <a:defRPr sz="28700">
                <a:solidFill>
                  <a:srgbClr val="C1F400"/>
                </a:solidFill>
              </a:defRPr>
            </a:lvl9pPr>
          </a:lstStyle>
          <a:p>
            <a:endParaRPr/>
          </a:p>
        </p:txBody>
      </p:sp>
      <p:sp>
        <p:nvSpPr>
          <p:cNvPr id="232" name="Google Shape;232;p20"/>
          <p:cNvSpPr txBox="1">
            <a:spLocks noGrp="1"/>
          </p:cNvSpPr>
          <p:nvPr>
            <p:ph type="subTitle" idx="1"/>
          </p:nvPr>
        </p:nvSpPr>
        <p:spPr>
          <a:xfrm>
            <a:off x="5329075" y="7622800"/>
            <a:ext cx="11616000" cy="12405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rgbClr val="C1F400"/>
              </a:buClr>
              <a:buSzPts val="4900"/>
              <a:buFont typeface="Montserrat Medium"/>
              <a:buNone/>
              <a:defRPr sz="4900">
                <a:solidFill>
                  <a:srgbClr val="C1F400"/>
                </a:solidFill>
                <a:latin typeface="Montserrat Medium"/>
                <a:ea typeface="Montserrat Medium"/>
                <a:cs typeface="Montserrat Medium"/>
                <a:sym typeface="Montserrat Medium"/>
              </a:defRPr>
            </a:lvl1pPr>
            <a:lvl2pPr lvl="1" rtl="0">
              <a:spcBef>
                <a:spcPts val="0"/>
              </a:spcBef>
              <a:spcAft>
                <a:spcPts val="0"/>
              </a:spcAft>
              <a:buClr>
                <a:srgbClr val="C1F400"/>
              </a:buClr>
              <a:buSzPts val="1400"/>
              <a:buNone/>
              <a:defRPr>
                <a:solidFill>
                  <a:srgbClr val="C1F400"/>
                </a:solidFill>
              </a:defRPr>
            </a:lvl2pPr>
            <a:lvl3pPr lvl="2" rtl="0">
              <a:spcBef>
                <a:spcPts val="0"/>
              </a:spcBef>
              <a:spcAft>
                <a:spcPts val="0"/>
              </a:spcAft>
              <a:buClr>
                <a:srgbClr val="C1F400"/>
              </a:buClr>
              <a:buSzPts val="1400"/>
              <a:buNone/>
              <a:defRPr>
                <a:solidFill>
                  <a:srgbClr val="C1F400"/>
                </a:solidFill>
              </a:defRPr>
            </a:lvl3pPr>
            <a:lvl4pPr lvl="3" rtl="0">
              <a:spcBef>
                <a:spcPts val="0"/>
              </a:spcBef>
              <a:spcAft>
                <a:spcPts val="0"/>
              </a:spcAft>
              <a:buClr>
                <a:srgbClr val="C1F400"/>
              </a:buClr>
              <a:buSzPts val="1400"/>
              <a:buNone/>
              <a:defRPr>
                <a:solidFill>
                  <a:srgbClr val="C1F400"/>
                </a:solidFill>
              </a:defRPr>
            </a:lvl4pPr>
            <a:lvl5pPr lvl="4" rtl="0">
              <a:spcBef>
                <a:spcPts val="0"/>
              </a:spcBef>
              <a:spcAft>
                <a:spcPts val="0"/>
              </a:spcAft>
              <a:buClr>
                <a:srgbClr val="C1F400"/>
              </a:buClr>
              <a:buSzPts val="1400"/>
              <a:buNone/>
              <a:defRPr>
                <a:solidFill>
                  <a:srgbClr val="C1F400"/>
                </a:solidFill>
              </a:defRPr>
            </a:lvl5pPr>
            <a:lvl6pPr lvl="5" rtl="0">
              <a:spcBef>
                <a:spcPts val="0"/>
              </a:spcBef>
              <a:spcAft>
                <a:spcPts val="0"/>
              </a:spcAft>
              <a:buClr>
                <a:srgbClr val="C1F400"/>
              </a:buClr>
              <a:buSzPts val="1400"/>
              <a:buNone/>
              <a:defRPr>
                <a:solidFill>
                  <a:srgbClr val="C1F400"/>
                </a:solidFill>
              </a:defRPr>
            </a:lvl6pPr>
            <a:lvl7pPr lvl="6" rtl="0">
              <a:spcBef>
                <a:spcPts val="0"/>
              </a:spcBef>
              <a:spcAft>
                <a:spcPts val="0"/>
              </a:spcAft>
              <a:buClr>
                <a:srgbClr val="C1F400"/>
              </a:buClr>
              <a:buSzPts val="1400"/>
              <a:buNone/>
              <a:defRPr>
                <a:solidFill>
                  <a:srgbClr val="C1F400"/>
                </a:solidFill>
              </a:defRPr>
            </a:lvl7pPr>
            <a:lvl8pPr lvl="7" rtl="0">
              <a:spcBef>
                <a:spcPts val="0"/>
              </a:spcBef>
              <a:spcAft>
                <a:spcPts val="0"/>
              </a:spcAft>
              <a:buClr>
                <a:srgbClr val="C1F400"/>
              </a:buClr>
              <a:buSzPts val="1400"/>
              <a:buNone/>
              <a:defRPr>
                <a:solidFill>
                  <a:srgbClr val="C1F400"/>
                </a:solidFill>
              </a:defRPr>
            </a:lvl8pPr>
            <a:lvl9pPr lvl="8" rtl="0">
              <a:spcBef>
                <a:spcPts val="0"/>
              </a:spcBef>
              <a:spcAft>
                <a:spcPts val="0"/>
              </a:spcAft>
              <a:buClr>
                <a:srgbClr val="C1F400"/>
              </a:buClr>
              <a:buSzPts val="1400"/>
              <a:buNone/>
              <a:defRPr>
                <a:solidFill>
                  <a:srgbClr val="C1F400"/>
                </a:solidFill>
              </a:defRPr>
            </a:lvl9pPr>
          </a:lstStyle>
          <a:p>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Small Logo Grid">
  <p:cSld name="Small Logo Grid">
    <p:spTree>
      <p:nvGrpSpPr>
        <p:cNvPr id="1" name="Shape 233"/>
        <p:cNvGrpSpPr/>
        <p:nvPr/>
      </p:nvGrpSpPr>
      <p:grpSpPr>
        <a:xfrm>
          <a:off x="0" y="0"/>
          <a:ext cx="0" cy="0"/>
          <a:chOff x="0" y="0"/>
          <a:chExt cx="0" cy="0"/>
        </a:xfrm>
      </p:grpSpPr>
      <p:pic>
        <p:nvPicPr>
          <p:cNvPr id="234" name="Google Shape;234;p21"/>
          <p:cNvPicPr preferRelativeResize="0"/>
          <p:nvPr/>
        </p:nvPicPr>
        <p:blipFill>
          <a:blip r:embed="rId2">
            <a:alphaModFix/>
          </a:blip>
          <a:stretch>
            <a:fillRect/>
          </a:stretch>
        </p:blipFill>
        <p:spPr>
          <a:xfrm>
            <a:off x="0" y="-2678850"/>
            <a:ext cx="24377651" cy="9379682"/>
          </a:xfrm>
          <a:prstGeom prst="rect">
            <a:avLst/>
          </a:prstGeom>
          <a:noFill/>
          <a:ln>
            <a:noFill/>
          </a:ln>
        </p:spPr>
      </p:pic>
      <p:sp>
        <p:nvSpPr>
          <p:cNvPr id="235" name="Google Shape;235;p21"/>
          <p:cNvSpPr>
            <a:spLocks noGrp="1"/>
          </p:cNvSpPr>
          <p:nvPr>
            <p:ph type="pic" idx="2"/>
          </p:nvPr>
        </p:nvSpPr>
        <p:spPr>
          <a:xfrm>
            <a:off x="8271875" y="7099525"/>
            <a:ext cx="3522300" cy="1201200"/>
          </a:xfrm>
          <a:prstGeom prst="rect">
            <a:avLst/>
          </a:prstGeom>
          <a:noFill/>
          <a:ln>
            <a:noFill/>
          </a:ln>
        </p:spPr>
      </p:sp>
      <p:sp>
        <p:nvSpPr>
          <p:cNvPr id="236" name="Google Shape;236;p21"/>
          <p:cNvSpPr>
            <a:spLocks noGrp="1"/>
          </p:cNvSpPr>
          <p:nvPr>
            <p:ph type="pic" idx="3"/>
          </p:nvPr>
        </p:nvSpPr>
        <p:spPr>
          <a:xfrm>
            <a:off x="8271875" y="8540674"/>
            <a:ext cx="3522300" cy="1201200"/>
          </a:xfrm>
          <a:prstGeom prst="rect">
            <a:avLst/>
          </a:prstGeom>
          <a:noFill/>
          <a:ln>
            <a:noFill/>
          </a:ln>
        </p:spPr>
      </p:sp>
      <p:sp>
        <p:nvSpPr>
          <p:cNvPr id="237" name="Google Shape;237;p21"/>
          <p:cNvSpPr>
            <a:spLocks noGrp="1"/>
          </p:cNvSpPr>
          <p:nvPr>
            <p:ph type="pic" idx="4"/>
          </p:nvPr>
        </p:nvSpPr>
        <p:spPr>
          <a:xfrm>
            <a:off x="8271875" y="9981824"/>
            <a:ext cx="3522300" cy="1201200"/>
          </a:xfrm>
          <a:prstGeom prst="rect">
            <a:avLst/>
          </a:prstGeom>
          <a:noFill/>
          <a:ln>
            <a:noFill/>
          </a:ln>
        </p:spPr>
      </p:sp>
      <p:sp>
        <p:nvSpPr>
          <p:cNvPr id="238" name="Google Shape;238;p21"/>
          <p:cNvSpPr>
            <a:spLocks noGrp="1"/>
          </p:cNvSpPr>
          <p:nvPr>
            <p:ph type="pic" idx="5"/>
          </p:nvPr>
        </p:nvSpPr>
        <p:spPr>
          <a:xfrm>
            <a:off x="11987655" y="7099525"/>
            <a:ext cx="3522300" cy="1201200"/>
          </a:xfrm>
          <a:prstGeom prst="rect">
            <a:avLst/>
          </a:prstGeom>
          <a:noFill/>
          <a:ln>
            <a:noFill/>
          </a:ln>
        </p:spPr>
      </p:sp>
      <p:sp>
        <p:nvSpPr>
          <p:cNvPr id="239" name="Google Shape;239;p21"/>
          <p:cNvSpPr>
            <a:spLocks noGrp="1"/>
          </p:cNvSpPr>
          <p:nvPr>
            <p:ph type="pic" idx="6"/>
          </p:nvPr>
        </p:nvSpPr>
        <p:spPr>
          <a:xfrm>
            <a:off x="11987655" y="8540674"/>
            <a:ext cx="3522300" cy="1201200"/>
          </a:xfrm>
          <a:prstGeom prst="rect">
            <a:avLst/>
          </a:prstGeom>
          <a:noFill/>
          <a:ln>
            <a:noFill/>
          </a:ln>
        </p:spPr>
      </p:sp>
      <p:sp>
        <p:nvSpPr>
          <p:cNvPr id="240" name="Google Shape;240;p21"/>
          <p:cNvSpPr>
            <a:spLocks noGrp="1"/>
          </p:cNvSpPr>
          <p:nvPr>
            <p:ph type="pic" idx="7"/>
          </p:nvPr>
        </p:nvSpPr>
        <p:spPr>
          <a:xfrm>
            <a:off x="11987655" y="9981824"/>
            <a:ext cx="3522300" cy="1201200"/>
          </a:xfrm>
          <a:prstGeom prst="rect">
            <a:avLst/>
          </a:prstGeom>
          <a:noFill/>
          <a:ln>
            <a:noFill/>
          </a:ln>
        </p:spPr>
      </p:sp>
      <p:sp>
        <p:nvSpPr>
          <p:cNvPr id="241" name="Google Shape;241;p21"/>
          <p:cNvSpPr>
            <a:spLocks noGrp="1"/>
          </p:cNvSpPr>
          <p:nvPr>
            <p:ph type="pic" idx="8"/>
          </p:nvPr>
        </p:nvSpPr>
        <p:spPr>
          <a:xfrm>
            <a:off x="15703436" y="7099525"/>
            <a:ext cx="3522300" cy="1201200"/>
          </a:xfrm>
          <a:prstGeom prst="rect">
            <a:avLst/>
          </a:prstGeom>
          <a:noFill/>
          <a:ln>
            <a:noFill/>
          </a:ln>
        </p:spPr>
      </p:sp>
      <p:sp>
        <p:nvSpPr>
          <p:cNvPr id="242" name="Google Shape;242;p21"/>
          <p:cNvSpPr>
            <a:spLocks noGrp="1"/>
          </p:cNvSpPr>
          <p:nvPr>
            <p:ph type="pic" idx="9"/>
          </p:nvPr>
        </p:nvSpPr>
        <p:spPr>
          <a:xfrm>
            <a:off x="15703436" y="8540674"/>
            <a:ext cx="3522300" cy="1201200"/>
          </a:xfrm>
          <a:prstGeom prst="rect">
            <a:avLst/>
          </a:prstGeom>
          <a:noFill/>
          <a:ln>
            <a:noFill/>
          </a:ln>
        </p:spPr>
      </p:sp>
      <p:sp>
        <p:nvSpPr>
          <p:cNvPr id="243" name="Google Shape;243;p21"/>
          <p:cNvSpPr>
            <a:spLocks noGrp="1"/>
          </p:cNvSpPr>
          <p:nvPr>
            <p:ph type="pic" idx="13"/>
          </p:nvPr>
        </p:nvSpPr>
        <p:spPr>
          <a:xfrm>
            <a:off x="15703436" y="9981824"/>
            <a:ext cx="3522300" cy="1201200"/>
          </a:xfrm>
          <a:prstGeom prst="rect">
            <a:avLst/>
          </a:prstGeom>
          <a:noFill/>
          <a:ln>
            <a:noFill/>
          </a:ln>
        </p:spPr>
      </p:sp>
      <p:sp>
        <p:nvSpPr>
          <p:cNvPr id="244" name="Google Shape;244;p21"/>
          <p:cNvSpPr>
            <a:spLocks noGrp="1"/>
          </p:cNvSpPr>
          <p:nvPr>
            <p:ph type="pic" idx="14"/>
          </p:nvPr>
        </p:nvSpPr>
        <p:spPr>
          <a:xfrm>
            <a:off x="8271875" y="11422973"/>
            <a:ext cx="3522300" cy="1201200"/>
          </a:xfrm>
          <a:prstGeom prst="rect">
            <a:avLst/>
          </a:prstGeom>
          <a:noFill/>
          <a:ln>
            <a:noFill/>
          </a:ln>
        </p:spPr>
      </p:sp>
      <p:sp>
        <p:nvSpPr>
          <p:cNvPr id="245" name="Google Shape;245;p21"/>
          <p:cNvSpPr>
            <a:spLocks noGrp="1"/>
          </p:cNvSpPr>
          <p:nvPr>
            <p:ph type="pic" idx="15"/>
          </p:nvPr>
        </p:nvSpPr>
        <p:spPr>
          <a:xfrm>
            <a:off x="11987655" y="11422973"/>
            <a:ext cx="3522300" cy="1201200"/>
          </a:xfrm>
          <a:prstGeom prst="rect">
            <a:avLst/>
          </a:prstGeom>
          <a:noFill/>
          <a:ln>
            <a:noFill/>
          </a:ln>
        </p:spPr>
      </p:sp>
      <p:sp>
        <p:nvSpPr>
          <p:cNvPr id="246" name="Google Shape;246;p21"/>
          <p:cNvSpPr>
            <a:spLocks noGrp="1"/>
          </p:cNvSpPr>
          <p:nvPr>
            <p:ph type="pic" idx="16"/>
          </p:nvPr>
        </p:nvSpPr>
        <p:spPr>
          <a:xfrm>
            <a:off x="15703436" y="11422973"/>
            <a:ext cx="3522300" cy="1201200"/>
          </a:xfrm>
          <a:prstGeom prst="rect">
            <a:avLst/>
          </a:prstGeom>
          <a:noFill/>
          <a:ln>
            <a:noFill/>
          </a:ln>
        </p:spPr>
      </p:sp>
      <p:sp>
        <p:nvSpPr>
          <p:cNvPr id="247" name="Google Shape;247;p21"/>
          <p:cNvSpPr>
            <a:spLocks noGrp="1"/>
          </p:cNvSpPr>
          <p:nvPr>
            <p:ph type="pic" idx="17"/>
          </p:nvPr>
        </p:nvSpPr>
        <p:spPr>
          <a:xfrm>
            <a:off x="19419211" y="7099525"/>
            <a:ext cx="3522300" cy="1201200"/>
          </a:xfrm>
          <a:prstGeom prst="rect">
            <a:avLst/>
          </a:prstGeom>
          <a:noFill/>
          <a:ln>
            <a:noFill/>
          </a:ln>
        </p:spPr>
      </p:sp>
      <p:sp>
        <p:nvSpPr>
          <p:cNvPr id="248" name="Google Shape;248;p21"/>
          <p:cNvSpPr>
            <a:spLocks noGrp="1"/>
          </p:cNvSpPr>
          <p:nvPr>
            <p:ph type="pic" idx="18"/>
          </p:nvPr>
        </p:nvSpPr>
        <p:spPr>
          <a:xfrm>
            <a:off x="19419211" y="8540674"/>
            <a:ext cx="3522300" cy="1201200"/>
          </a:xfrm>
          <a:prstGeom prst="rect">
            <a:avLst/>
          </a:prstGeom>
          <a:noFill/>
          <a:ln>
            <a:noFill/>
          </a:ln>
        </p:spPr>
      </p:sp>
      <p:sp>
        <p:nvSpPr>
          <p:cNvPr id="249" name="Google Shape;249;p21"/>
          <p:cNvSpPr>
            <a:spLocks noGrp="1"/>
          </p:cNvSpPr>
          <p:nvPr>
            <p:ph type="pic" idx="19"/>
          </p:nvPr>
        </p:nvSpPr>
        <p:spPr>
          <a:xfrm>
            <a:off x="19419211" y="9981824"/>
            <a:ext cx="3522300" cy="1201200"/>
          </a:xfrm>
          <a:prstGeom prst="rect">
            <a:avLst/>
          </a:prstGeom>
          <a:noFill/>
          <a:ln>
            <a:noFill/>
          </a:ln>
        </p:spPr>
      </p:sp>
      <p:sp>
        <p:nvSpPr>
          <p:cNvPr id="250" name="Google Shape;250;p21"/>
          <p:cNvSpPr>
            <a:spLocks noGrp="1"/>
          </p:cNvSpPr>
          <p:nvPr>
            <p:ph type="pic" idx="20"/>
          </p:nvPr>
        </p:nvSpPr>
        <p:spPr>
          <a:xfrm>
            <a:off x="19419211" y="11422973"/>
            <a:ext cx="3522300" cy="1201200"/>
          </a:xfrm>
          <a:prstGeom prst="rect">
            <a:avLst/>
          </a:prstGeom>
          <a:noFill/>
          <a:ln>
            <a:noFill/>
          </a:ln>
        </p:spPr>
      </p:sp>
      <p:sp>
        <p:nvSpPr>
          <p:cNvPr id="251" name="Google Shape;251;p21"/>
          <p:cNvSpPr txBox="1">
            <a:spLocks noGrp="1"/>
          </p:cNvSpPr>
          <p:nvPr>
            <p:ph type="title"/>
          </p:nvPr>
        </p:nvSpPr>
        <p:spPr>
          <a:xfrm>
            <a:off x="1990350" y="1382700"/>
            <a:ext cx="19257600" cy="3223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6400"/>
              <a:buFont typeface="Montserrat Black"/>
              <a:buNone/>
              <a:defRPr sz="6400">
                <a:solidFill>
                  <a:srgbClr val="002A44"/>
                </a:solidFill>
                <a:latin typeface="Montserrat Black"/>
                <a:ea typeface="Montserrat Black"/>
                <a:cs typeface="Montserrat Black"/>
                <a:sym typeface="Montserrat Black"/>
              </a:defRPr>
            </a:lvl1pPr>
            <a:lvl2pPr lvl="1" rtl="0">
              <a:spcBef>
                <a:spcPts val="0"/>
              </a:spcBef>
              <a:spcAft>
                <a:spcPts val="0"/>
              </a:spcAft>
              <a:buClr>
                <a:srgbClr val="002A44"/>
              </a:buClr>
              <a:buSzPts val="6400"/>
              <a:buNone/>
              <a:defRPr sz="6400">
                <a:solidFill>
                  <a:srgbClr val="002A44"/>
                </a:solidFill>
              </a:defRPr>
            </a:lvl2pPr>
            <a:lvl3pPr lvl="2" rtl="0">
              <a:spcBef>
                <a:spcPts val="0"/>
              </a:spcBef>
              <a:spcAft>
                <a:spcPts val="0"/>
              </a:spcAft>
              <a:buClr>
                <a:srgbClr val="002A44"/>
              </a:buClr>
              <a:buSzPts val="6400"/>
              <a:buNone/>
              <a:defRPr sz="6400">
                <a:solidFill>
                  <a:srgbClr val="002A44"/>
                </a:solidFill>
              </a:defRPr>
            </a:lvl3pPr>
            <a:lvl4pPr lvl="3" rtl="0">
              <a:spcBef>
                <a:spcPts val="0"/>
              </a:spcBef>
              <a:spcAft>
                <a:spcPts val="0"/>
              </a:spcAft>
              <a:buClr>
                <a:srgbClr val="002A44"/>
              </a:buClr>
              <a:buSzPts val="6400"/>
              <a:buNone/>
              <a:defRPr sz="6400">
                <a:solidFill>
                  <a:srgbClr val="002A44"/>
                </a:solidFill>
              </a:defRPr>
            </a:lvl4pPr>
            <a:lvl5pPr lvl="4" rtl="0">
              <a:spcBef>
                <a:spcPts val="0"/>
              </a:spcBef>
              <a:spcAft>
                <a:spcPts val="0"/>
              </a:spcAft>
              <a:buClr>
                <a:srgbClr val="002A44"/>
              </a:buClr>
              <a:buSzPts val="6400"/>
              <a:buNone/>
              <a:defRPr sz="6400">
                <a:solidFill>
                  <a:srgbClr val="002A44"/>
                </a:solidFill>
              </a:defRPr>
            </a:lvl5pPr>
            <a:lvl6pPr lvl="5" rtl="0">
              <a:spcBef>
                <a:spcPts val="0"/>
              </a:spcBef>
              <a:spcAft>
                <a:spcPts val="0"/>
              </a:spcAft>
              <a:buClr>
                <a:srgbClr val="002A44"/>
              </a:buClr>
              <a:buSzPts val="6400"/>
              <a:buNone/>
              <a:defRPr sz="6400">
                <a:solidFill>
                  <a:srgbClr val="002A44"/>
                </a:solidFill>
              </a:defRPr>
            </a:lvl6pPr>
            <a:lvl7pPr lvl="6" rtl="0">
              <a:spcBef>
                <a:spcPts val="0"/>
              </a:spcBef>
              <a:spcAft>
                <a:spcPts val="0"/>
              </a:spcAft>
              <a:buClr>
                <a:srgbClr val="002A44"/>
              </a:buClr>
              <a:buSzPts val="6400"/>
              <a:buNone/>
              <a:defRPr sz="6400">
                <a:solidFill>
                  <a:srgbClr val="002A44"/>
                </a:solidFill>
              </a:defRPr>
            </a:lvl7pPr>
            <a:lvl8pPr lvl="7" rtl="0">
              <a:spcBef>
                <a:spcPts val="0"/>
              </a:spcBef>
              <a:spcAft>
                <a:spcPts val="0"/>
              </a:spcAft>
              <a:buClr>
                <a:srgbClr val="002A44"/>
              </a:buClr>
              <a:buSzPts val="6400"/>
              <a:buNone/>
              <a:defRPr sz="6400">
                <a:solidFill>
                  <a:srgbClr val="002A44"/>
                </a:solidFill>
              </a:defRPr>
            </a:lvl8pPr>
            <a:lvl9pPr lvl="8" rtl="0">
              <a:spcBef>
                <a:spcPts val="0"/>
              </a:spcBef>
              <a:spcAft>
                <a:spcPts val="0"/>
              </a:spcAft>
              <a:buClr>
                <a:srgbClr val="002A44"/>
              </a:buClr>
              <a:buSzPts val="6400"/>
              <a:buNone/>
              <a:defRPr sz="6400">
                <a:solidFill>
                  <a:srgbClr val="002A44"/>
                </a:solidFill>
              </a:defRPr>
            </a:lvl9pPr>
          </a:lstStyle>
          <a:p>
            <a:endParaRPr/>
          </a:p>
        </p:txBody>
      </p:sp>
      <p:sp>
        <p:nvSpPr>
          <p:cNvPr id="252" name="Google Shape;252;p21"/>
          <p:cNvSpPr txBox="1">
            <a:spLocks noGrp="1"/>
          </p:cNvSpPr>
          <p:nvPr>
            <p:ph type="subTitle" idx="1"/>
          </p:nvPr>
        </p:nvSpPr>
        <p:spPr>
          <a:xfrm>
            <a:off x="1990350" y="7099525"/>
            <a:ext cx="5160600" cy="5583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2400"/>
              <a:buFont typeface="Open Sans"/>
              <a:buNone/>
              <a:defRPr sz="2400">
                <a:solidFill>
                  <a:srgbClr val="002A44"/>
                </a:solidFill>
                <a:latin typeface="Open Sans"/>
                <a:ea typeface="Open Sans"/>
                <a:cs typeface="Open Sans"/>
                <a:sym typeface="Open Sans"/>
              </a:defRPr>
            </a:lvl1pPr>
            <a:lvl2pPr lvl="1" rtl="0">
              <a:spcBef>
                <a:spcPts val="0"/>
              </a:spcBef>
              <a:spcAft>
                <a:spcPts val="0"/>
              </a:spcAft>
              <a:buSzPts val="2400"/>
              <a:buFont typeface="Open Sans"/>
              <a:buNone/>
              <a:defRPr sz="2400">
                <a:latin typeface="Open Sans"/>
                <a:ea typeface="Open Sans"/>
                <a:cs typeface="Open Sans"/>
                <a:sym typeface="Open Sans"/>
              </a:defRPr>
            </a:lvl2pPr>
            <a:lvl3pPr lvl="2" rtl="0">
              <a:spcBef>
                <a:spcPts val="0"/>
              </a:spcBef>
              <a:spcAft>
                <a:spcPts val="0"/>
              </a:spcAft>
              <a:buSzPts val="2400"/>
              <a:buFont typeface="Open Sans"/>
              <a:buNone/>
              <a:defRPr sz="2400">
                <a:latin typeface="Open Sans"/>
                <a:ea typeface="Open Sans"/>
                <a:cs typeface="Open Sans"/>
                <a:sym typeface="Open Sans"/>
              </a:defRPr>
            </a:lvl3pPr>
            <a:lvl4pPr lvl="3" rtl="0">
              <a:spcBef>
                <a:spcPts val="0"/>
              </a:spcBef>
              <a:spcAft>
                <a:spcPts val="0"/>
              </a:spcAft>
              <a:buSzPts val="2400"/>
              <a:buFont typeface="Open Sans"/>
              <a:buNone/>
              <a:defRPr sz="2400">
                <a:latin typeface="Open Sans"/>
                <a:ea typeface="Open Sans"/>
                <a:cs typeface="Open Sans"/>
                <a:sym typeface="Open Sans"/>
              </a:defRPr>
            </a:lvl4pPr>
            <a:lvl5pPr lvl="4" rtl="0">
              <a:spcBef>
                <a:spcPts val="0"/>
              </a:spcBef>
              <a:spcAft>
                <a:spcPts val="0"/>
              </a:spcAft>
              <a:buSzPts val="2400"/>
              <a:buFont typeface="Open Sans"/>
              <a:buNone/>
              <a:defRPr sz="2400">
                <a:latin typeface="Open Sans"/>
                <a:ea typeface="Open Sans"/>
                <a:cs typeface="Open Sans"/>
                <a:sym typeface="Open Sans"/>
              </a:defRPr>
            </a:lvl5pPr>
            <a:lvl6pPr lvl="5" rtl="0">
              <a:spcBef>
                <a:spcPts val="0"/>
              </a:spcBef>
              <a:spcAft>
                <a:spcPts val="0"/>
              </a:spcAft>
              <a:buSzPts val="2400"/>
              <a:buFont typeface="Open Sans"/>
              <a:buNone/>
              <a:defRPr sz="2400">
                <a:latin typeface="Open Sans"/>
                <a:ea typeface="Open Sans"/>
                <a:cs typeface="Open Sans"/>
                <a:sym typeface="Open Sans"/>
              </a:defRPr>
            </a:lvl6pPr>
            <a:lvl7pPr lvl="6" rtl="0">
              <a:spcBef>
                <a:spcPts val="0"/>
              </a:spcBef>
              <a:spcAft>
                <a:spcPts val="0"/>
              </a:spcAft>
              <a:buSzPts val="2400"/>
              <a:buFont typeface="Open Sans"/>
              <a:buNone/>
              <a:defRPr sz="2400">
                <a:latin typeface="Open Sans"/>
                <a:ea typeface="Open Sans"/>
                <a:cs typeface="Open Sans"/>
                <a:sym typeface="Open Sans"/>
              </a:defRPr>
            </a:lvl7pPr>
            <a:lvl8pPr lvl="7" rtl="0">
              <a:spcBef>
                <a:spcPts val="0"/>
              </a:spcBef>
              <a:spcAft>
                <a:spcPts val="0"/>
              </a:spcAft>
              <a:buSzPts val="2400"/>
              <a:buFont typeface="Open Sans"/>
              <a:buNone/>
              <a:defRPr sz="2400">
                <a:latin typeface="Open Sans"/>
                <a:ea typeface="Open Sans"/>
                <a:cs typeface="Open Sans"/>
                <a:sym typeface="Open Sans"/>
              </a:defRPr>
            </a:lvl8pPr>
            <a:lvl9pPr lvl="8" rtl="0">
              <a:spcBef>
                <a:spcPts val="0"/>
              </a:spcBef>
              <a:spcAft>
                <a:spcPts val="0"/>
              </a:spcAft>
              <a:buSzPts val="2400"/>
              <a:buFont typeface="Open Sans"/>
              <a:buNone/>
              <a:defRPr sz="2400">
                <a:latin typeface="Open Sans"/>
                <a:ea typeface="Open Sans"/>
                <a:cs typeface="Open Sans"/>
                <a:sym typeface="Open Sans"/>
              </a:defRPr>
            </a:lvl9pPr>
          </a:lstStyle>
          <a:p>
            <a:endParaRPr/>
          </a:p>
        </p:txBody>
      </p:sp>
      <p:sp>
        <p:nvSpPr>
          <p:cNvPr id="253" name="Google Shape;253;p21"/>
          <p:cNvSpPr/>
          <p:nvPr/>
        </p:nvSpPr>
        <p:spPr>
          <a:xfrm>
            <a:off x="22412037" y="536597"/>
            <a:ext cx="1515111" cy="1515111"/>
          </a:xfrm>
          <a:custGeom>
            <a:avLst/>
            <a:gdLst/>
            <a:ahLst/>
            <a:cxnLst/>
            <a:rect l="l" t="t" r="r" b="b"/>
            <a:pathLst>
              <a:path w="1137044" h="1137044" extrusionOk="0">
                <a:moveTo>
                  <a:pt x="0" y="0"/>
                </a:moveTo>
                <a:lnTo>
                  <a:pt x="1137044" y="0"/>
                </a:lnTo>
                <a:lnTo>
                  <a:pt x="1137044" y="1137044"/>
                </a:lnTo>
                <a:lnTo>
                  <a:pt x="0" y="1137044"/>
                </a:lnTo>
                <a:lnTo>
                  <a:pt x="0" y="0"/>
                </a:lnTo>
                <a:close/>
              </a:path>
            </a:pathLst>
          </a:custGeom>
          <a:blipFill rotWithShape="1">
            <a:blip r:embed="rId3">
              <a:alphaModFix/>
            </a:blip>
            <a:stretch>
              <a:fillRect/>
            </a:stretch>
          </a:blipFill>
          <a:ln>
            <a:noFill/>
          </a:ln>
        </p:spPr>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Large Logo Grid">
  <p:cSld name="Large Logo Grid">
    <p:spTree>
      <p:nvGrpSpPr>
        <p:cNvPr id="1" name="Shape 254"/>
        <p:cNvGrpSpPr/>
        <p:nvPr/>
      </p:nvGrpSpPr>
      <p:grpSpPr>
        <a:xfrm>
          <a:off x="0" y="0"/>
          <a:ext cx="0" cy="0"/>
          <a:chOff x="0" y="0"/>
          <a:chExt cx="0" cy="0"/>
        </a:xfrm>
      </p:grpSpPr>
      <p:pic>
        <p:nvPicPr>
          <p:cNvPr id="255" name="Google Shape;255;p22"/>
          <p:cNvPicPr preferRelativeResize="0"/>
          <p:nvPr/>
        </p:nvPicPr>
        <p:blipFill>
          <a:blip r:embed="rId2">
            <a:alphaModFix/>
          </a:blip>
          <a:stretch>
            <a:fillRect/>
          </a:stretch>
        </p:blipFill>
        <p:spPr>
          <a:xfrm>
            <a:off x="0" y="-2678850"/>
            <a:ext cx="24377651" cy="9379682"/>
          </a:xfrm>
          <a:prstGeom prst="rect">
            <a:avLst/>
          </a:prstGeom>
          <a:noFill/>
          <a:ln>
            <a:noFill/>
          </a:ln>
        </p:spPr>
      </p:pic>
      <p:sp>
        <p:nvSpPr>
          <p:cNvPr id="256" name="Google Shape;256;p22"/>
          <p:cNvSpPr>
            <a:spLocks noGrp="1"/>
          </p:cNvSpPr>
          <p:nvPr>
            <p:ph type="pic" idx="2"/>
          </p:nvPr>
        </p:nvSpPr>
        <p:spPr>
          <a:xfrm>
            <a:off x="5887679" y="7647200"/>
            <a:ext cx="4094700" cy="1878300"/>
          </a:xfrm>
          <a:prstGeom prst="rect">
            <a:avLst/>
          </a:prstGeom>
          <a:noFill/>
          <a:ln>
            <a:noFill/>
          </a:ln>
        </p:spPr>
      </p:sp>
      <p:sp>
        <p:nvSpPr>
          <p:cNvPr id="257" name="Google Shape;257;p22"/>
          <p:cNvSpPr>
            <a:spLocks noGrp="1"/>
          </p:cNvSpPr>
          <p:nvPr>
            <p:ph type="pic" idx="3"/>
          </p:nvPr>
        </p:nvSpPr>
        <p:spPr>
          <a:xfrm>
            <a:off x="5887679" y="10317030"/>
            <a:ext cx="4094700" cy="1878300"/>
          </a:xfrm>
          <a:prstGeom prst="rect">
            <a:avLst/>
          </a:prstGeom>
          <a:noFill/>
          <a:ln>
            <a:noFill/>
          </a:ln>
        </p:spPr>
      </p:sp>
      <p:sp>
        <p:nvSpPr>
          <p:cNvPr id="258" name="Google Shape;258;p22"/>
          <p:cNvSpPr>
            <a:spLocks noGrp="1"/>
          </p:cNvSpPr>
          <p:nvPr>
            <p:ph type="pic" idx="4"/>
          </p:nvPr>
        </p:nvSpPr>
        <p:spPr>
          <a:xfrm>
            <a:off x="10207364" y="7647200"/>
            <a:ext cx="4094700" cy="1878300"/>
          </a:xfrm>
          <a:prstGeom prst="rect">
            <a:avLst/>
          </a:prstGeom>
          <a:noFill/>
          <a:ln>
            <a:noFill/>
          </a:ln>
        </p:spPr>
      </p:sp>
      <p:sp>
        <p:nvSpPr>
          <p:cNvPr id="259" name="Google Shape;259;p22"/>
          <p:cNvSpPr>
            <a:spLocks noGrp="1"/>
          </p:cNvSpPr>
          <p:nvPr>
            <p:ph type="pic" idx="5"/>
          </p:nvPr>
        </p:nvSpPr>
        <p:spPr>
          <a:xfrm>
            <a:off x="10207364" y="10317030"/>
            <a:ext cx="4094700" cy="1878300"/>
          </a:xfrm>
          <a:prstGeom prst="rect">
            <a:avLst/>
          </a:prstGeom>
          <a:noFill/>
          <a:ln>
            <a:noFill/>
          </a:ln>
        </p:spPr>
      </p:sp>
      <p:sp>
        <p:nvSpPr>
          <p:cNvPr id="260" name="Google Shape;260;p22"/>
          <p:cNvSpPr>
            <a:spLocks noGrp="1"/>
          </p:cNvSpPr>
          <p:nvPr>
            <p:ph type="pic" idx="6"/>
          </p:nvPr>
        </p:nvSpPr>
        <p:spPr>
          <a:xfrm>
            <a:off x="14527049" y="7647200"/>
            <a:ext cx="4094700" cy="1878300"/>
          </a:xfrm>
          <a:prstGeom prst="rect">
            <a:avLst/>
          </a:prstGeom>
          <a:noFill/>
          <a:ln>
            <a:noFill/>
          </a:ln>
        </p:spPr>
      </p:sp>
      <p:sp>
        <p:nvSpPr>
          <p:cNvPr id="261" name="Google Shape;261;p22"/>
          <p:cNvSpPr>
            <a:spLocks noGrp="1"/>
          </p:cNvSpPr>
          <p:nvPr>
            <p:ph type="pic" idx="7"/>
          </p:nvPr>
        </p:nvSpPr>
        <p:spPr>
          <a:xfrm>
            <a:off x="14527049" y="10317030"/>
            <a:ext cx="4094700" cy="1878300"/>
          </a:xfrm>
          <a:prstGeom prst="rect">
            <a:avLst/>
          </a:prstGeom>
          <a:noFill/>
          <a:ln>
            <a:noFill/>
          </a:ln>
        </p:spPr>
      </p:sp>
      <p:sp>
        <p:nvSpPr>
          <p:cNvPr id="262" name="Google Shape;262;p22"/>
          <p:cNvSpPr>
            <a:spLocks noGrp="1"/>
          </p:cNvSpPr>
          <p:nvPr>
            <p:ph type="pic" idx="8"/>
          </p:nvPr>
        </p:nvSpPr>
        <p:spPr>
          <a:xfrm>
            <a:off x="18846728" y="7647200"/>
            <a:ext cx="4094700" cy="1878300"/>
          </a:xfrm>
          <a:prstGeom prst="rect">
            <a:avLst/>
          </a:prstGeom>
          <a:noFill/>
          <a:ln>
            <a:noFill/>
          </a:ln>
        </p:spPr>
      </p:sp>
      <p:sp>
        <p:nvSpPr>
          <p:cNvPr id="263" name="Google Shape;263;p22"/>
          <p:cNvSpPr>
            <a:spLocks noGrp="1"/>
          </p:cNvSpPr>
          <p:nvPr>
            <p:ph type="pic" idx="9"/>
          </p:nvPr>
        </p:nvSpPr>
        <p:spPr>
          <a:xfrm>
            <a:off x="1568000" y="7647200"/>
            <a:ext cx="4094700" cy="1878300"/>
          </a:xfrm>
          <a:prstGeom prst="rect">
            <a:avLst/>
          </a:prstGeom>
          <a:noFill/>
          <a:ln>
            <a:noFill/>
          </a:ln>
        </p:spPr>
      </p:sp>
      <p:sp>
        <p:nvSpPr>
          <p:cNvPr id="264" name="Google Shape;264;p22"/>
          <p:cNvSpPr>
            <a:spLocks noGrp="1"/>
          </p:cNvSpPr>
          <p:nvPr>
            <p:ph type="pic" idx="13"/>
          </p:nvPr>
        </p:nvSpPr>
        <p:spPr>
          <a:xfrm>
            <a:off x="1568000" y="10317030"/>
            <a:ext cx="4094700" cy="1878300"/>
          </a:xfrm>
          <a:prstGeom prst="rect">
            <a:avLst/>
          </a:prstGeom>
          <a:noFill/>
          <a:ln>
            <a:noFill/>
          </a:ln>
        </p:spPr>
      </p:sp>
      <p:sp>
        <p:nvSpPr>
          <p:cNvPr id="265" name="Google Shape;265;p22"/>
          <p:cNvSpPr>
            <a:spLocks noGrp="1"/>
          </p:cNvSpPr>
          <p:nvPr>
            <p:ph type="pic" idx="14"/>
          </p:nvPr>
        </p:nvSpPr>
        <p:spPr>
          <a:xfrm>
            <a:off x="18846728" y="10317031"/>
            <a:ext cx="4094700" cy="1878300"/>
          </a:xfrm>
          <a:prstGeom prst="rect">
            <a:avLst/>
          </a:prstGeom>
          <a:noFill/>
          <a:ln>
            <a:noFill/>
          </a:ln>
        </p:spPr>
      </p:sp>
      <p:sp>
        <p:nvSpPr>
          <p:cNvPr id="266" name="Google Shape;266;p22"/>
          <p:cNvSpPr txBox="1">
            <a:spLocks noGrp="1"/>
          </p:cNvSpPr>
          <p:nvPr>
            <p:ph type="subTitle" idx="1"/>
          </p:nvPr>
        </p:nvSpPr>
        <p:spPr>
          <a:xfrm>
            <a:off x="9779875" y="1431750"/>
            <a:ext cx="12094200" cy="24381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3600"/>
              <a:buFont typeface="Montserrat"/>
              <a:buNone/>
              <a:defRPr sz="3600">
                <a:solidFill>
                  <a:srgbClr val="002A44"/>
                </a:solidFill>
                <a:latin typeface="Montserrat"/>
                <a:ea typeface="Montserrat"/>
                <a:cs typeface="Montserrat"/>
                <a:sym typeface="Montserrat"/>
              </a:defRPr>
            </a:lvl1pPr>
            <a:lvl2pPr lvl="1" rtl="0">
              <a:spcBef>
                <a:spcPts val="0"/>
              </a:spcBef>
              <a:spcAft>
                <a:spcPts val="0"/>
              </a:spcAft>
              <a:buSzPts val="3600"/>
              <a:buNone/>
              <a:defRPr sz="3600"/>
            </a:lvl2pPr>
            <a:lvl3pPr lvl="2" rtl="0">
              <a:spcBef>
                <a:spcPts val="0"/>
              </a:spcBef>
              <a:spcAft>
                <a:spcPts val="0"/>
              </a:spcAft>
              <a:buSzPts val="3600"/>
              <a:buNone/>
              <a:defRPr sz="3600"/>
            </a:lvl3pPr>
            <a:lvl4pPr lvl="3" rtl="0">
              <a:spcBef>
                <a:spcPts val="0"/>
              </a:spcBef>
              <a:spcAft>
                <a:spcPts val="0"/>
              </a:spcAft>
              <a:buSzPts val="3600"/>
              <a:buNone/>
              <a:defRPr sz="3600"/>
            </a:lvl4pPr>
            <a:lvl5pPr lvl="4" rtl="0">
              <a:spcBef>
                <a:spcPts val="0"/>
              </a:spcBef>
              <a:spcAft>
                <a:spcPts val="0"/>
              </a:spcAft>
              <a:buSzPts val="3600"/>
              <a:buNone/>
              <a:defRPr sz="3600"/>
            </a:lvl5pPr>
            <a:lvl6pPr lvl="5" rtl="0">
              <a:spcBef>
                <a:spcPts val="0"/>
              </a:spcBef>
              <a:spcAft>
                <a:spcPts val="0"/>
              </a:spcAft>
              <a:buSzPts val="3600"/>
              <a:buNone/>
              <a:defRPr sz="3600"/>
            </a:lvl6pPr>
            <a:lvl7pPr lvl="6" rtl="0">
              <a:spcBef>
                <a:spcPts val="0"/>
              </a:spcBef>
              <a:spcAft>
                <a:spcPts val="0"/>
              </a:spcAft>
              <a:buSzPts val="3600"/>
              <a:buNone/>
              <a:defRPr sz="3600"/>
            </a:lvl7pPr>
            <a:lvl8pPr lvl="7" rtl="0">
              <a:spcBef>
                <a:spcPts val="0"/>
              </a:spcBef>
              <a:spcAft>
                <a:spcPts val="0"/>
              </a:spcAft>
              <a:buSzPts val="3600"/>
              <a:buNone/>
              <a:defRPr sz="3600"/>
            </a:lvl8pPr>
            <a:lvl9pPr lvl="8" rtl="0">
              <a:spcBef>
                <a:spcPts val="0"/>
              </a:spcBef>
              <a:spcAft>
                <a:spcPts val="0"/>
              </a:spcAft>
              <a:buSzPts val="3600"/>
              <a:buNone/>
              <a:defRPr sz="3600"/>
            </a:lvl9pPr>
          </a:lstStyle>
          <a:p>
            <a:endParaRPr/>
          </a:p>
        </p:txBody>
      </p:sp>
      <p:sp>
        <p:nvSpPr>
          <p:cNvPr id="267" name="Google Shape;267;p22"/>
          <p:cNvSpPr txBox="1">
            <a:spLocks noGrp="1"/>
          </p:cNvSpPr>
          <p:nvPr>
            <p:ph type="title"/>
          </p:nvPr>
        </p:nvSpPr>
        <p:spPr>
          <a:xfrm>
            <a:off x="1568000" y="1325550"/>
            <a:ext cx="6875100" cy="26505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7200"/>
              <a:buFont typeface="Montserrat Black"/>
              <a:buNone/>
              <a:defRPr sz="7200">
                <a:solidFill>
                  <a:srgbClr val="002A44"/>
                </a:solidFill>
                <a:latin typeface="Montserrat Black"/>
                <a:ea typeface="Montserrat Black"/>
                <a:cs typeface="Montserrat Black"/>
                <a:sym typeface="Montserrat Black"/>
              </a:defRPr>
            </a:lvl1pPr>
            <a:lvl2pPr lvl="1" rtl="0">
              <a:spcBef>
                <a:spcPts val="0"/>
              </a:spcBef>
              <a:spcAft>
                <a:spcPts val="0"/>
              </a:spcAft>
              <a:buSzPts val="7200"/>
              <a:buNone/>
              <a:defRPr sz="7200"/>
            </a:lvl2pPr>
            <a:lvl3pPr lvl="2" rtl="0">
              <a:spcBef>
                <a:spcPts val="0"/>
              </a:spcBef>
              <a:spcAft>
                <a:spcPts val="0"/>
              </a:spcAft>
              <a:buSzPts val="7200"/>
              <a:buNone/>
              <a:defRPr sz="7200"/>
            </a:lvl3pPr>
            <a:lvl4pPr lvl="3" rtl="0">
              <a:spcBef>
                <a:spcPts val="0"/>
              </a:spcBef>
              <a:spcAft>
                <a:spcPts val="0"/>
              </a:spcAft>
              <a:buSzPts val="7200"/>
              <a:buNone/>
              <a:defRPr sz="7200"/>
            </a:lvl4pPr>
            <a:lvl5pPr lvl="4" rtl="0">
              <a:spcBef>
                <a:spcPts val="0"/>
              </a:spcBef>
              <a:spcAft>
                <a:spcPts val="0"/>
              </a:spcAft>
              <a:buSzPts val="7200"/>
              <a:buNone/>
              <a:defRPr sz="7200"/>
            </a:lvl5pPr>
            <a:lvl6pPr lvl="5" rtl="0">
              <a:spcBef>
                <a:spcPts val="0"/>
              </a:spcBef>
              <a:spcAft>
                <a:spcPts val="0"/>
              </a:spcAft>
              <a:buSzPts val="7200"/>
              <a:buNone/>
              <a:defRPr sz="7200"/>
            </a:lvl6pPr>
            <a:lvl7pPr lvl="6" rtl="0">
              <a:spcBef>
                <a:spcPts val="0"/>
              </a:spcBef>
              <a:spcAft>
                <a:spcPts val="0"/>
              </a:spcAft>
              <a:buSzPts val="7200"/>
              <a:buNone/>
              <a:defRPr sz="7200"/>
            </a:lvl7pPr>
            <a:lvl8pPr lvl="7" rtl="0">
              <a:spcBef>
                <a:spcPts val="0"/>
              </a:spcBef>
              <a:spcAft>
                <a:spcPts val="0"/>
              </a:spcAft>
              <a:buSzPts val="7200"/>
              <a:buNone/>
              <a:defRPr sz="7200"/>
            </a:lvl8pPr>
            <a:lvl9pPr lvl="8" rtl="0">
              <a:spcBef>
                <a:spcPts val="0"/>
              </a:spcBef>
              <a:spcAft>
                <a:spcPts val="0"/>
              </a:spcAft>
              <a:buSzPts val="7200"/>
              <a:buNone/>
              <a:defRPr sz="7200"/>
            </a:lvl9pPr>
          </a:lstStyle>
          <a:p>
            <a:endParaRPr/>
          </a:p>
        </p:txBody>
      </p:sp>
      <p:sp>
        <p:nvSpPr>
          <p:cNvPr id="268" name="Google Shape;268;p22"/>
          <p:cNvSpPr/>
          <p:nvPr/>
        </p:nvSpPr>
        <p:spPr>
          <a:xfrm>
            <a:off x="22412037" y="536597"/>
            <a:ext cx="1515111" cy="1515111"/>
          </a:xfrm>
          <a:custGeom>
            <a:avLst/>
            <a:gdLst/>
            <a:ahLst/>
            <a:cxnLst/>
            <a:rect l="l" t="t" r="r" b="b"/>
            <a:pathLst>
              <a:path w="1137044" h="1137044" extrusionOk="0">
                <a:moveTo>
                  <a:pt x="0" y="0"/>
                </a:moveTo>
                <a:lnTo>
                  <a:pt x="1137044" y="0"/>
                </a:lnTo>
                <a:lnTo>
                  <a:pt x="1137044" y="1137044"/>
                </a:lnTo>
                <a:lnTo>
                  <a:pt x="0" y="1137044"/>
                </a:lnTo>
                <a:lnTo>
                  <a:pt x="0" y="0"/>
                </a:lnTo>
                <a:close/>
              </a:path>
            </a:pathLst>
          </a:custGeom>
          <a:blipFill rotWithShape="1">
            <a:blip r:embed="rId3">
              <a:alphaModFix/>
            </a:blip>
            <a:stretch>
              <a:fillRect/>
            </a:stretch>
          </a:blipFill>
          <a:ln>
            <a:noFill/>
          </a:ln>
        </p:spPr>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Icon Stats - 6">
  <p:cSld name="Icon Stats - 6">
    <p:spTree>
      <p:nvGrpSpPr>
        <p:cNvPr id="1" name="Shape 269"/>
        <p:cNvGrpSpPr/>
        <p:nvPr/>
      </p:nvGrpSpPr>
      <p:grpSpPr>
        <a:xfrm>
          <a:off x="0" y="0"/>
          <a:ext cx="0" cy="0"/>
          <a:chOff x="0" y="0"/>
          <a:chExt cx="0" cy="0"/>
        </a:xfrm>
      </p:grpSpPr>
      <p:sp>
        <p:nvSpPr>
          <p:cNvPr id="270" name="Google Shape;270;p23"/>
          <p:cNvSpPr txBox="1">
            <a:spLocks noGrp="1"/>
          </p:cNvSpPr>
          <p:nvPr>
            <p:ph type="sldNum" idx="12"/>
          </p:nvPr>
        </p:nvSpPr>
        <p:spPr>
          <a:xfrm>
            <a:off x="22587337" y="12435245"/>
            <a:ext cx="1462800" cy="1049700"/>
          </a:xfrm>
          <a:prstGeom prst="rect">
            <a:avLst/>
          </a:prstGeom>
        </p:spPr>
        <p:txBody>
          <a:bodyPr spcFirstLastPara="1" wrap="square" lIns="91425" tIns="45700" rIns="91425" bIns="4570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ctr" rtl="0">
              <a:spcBef>
                <a:spcPts val="0"/>
              </a:spcBef>
              <a:spcAft>
                <a:spcPts val="0"/>
              </a:spcAft>
              <a:buNone/>
            </a:pPr>
            <a:fld id="{00000000-1234-1234-1234-123412341234}" type="slidenum">
              <a:rPr lang="en-US"/>
              <a:t>‹#›</a:t>
            </a:fld>
            <a:endParaRPr/>
          </a:p>
        </p:txBody>
      </p:sp>
      <p:sp>
        <p:nvSpPr>
          <p:cNvPr id="271" name="Google Shape;271;p23"/>
          <p:cNvSpPr/>
          <p:nvPr/>
        </p:nvSpPr>
        <p:spPr>
          <a:xfrm>
            <a:off x="9259525" y="5166600"/>
            <a:ext cx="1776300" cy="1776300"/>
          </a:xfrm>
          <a:prstGeom prst="ellipse">
            <a:avLst/>
          </a:prstGeom>
          <a:solidFill>
            <a:srgbClr val="C1F400"/>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272" name="Google Shape;272;p23"/>
          <p:cNvSpPr/>
          <p:nvPr/>
        </p:nvSpPr>
        <p:spPr>
          <a:xfrm>
            <a:off x="9259525" y="9000675"/>
            <a:ext cx="1776300" cy="1776300"/>
          </a:xfrm>
          <a:prstGeom prst="ellipse">
            <a:avLst/>
          </a:prstGeom>
          <a:solidFill>
            <a:srgbClr val="C1F400"/>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273" name="Google Shape;273;p23"/>
          <p:cNvSpPr/>
          <p:nvPr/>
        </p:nvSpPr>
        <p:spPr>
          <a:xfrm>
            <a:off x="16017525" y="5166600"/>
            <a:ext cx="1776300" cy="1776300"/>
          </a:xfrm>
          <a:prstGeom prst="ellipse">
            <a:avLst/>
          </a:prstGeom>
          <a:solidFill>
            <a:srgbClr val="C1F400"/>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274" name="Google Shape;274;p23"/>
          <p:cNvSpPr/>
          <p:nvPr/>
        </p:nvSpPr>
        <p:spPr>
          <a:xfrm>
            <a:off x="16017525" y="9000675"/>
            <a:ext cx="1776300" cy="1776300"/>
          </a:xfrm>
          <a:prstGeom prst="ellipse">
            <a:avLst/>
          </a:prstGeom>
          <a:solidFill>
            <a:srgbClr val="C1F400"/>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275" name="Google Shape;275;p23"/>
          <p:cNvSpPr/>
          <p:nvPr/>
        </p:nvSpPr>
        <p:spPr>
          <a:xfrm>
            <a:off x="22412037" y="536597"/>
            <a:ext cx="1515111" cy="1515111"/>
          </a:xfrm>
          <a:custGeom>
            <a:avLst/>
            <a:gdLst/>
            <a:ahLst/>
            <a:cxnLst/>
            <a:rect l="l" t="t" r="r" b="b"/>
            <a:pathLst>
              <a:path w="1137044" h="1137044" extrusionOk="0">
                <a:moveTo>
                  <a:pt x="0" y="0"/>
                </a:moveTo>
                <a:lnTo>
                  <a:pt x="1137044" y="0"/>
                </a:lnTo>
                <a:lnTo>
                  <a:pt x="1137044" y="1137044"/>
                </a:lnTo>
                <a:lnTo>
                  <a:pt x="0" y="1137044"/>
                </a:lnTo>
                <a:lnTo>
                  <a:pt x="0" y="0"/>
                </a:lnTo>
                <a:close/>
              </a:path>
            </a:pathLst>
          </a:custGeom>
          <a:blipFill rotWithShape="1">
            <a:blip r:embed="rId2">
              <a:alphaModFix/>
            </a:blip>
            <a:stretch>
              <a:fillRect/>
            </a:stretch>
          </a:blipFill>
          <a:ln>
            <a:noFill/>
          </a:ln>
        </p:spPr>
      </p:sp>
      <p:sp>
        <p:nvSpPr>
          <p:cNvPr id="276" name="Google Shape;276;p23"/>
          <p:cNvSpPr/>
          <p:nvPr/>
        </p:nvSpPr>
        <p:spPr>
          <a:xfrm>
            <a:off x="2091950" y="5166600"/>
            <a:ext cx="1776300" cy="1776300"/>
          </a:xfrm>
          <a:prstGeom prst="ellipse">
            <a:avLst/>
          </a:prstGeom>
          <a:solidFill>
            <a:srgbClr val="C1F400"/>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277" name="Google Shape;277;p23"/>
          <p:cNvSpPr/>
          <p:nvPr/>
        </p:nvSpPr>
        <p:spPr>
          <a:xfrm>
            <a:off x="2091950" y="9000675"/>
            <a:ext cx="1776300" cy="1776300"/>
          </a:xfrm>
          <a:prstGeom prst="ellipse">
            <a:avLst/>
          </a:prstGeom>
          <a:solidFill>
            <a:srgbClr val="C1F400"/>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278" name="Google Shape;278;p23"/>
          <p:cNvSpPr>
            <a:spLocks noGrp="1"/>
          </p:cNvSpPr>
          <p:nvPr>
            <p:ph type="pic" idx="2"/>
          </p:nvPr>
        </p:nvSpPr>
        <p:spPr>
          <a:xfrm>
            <a:off x="2439273" y="5513900"/>
            <a:ext cx="1082100" cy="1081800"/>
          </a:xfrm>
          <a:prstGeom prst="ellipse">
            <a:avLst/>
          </a:prstGeom>
          <a:noFill/>
          <a:ln>
            <a:noFill/>
          </a:ln>
        </p:spPr>
      </p:sp>
      <p:sp>
        <p:nvSpPr>
          <p:cNvPr id="279" name="Google Shape;279;p23"/>
          <p:cNvSpPr txBox="1">
            <a:spLocks noGrp="1"/>
          </p:cNvSpPr>
          <p:nvPr>
            <p:ph type="title"/>
          </p:nvPr>
        </p:nvSpPr>
        <p:spPr>
          <a:xfrm>
            <a:off x="1939550" y="2872500"/>
            <a:ext cx="19375800" cy="14628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7200"/>
              <a:buFont typeface="Montserrat Black"/>
              <a:buNone/>
              <a:defRPr sz="7200">
                <a:solidFill>
                  <a:srgbClr val="002A44"/>
                </a:solidFill>
                <a:latin typeface="Montserrat Black"/>
                <a:ea typeface="Montserrat Black"/>
                <a:cs typeface="Montserrat Black"/>
                <a:sym typeface="Montserrat Black"/>
              </a:defRPr>
            </a:lvl1pPr>
            <a:lvl2pPr lvl="1" rtl="0">
              <a:spcBef>
                <a:spcPts val="0"/>
              </a:spcBef>
              <a:spcAft>
                <a:spcPts val="0"/>
              </a:spcAft>
              <a:buSzPts val="7200"/>
              <a:buNone/>
              <a:defRPr sz="7200"/>
            </a:lvl2pPr>
            <a:lvl3pPr lvl="2" rtl="0">
              <a:spcBef>
                <a:spcPts val="0"/>
              </a:spcBef>
              <a:spcAft>
                <a:spcPts val="0"/>
              </a:spcAft>
              <a:buSzPts val="7200"/>
              <a:buNone/>
              <a:defRPr sz="7200"/>
            </a:lvl3pPr>
            <a:lvl4pPr lvl="3" rtl="0">
              <a:spcBef>
                <a:spcPts val="0"/>
              </a:spcBef>
              <a:spcAft>
                <a:spcPts val="0"/>
              </a:spcAft>
              <a:buSzPts val="7200"/>
              <a:buNone/>
              <a:defRPr sz="7200"/>
            </a:lvl4pPr>
            <a:lvl5pPr lvl="4" rtl="0">
              <a:spcBef>
                <a:spcPts val="0"/>
              </a:spcBef>
              <a:spcAft>
                <a:spcPts val="0"/>
              </a:spcAft>
              <a:buSzPts val="7200"/>
              <a:buNone/>
              <a:defRPr sz="7200"/>
            </a:lvl5pPr>
            <a:lvl6pPr lvl="5" rtl="0">
              <a:spcBef>
                <a:spcPts val="0"/>
              </a:spcBef>
              <a:spcAft>
                <a:spcPts val="0"/>
              </a:spcAft>
              <a:buSzPts val="7200"/>
              <a:buNone/>
              <a:defRPr sz="7200"/>
            </a:lvl6pPr>
            <a:lvl7pPr lvl="6" rtl="0">
              <a:spcBef>
                <a:spcPts val="0"/>
              </a:spcBef>
              <a:spcAft>
                <a:spcPts val="0"/>
              </a:spcAft>
              <a:buSzPts val="7200"/>
              <a:buNone/>
              <a:defRPr sz="7200"/>
            </a:lvl7pPr>
            <a:lvl8pPr lvl="7" rtl="0">
              <a:spcBef>
                <a:spcPts val="0"/>
              </a:spcBef>
              <a:spcAft>
                <a:spcPts val="0"/>
              </a:spcAft>
              <a:buSzPts val="7200"/>
              <a:buNone/>
              <a:defRPr sz="7200"/>
            </a:lvl8pPr>
            <a:lvl9pPr lvl="8" rtl="0">
              <a:spcBef>
                <a:spcPts val="0"/>
              </a:spcBef>
              <a:spcAft>
                <a:spcPts val="0"/>
              </a:spcAft>
              <a:buSzPts val="7200"/>
              <a:buNone/>
              <a:defRPr sz="7200"/>
            </a:lvl9pPr>
          </a:lstStyle>
          <a:p>
            <a:endParaRPr/>
          </a:p>
        </p:txBody>
      </p:sp>
      <p:sp>
        <p:nvSpPr>
          <p:cNvPr id="280" name="Google Shape;280;p23"/>
          <p:cNvSpPr txBox="1">
            <a:spLocks noGrp="1"/>
          </p:cNvSpPr>
          <p:nvPr>
            <p:ph type="title" idx="3"/>
          </p:nvPr>
        </p:nvSpPr>
        <p:spPr>
          <a:xfrm>
            <a:off x="4143175" y="5166600"/>
            <a:ext cx="3922500" cy="737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3600"/>
              <a:buFont typeface="Montserrat Black"/>
              <a:buNone/>
              <a:defRPr sz="3600">
                <a:solidFill>
                  <a:srgbClr val="002A44"/>
                </a:solidFill>
                <a:latin typeface="Montserrat Black"/>
                <a:ea typeface="Montserrat Black"/>
                <a:cs typeface="Montserrat Black"/>
                <a:sym typeface="Montserrat Black"/>
              </a:defRPr>
            </a:lvl1pPr>
            <a:lvl2pPr lvl="1" rtl="0">
              <a:spcBef>
                <a:spcPts val="0"/>
              </a:spcBef>
              <a:spcAft>
                <a:spcPts val="0"/>
              </a:spcAft>
              <a:buSzPts val="3600"/>
              <a:buNone/>
              <a:defRPr sz="3600"/>
            </a:lvl2pPr>
            <a:lvl3pPr lvl="2" rtl="0">
              <a:spcBef>
                <a:spcPts val="0"/>
              </a:spcBef>
              <a:spcAft>
                <a:spcPts val="0"/>
              </a:spcAft>
              <a:buSzPts val="3600"/>
              <a:buNone/>
              <a:defRPr sz="3600"/>
            </a:lvl3pPr>
            <a:lvl4pPr lvl="3" rtl="0">
              <a:spcBef>
                <a:spcPts val="0"/>
              </a:spcBef>
              <a:spcAft>
                <a:spcPts val="0"/>
              </a:spcAft>
              <a:buSzPts val="3600"/>
              <a:buNone/>
              <a:defRPr sz="3600"/>
            </a:lvl4pPr>
            <a:lvl5pPr lvl="4" rtl="0">
              <a:spcBef>
                <a:spcPts val="0"/>
              </a:spcBef>
              <a:spcAft>
                <a:spcPts val="0"/>
              </a:spcAft>
              <a:buSzPts val="3600"/>
              <a:buNone/>
              <a:defRPr sz="3600"/>
            </a:lvl5pPr>
            <a:lvl6pPr lvl="5" rtl="0">
              <a:spcBef>
                <a:spcPts val="0"/>
              </a:spcBef>
              <a:spcAft>
                <a:spcPts val="0"/>
              </a:spcAft>
              <a:buSzPts val="3600"/>
              <a:buNone/>
              <a:defRPr sz="3600"/>
            </a:lvl6pPr>
            <a:lvl7pPr lvl="6" rtl="0">
              <a:spcBef>
                <a:spcPts val="0"/>
              </a:spcBef>
              <a:spcAft>
                <a:spcPts val="0"/>
              </a:spcAft>
              <a:buSzPts val="3600"/>
              <a:buNone/>
              <a:defRPr sz="3600"/>
            </a:lvl7pPr>
            <a:lvl8pPr lvl="7" rtl="0">
              <a:spcBef>
                <a:spcPts val="0"/>
              </a:spcBef>
              <a:spcAft>
                <a:spcPts val="0"/>
              </a:spcAft>
              <a:buSzPts val="3600"/>
              <a:buNone/>
              <a:defRPr sz="3600"/>
            </a:lvl8pPr>
            <a:lvl9pPr lvl="8" rtl="0">
              <a:spcBef>
                <a:spcPts val="0"/>
              </a:spcBef>
              <a:spcAft>
                <a:spcPts val="0"/>
              </a:spcAft>
              <a:buSzPts val="3600"/>
              <a:buNone/>
              <a:defRPr sz="3600"/>
            </a:lvl9pPr>
          </a:lstStyle>
          <a:p>
            <a:endParaRPr/>
          </a:p>
        </p:txBody>
      </p:sp>
      <p:sp>
        <p:nvSpPr>
          <p:cNvPr id="281" name="Google Shape;281;p23"/>
          <p:cNvSpPr txBox="1">
            <a:spLocks noGrp="1"/>
          </p:cNvSpPr>
          <p:nvPr>
            <p:ph type="subTitle" idx="1"/>
          </p:nvPr>
        </p:nvSpPr>
        <p:spPr>
          <a:xfrm>
            <a:off x="4162050" y="7019100"/>
            <a:ext cx="3541200" cy="1643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2400"/>
              <a:buFont typeface="Open Sans"/>
              <a:buNone/>
              <a:defRPr sz="2400">
                <a:solidFill>
                  <a:srgbClr val="002A44"/>
                </a:solidFill>
                <a:latin typeface="Open Sans"/>
                <a:ea typeface="Open Sans"/>
                <a:cs typeface="Open Sans"/>
                <a:sym typeface="Open Sans"/>
              </a:defRPr>
            </a:lvl1pPr>
            <a:lvl2pPr lvl="1" rtl="0">
              <a:spcBef>
                <a:spcPts val="0"/>
              </a:spcBef>
              <a:spcAft>
                <a:spcPts val="0"/>
              </a:spcAft>
              <a:buSzPts val="2400"/>
              <a:buFont typeface="Open Sans"/>
              <a:buNone/>
              <a:defRPr sz="2400">
                <a:latin typeface="Open Sans"/>
                <a:ea typeface="Open Sans"/>
                <a:cs typeface="Open Sans"/>
                <a:sym typeface="Open Sans"/>
              </a:defRPr>
            </a:lvl2pPr>
            <a:lvl3pPr lvl="2" rtl="0">
              <a:spcBef>
                <a:spcPts val="0"/>
              </a:spcBef>
              <a:spcAft>
                <a:spcPts val="0"/>
              </a:spcAft>
              <a:buSzPts val="2400"/>
              <a:buFont typeface="Open Sans"/>
              <a:buNone/>
              <a:defRPr sz="2400">
                <a:latin typeface="Open Sans"/>
                <a:ea typeface="Open Sans"/>
                <a:cs typeface="Open Sans"/>
                <a:sym typeface="Open Sans"/>
              </a:defRPr>
            </a:lvl3pPr>
            <a:lvl4pPr lvl="3" rtl="0">
              <a:spcBef>
                <a:spcPts val="0"/>
              </a:spcBef>
              <a:spcAft>
                <a:spcPts val="0"/>
              </a:spcAft>
              <a:buSzPts val="2400"/>
              <a:buFont typeface="Open Sans"/>
              <a:buNone/>
              <a:defRPr sz="2400">
                <a:latin typeface="Open Sans"/>
                <a:ea typeface="Open Sans"/>
                <a:cs typeface="Open Sans"/>
                <a:sym typeface="Open Sans"/>
              </a:defRPr>
            </a:lvl4pPr>
            <a:lvl5pPr lvl="4" rtl="0">
              <a:spcBef>
                <a:spcPts val="0"/>
              </a:spcBef>
              <a:spcAft>
                <a:spcPts val="0"/>
              </a:spcAft>
              <a:buSzPts val="2400"/>
              <a:buFont typeface="Open Sans"/>
              <a:buNone/>
              <a:defRPr sz="2400">
                <a:latin typeface="Open Sans"/>
                <a:ea typeface="Open Sans"/>
                <a:cs typeface="Open Sans"/>
                <a:sym typeface="Open Sans"/>
              </a:defRPr>
            </a:lvl5pPr>
            <a:lvl6pPr lvl="5" rtl="0">
              <a:spcBef>
                <a:spcPts val="0"/>
              </a:spcBef>
              <a:spcAft>
                <a:spcPts val="0"/>
              </a:spcAft>
              <a:buSzPts val="2400"/>
              <a:buFont typeface="Open Sans"/>
              <a:buNone/>
              <a:defRPr sz="2400">
                <a:latin typeface="Open Sans"/>
                <a:ea typeface="Open Sans"/>
                <a:cs typeface="Open Sans"/>
                <a:sym typeface="Open Sans"/>
              </a:defRPr>
            </a:lvl6pPr>
            <a:lvl7pPr lvl="6" rtl="0">
              <a:spcBef>
                <a:spcPts val="0"/>
              </a:spcBef>
              <a:spcAft>
                <a:spcPts val="0"/>
              </a:spcAft>
              <a:buSzPts val="2400"/>
              <a:buFont typeface="Open Sans"/>
              <a:buNone/>
              <a:defRPr sz="2400">
                <a:latin typeface="Open Sans"/>
                <a:ea typeface="Open Sans"/>
                <a:cs typeface="Open Sans"/>
                <a:sym typeface="Open Sans"/>
              </a:defRPr>
            </a:lvl7pPr>
            <a:lvl8pPr lvl="7" rtl="0">
              <a:spcBef>
                <a:spcPts val="0"/>
              </a:spcBef>
              <a:spcAft>
                <a:spcPts val="0"/>
              </a:spcAft>
              <a:buSzPts val="2400"/>
              <a:buFont typeface="Open Sans"/>
              <a:buNone/>
              <a:defRPr sz="2400">
                <a:latin typeface="Open Sans"/>
                <a:ea typeface="Open Sans"/>
                <a:cs typeface="Open Sans"/>
                <a:sym typeface="Open Sans"/>
              </a:defRPr>
            </a:lvl8pPr>
            <a:lvl9pPr lvl="8" rtl="0">
              <a:spcBef>
                <a:spcPts val="0"/>
              </a:spcBef>
              <a:spcAft>
                <a:spcPts val="0"/>
              </a:spcAft>
              <a:buSzPts val="2400"/>
              <a:buFont typeface="Open Sans"/>
              <a:buNone/>
              <a:defRPr sz="2400">
                <a:latin typeface="Open Sans"/>
                <a:ea typeface="Open Sans"/>
                <a:cs typeface="Open Sans"/>
                <a:sym typeface="Open Sans"/>
              </a:defRPr>
            </a:lvl9pPr>
          </a:lstStyle>
          <a:p>
            <a:endParaRPr/>
          </a:p>
        </p:txBody>
      </p:sp>
      <p:sp>
        <p:nvSpPr>
          <p:cNvPr id="282" name="Google Shape;282;p23"/>
          <p:cNvSpPr txBox="1">
            <a:spLocks noGrp="1"/>
          </p:cNvSpPr>
          <p:nvPr>
            <p:ph type="title" idx="4"/>
          </p:nvPr>
        </p:nvSpPr>
        <p:spPr>
          <a:xfrm>
            <a:off x="4143175" y="8939350"/>
            <a:ext cx="3922500" cy="737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3600"/>
              <a:buFont typeface="Montserrat Black"/>
              <a:buNone/>
              <a:defRPr sz="3600">
                <a:solidFill>
                  <a:srgbClr val="002A44"/>
                </a:solidFill>
                <a:latin typeface="Montserrat Black"/>
                <a:ea typeface="Montserrat Black"/>
                <a:cs typeface="Montserrat Black"/>
                <a:sym typeface="Montserrat Black"/>
              </a:defRPr>
            </a:lvl1pPr>
            <a:lvl2pPr lvl="1" rtl="0">
              <a:spcBef>
                <a:spcPts val="0"/>
              </a:spcBef>
              <a:spcAft>
                <a:spcPts val="0"/>
              </a:spcAft>
              <a:buSzPts val="3600"/>
              <a:buNone/>
              <a:defRPr sz="3600"/>
            </a:lvl2pPr>
            <a:lvl3pPr lvl="2" rtl="0">
              <a:spcBef>
                <a:spcPts val="0"/>
              </a:spcBef>
              <a:spcAft>
                <a:spcPts val="0"/>
              </a:spcAft>
              <a:buSzPts val="3600"/>
              <a:buNone/>
              <a:defRPr sz="3600"/>
            </a:lvl3pPr>
            <a:lvl4pPr lvl="3" rtl="0">
              <a:spcBef>
                <a:spcPts val="0"/>
              </a:spcBef>
              <a:spcAft>
                <a:spcPts val="0"/>
              </a:spcAft>
              <a:buSzPts val="3600"/>
              <a:buNone/>
              <a:defRPr sz="3600"/>
            </a:lvl4pPr>
            <a:lvl5pPr lvl="4" rtl="0">
              <a:spcBef>
                <a:spcPts val="0"/>
              </a:spcBef>
              <a:spcAft>
                <a:spcPts val="0"/>
              </a:spcAft>
              <a:buSzPts val="3600"/>
              <a:buNone/>
              <a:defRPr sz="3600"/>
            </a:lvl5pPr>
            <a:lvl6pPr lvl="5" rtl="0">
              <a:spcBef>
                <a:spcPts val="0"/>
              </a:spcBef>
              <a:spcAft>
                <a:spcPts val="0"/>
              </a:spcAft>
              <a:buSzPts val="3600"/>
              <a:buNone/>
              <a:defRPr sz="3600"/>
            </a:lvl6pPr>
            <a:lvl7pPr lvl="6" rtl="0">
              <a:spcBef>
                <a:spcPts val="0"/>
              </a:spcBef>
              <a:spcAft>
                <a:spcPts val="0"/>
              </a:spcAft>
              <a:buSzPts val="3600"/>
              <a:buNone/>
              <a:defRPr sz="3600"/>
            </a:lvl7pPr>
            <a:lvl8pPr lvl="7" rtl="0">
              <a:spcBef>
                <a:spcPts val="0"/>
              </a:spcBef>
              <a:spcAft>
                <a:spcPts val="0"/>
              </a:spcAft>
              <a:buSzPts val="3600"/>
              <a:buNone/>
              <a:defRPr sz="3600"/>
            </a:lvl8pPr>
            <a:lvl9pPr lvl="8" rtl="0">
              <a:spcBef>
                <a:spcPts val="0"/>
              </a:spcBef>
              <a:spcAft>
                <a:spcPts val="0"/>
              </a:spcAft>
              <a:buSzPts val="3600"/>
              <a:buNone/>
              <a:defRPr sz="3600"/>
            </a:lvl9pPr>
          </a:lstStyle>
          <a:p>
            <a:endParaRPr/>
          </a:p>
        </p:txBody>
      </p:sp>
      <p:sp>
        <p:nvSpPr>
          <p:cNvPr id="283" name="Google Shape;283;p23"/>
          <p:cNvSpPr txBox="1">
            <a:spLocks noGrp="1"/>
          </p:cNvSpPr>
          <p:nvPr>
            <p:ph type="subTitle" idx="5"/>
          </p:nvPr>
        </p:nvSpPr>
        <p:spPr>
          <a:xfrm>
            <a:off x="4162050" y="10791850"/>
            <a:ext cx="3541200" cy="1643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2400"/>
              <a:buFont typeface="Open Sans"/>
              <a:buNone/>
              <a:defRPr sz="2400">
                <a:solidFill>
                  <a:srgbClr val="002A44"/>
                </a:solidFill>
                <a:latin typeface="Open Sans"/>
                <a:ea typeface="Open Sans"/>
                <a:cs typeface="Open Sans"/>
                <a:sym typeface="Open Sans"/>
              </a:defRPr>
            </a:lvl1pPr>
            <a:lvl2pPr lvl="1" rtl="0">
              <a:spcBef>
                <a:spcPts val="0"/>
              </a:spcBef>
              <a:spcAft>
                <a:spcPts val="0"/>
              </a:spcAft>
              <a:buSzPts val="2400"/>
              <a:buFont typeface="Open Sans"/>
              <a:buNone/>
              <a:defRPr sz="2400">
                <a:latin typeface="Open Sans"/>
                <a:ea typeface="Open Sans"/>
                <a:cs typeface="Open Sans"/>
                <a:sym typeface="Open Sans"/>
              </a:defRPr>
            </a:lvl2pPr>
            <a:lvl3pPr lvl="2" rtl="0">
              <a:spcBef>
                <a:spcPts val="0"/>
              </a:spcBef>
              <a:spcAft>
                <a:spcPts val="0"/>
              </a:spcAft>
              <a:buSzPts val="2400"/>
              <a:buFont typeface="Open Sans"/>
              <a:buNone/>
              <a:defRPr sz="2400">
                <a:latin typeface="Open Sans"/>
                <a:ea typeface="Open Sans"/>
                <a:cs typeface="Open Sans"/>
                <a:sym typeface="Open Sans"/>
              </a:defRPr>
            </a:lvl3pPr>
            <a:lvl4pPr lvl="3" rtl="0">
              <a:spcBef>
                <a:spcPts val="0"/>
              </a:spcBef>
              <a:spcAft>
                <a:spcPts val="0"/>
              </a:spcAft>
              <a:buSzPts val="2400"/>
              <a:buFont typeface="Open Sans"/>
              <a:buNone/>
              <a:defRPr sz="2400">
                <a:latin typeface="Open Sans"/>
                <a:ea typeface="Open Sans"/>
                <a:cs typeface="Open Sans"/>
                <a:sym typeface="Open Sans"/>
              </a:defRPr>
            </a:lvl4pPr>
            <a:lvl5pPr lvl="4" rtl="0">
              <a:spcBef>
                <a:spcPts val="0"/>
              </a:spcBef>
              <a:spcAft>
                <a:spcPts val="0"/>
              </a:spcAft>
              <a:buSzPts val="2400"/>
              <a:buFont typeface="Open Sans"/>
              <a:buNone/>
              <a:defRPr sz="2400">
                <a:latin typeface="Open Sans"/>
                <a:ea typeface="Open Sans"/>
                <a:cs typeface="Open Sans"/>
                <a:sym typeface="Open Sans"/>
              </a:defRPr>
            </a:lvl5pPr>
            <a:lvl6pPr lvl="5" rtl="0">
              <a:spcBef>
                <a:spcPts val="0"/>
              </a:spcBef>
              <a:spcAft>
                <a:spcPts val="0"/>
              </a:spcAft>
              <a:buSzPts val="2400"/>
              <a:buFont typeface="Open Sans"/>
              <a:buNone/>
              <a:defRPr sz="2400">
                <a:latin typeface="Open Sans"/>
                <a:ea typeface="Open Sans"/>
                <a:cs typeface="Open Sans"/>
                <a:sym typeface="Open Sans"/>
              </a:defRPr>
            </a:lvl6pPr>
            <a:lvl7pPr lvl="6" rtl="0">
              <a:spcBef>
                <a:spcPts val="0"/>
              </a:spcBef>
              <a:spcAft>
                <a:spcPts val="0"/>
              </a:spcAft>
              <a:buSzPts val="2400"/>
              <a:buFont typeface="Open Sans"/>
              <a:buNone/>
              <a:defRPr sz="2400">
                <a:latin typeface="Open Sans"/>
                <a:ea typeface="Open Sans"/>
                <a:cs typeface="Open Sans"/>
                <a:sym typeface="Open Sans"/>
              </a:defRPr>
            </a:lvl7pPr>
            <a:lvl8pPr lvl="7" rtl="0">
              <a:spcBef>
                <a:spcPts val="0"/>
              </a:spcBef>
              <a:spcAft>
                <a:spcPts val="0"/>
              </a:spcAft>
              <a:buSzPts val="2400"/>
              <a:buFont typeface="Open Sans"/>
              <a:buNone/>
              <a:defRPr sz="2400">
                <a:latin typeface="Open Sans"/>
                <a:ea typeface="Open Sans"/>
                <a:cs typeface="Open Sans"/>
                <a:sym typeface="Open Sans"/>
              </a:defRPr>
            </a:lvl8pPr>
            <a:lvl9pPr lvl="8" rtl="0">
              <a:spcBef>
                <a:spcPts val="0"/>
              </a:spcBef>
              <a:spcAft>
                <a:spcPts val="0"/>
              </a:spcAft>
              <a:buSzPts val="2400"/>
              <a:buFont typeface="Open Sans"/>
              <a:buNone/>
              <a:defRPr sz="2400">
                <a:latin typeface="Open Sans"/>
                <a:ea typeface="Open Sans"/>
                <a:cs typeface="Open Sans"/>
                <a:sym typeface="Open Sans"/>
              </a:defRPr>
            </a:lvl9pPr>
          </a:lstStyle>
          <a:p>
            <a:endParaRPr/>
          </a:p>
        </p:txBody>
      </p:sp>
      <p:sp>
        <p:nvSpPr>
          <p:cNvPr id="284" name="Google Shape;284;p23"/>
          <p:cNvSpPr txBox="1">
            <a:spLocks noGrp="1"/>
          </p:cNvSpPr>
          <p:nvPr>
            <p:ph type="title" idx="6"/>
          </p:nvPr>
        </p:nvSpPr>
        <p:spPr>
          <a:xfrm>
            <a:off x="11342738" y="5166600"/>
            <a:ext cx="3922500" cy="737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3600"/>
              <a:buFont typeface="Montserrat Black"/>
              <a:buNone/>
              <a:defRPr sz="3600">
                <a:solidFill>
                  <a:srgbClr val="002A44"/>
                </a:solidFill>
                <a:latin typeface="Montserrat Black"/>
                <a:ea typeface="Montserrat Black"/>
                <a:cs typeface="Montserrat Black"/>
                <a:sym typeface="Montserrat Black"/>
              </a:defRPr>
            </a:lvl1pPr>
            <a:lvl2pPr lvl="1" rtl="0">
              <a:spcBef>
                <a:spcPts val="0"/>
              </a:spcBef>
              <a:spcAft>
                <a:spcPts val="0"/>
              </a:spcAft>
              <a:buSzPts val="3600"/>
              <a:buNone/>
              <a:defRPr sz="3600"/>
            </a:lvl2pPr>
            <a:lvl3pPr lvl="2" rtl="0">
              <a:spcBef>
                <a:spcPts val="0"/>
              </a:spcBef>
              <a:spcAft>
                <a:spcPts val="0"/>
              </a:spcAft>
              <a:buSzPts val="3600"/>
              <a:buNone/>
              <a:defRPr sz="3600"/>
            </a:lvl3pPr>
            <a:lvl4pPr lvl="3" rtl="0">
              <a:spcBef>
                <a:spcPts val="0"/>
              </a:spcBef>
              <a:spcAft>
                <a:spcPts val="0"/>
              </a:spcAft>
              <a:buSzPts val="3600"/>
              <a:buNone/>
              <a:defRPr sz="3600"/>
            </a:lvl4pPr>
            <a:lvl5pPr lvl="4" rtl="0">
              <a:spcBef>
                <a:spcPts val="0"/>
              </a:spcBef>
              <a:spcAft>
                <a:spcPts val="0"/>
              </a:spcAft>
              <a:buSzPts val="3600"/>
              <a:buNone/>
              <a:defRPr sz="3600"/>
            </a:lvl5pPr>
            <a:lvl6pPr lvl="5" rtl="0">
              <a:spcBef>
                <a:spcPts val="0"/>
              </a:spcBef>
              <a:spcAft>
                <a:spcPts val="0"/>
              </a:spcAft>
              <a:buSzPts val="3600"/>
              <a:buNone/>
              <a:defRPr sz="3600"/>
            </a:lvl6pPr>
            <a:lvl7pPr lvl="6" rtl="0">
              <a:spcBef>
                <a:spcPts val="0"/>
              </a:spcBef>
              <a:spcAft>
                <a:spcPts val="0"/>
              </a:spcAft>
              <a:buSzPts val="3600"/>
              <a:buNone/>
              <a:defRPr sz="3600"/>
            </a:lvl7pPr>
            <a:lvl8pPr lvl="7" rtl="0">
              <a:spcBef>
                <a:spcPts val="0"/>
              </a:spcBef>
              <a:spcAft>
                <a:spcPts val="0"/>
              </a:spcAft>
              <a:buSzPts val="3600"/>
              <a:buNone/>
              <a:defRPr sz="3600"/>
            </a:lvl8pPr>
            <a:lvl9pPr lvl="8" rtl="0">
              <a:spcBef>
                <a:spcPts val="0"/>
              </a:spcBef>
              <a:spcAft>
                <a:spcPts val="0"/>
              </a:spcAft>
              <a:buSzPts val="3600"/>
              <a:buNone/>
              <a:defRPr sz="3600"/>
            </a:lvl9pPr>
          </a:lstStyle>
          <a:p>
            <a:endParaRPr/>
          </a:p>
        </p:txBody>
      </p:sp>
      <p:sp>
        <p:nvSpPr>
          <p:cNvPr id="285" name="Google Shape;285;p23"/>
          <p:cNvSpPr txBox="1">
            <a:spLocks noGrp="1"/>
          </p:cNvSpPr>
          <p:nvPr>
            <p:ph type="subTitle" idx="7"/>
          </p:nvPr>
        </p:nvSpPr>
        <p:spPr>
          <a:xfrm>
            <a:off x="11361613" y="7019100"/>
            <a:ext cx="3541200" cy="1643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2400"/>
              <a:buFont typeface="Open Sans"/>
              <a:buNone/>
              <a:defRPr sz="2400">
                <a:solidFill>
                  <a:srgbClr val="002A44"/>
                </a:solidFill>
                <a:latin typeface="Open Sans"/>
                <a:ea typeface="Open Sans"/>
                <a:cs typeface="Open Sans"/>
                <a:sym typeface="Open Sans"/>
              </a:defRPr>
            </a:lvl1pPr>
            <a:lvl2pPr lvl="1" rtl="0">
              <a:spcBef>
                <a:spcPts val="0"/>
              </a:spcBef>
              <a:spcAft>
                <a:spcPts val="0"/>
              </a:spcAft>
              <a:buSzPts val="2400"/>
              <a:buFont typeface="Open Sans"/>
              <a:buNone/>
              <a:defRPr sz="2400">
                <a:latin typeface="Open Sans"/>
                <a:ea typeface="Open Sans"/>
                <a:cs typeface="Open Sans"/>
                <a:sym typeface="Open Sans"/>
              </a:defRPr>
            </a:lvl2pPr>
            <a:lvl3pPr lvl="2" rtl="0">
              <a:spcBef>
                <a:spcPts val="0"/>
              </a:spcBef>
              <a:spcAft>
                <a:spcPts val="0"/>
              </a:spcAft>
              <a:buSzPts val="2400"/>
              <a:buFont typeface="Open Sans"/>
              <a:buNone/>
              <a:defRPr sz="2400">
                <a:latin typeface="Open Sans"/>
                <a:ea typeface="Open Sans"/>
                <a:cs typeface="Open Sans"/>
                <a:sym typeface="Open Sans"/>
              </a:defRPr>
            </a:lvl3pPr>
            <a:lvl4pPr lvl="3" rtl="0">
              <a:spcBef>
                <a:spcPts val="0"/>
              </a:spcBef>
              <a:spcAft>
                <a:spcPts val="0"/>
              </a:spcAft>
              <a:buSzPts val="2400"/>
              <a:buFont typeface="Open Sans"/>
              <a:buNone/>
              <a:defRPr sz="2400">
                <a:latin typeface="Open Sans"/>
                <a:ea typeface="Open Sans"/>
                <a:cs typeface="Open Sans"/>
                <a:sym typeface="Open Sans"/>
              </a:defRPr>
            </a:lvl4pPr>
            <a:lvl5pPr lvl="4" rtl="0">
              <a:spcBef>
                <a:spcPts val="0"/>
              </a:spcBef>
              <a:spcAft>
                <a:spcPts val="0"/>
              </a:spcAft>
              <a:buSzPts val="2400"/>
              <a:buFont typeface="Open Sans"/>
              <a:buNone/>
              <a:defRPr sz="2400">
                <a:latin typeface="Open Sans"/>
                <a:ea typeface="Open Sans"/>
                <a:cs typeface="Open Sans"/>
                <a:sym typeface="Open Sans"/>
              </a:defRPr>
            </a:lvl5pPr>
            <a:lvl6pPr lvl="5" rtl="0">
              <a:spcBef>
                <a:spcPts val="0"/>
              </a:spcBef>
              <a:spcAft>
                <a:spcPts val="0"/>
              </a:spcAft>
              <a:buSzPts val="2400"/>
              <a:buFont typeface="Open Sans"/>
              <a:buNone/>
              <a:defRPr sz="2400">
                <a:latin typeface="Open Sans"/>
                <a:ea typeface="Open Sans"/>
                <a:cs typeface="Open Sans"/>
                <a:sym typeface="Open Sans"/>
              </a:defRPr>
            </a:lvl6pPr>
            <a:lvl7pPr lvl="6" rtl="0">
              <a:spcBef>
                <a:spcPts val="0"/>
              </a:spcBef>
              <a:spcAft>
                <a:spcPts val="0"/>
              </a:spcAft>
              <a:buSzPts val="2400"/>
              <a:buFont typeface="Open Sans"/>
              <a:buNone/>
              <a:defRPr sz="2400">
                <a:latin typeface="Open Sans"/>
                <a:ea typeface="Open Sans"/>
                <a:cs typeface="Open Sans"/>
                <a:sym typeface="Open Sans"/>
              </a:defRPr>
            </a:lvl7pPr>
            <a:lvl8pPr lvl="7" rtl="0">
              <a:spcBef>
                <a:spcPts val="0"/>
              </a:spcBef>
              <a:spcAft>
                <a:spcPts val="0"/>
              </a:spcAft>
              <a:buSzPts val="2400"/>
              <a:buFont typeface="Open Sans"/>
              <a:buNone/>
              <a:defRPr sz="2400">
                <a:latin typeface="Open Sans"/>
                <a:ea typeface="Open Sans"/>
                <a:cs typeface="Open Sans"/>
                <a:sym typeface="Open Sans"/>
              </a:defRPr>
            </a:lvl8pPr>
            <a:lvl9pPr lvl="8" rtl="0">
              <a:spcBef>
                <a:spcPts val="0"/>
              </a:spcBef>
              <a:spcAft>
                <a:spcPts val="0"/>
              </a:spcAft>
              <a:buSzPts val="2400"/>
              <a:buFont typeface="Open Sans"/>
              <a:buNone/>
              <a:defRPr sz="2400">
                <a:latin typeface="Open Sans"/>
                <a:ea typeface="Open Sans"/>
                <a:cs typeface="Open Sans"/>
                <a:sym typeface="Open Sans"/>
              </a:defRPr>
            </a:lvl9pPr>
          </a:lstStyle>
          <a:p>
            <a:endParaRPr/>
          </a:p>
        </p:txBody>
      </p:sp>
      <p:sp>
        <p:nvSpPr>
          <p:cNvPr id="286" name="Google Shape;286;p23"/>
          <p:cNvSpPr txBox="1">
            <a:spLocks noGrp="1"/>
          </p:cNvSpPr>
          <p:nvPr>
            <p:ph type="title" idx="8"/>
          </p:nvPr>
        </p:nvSpPr>
        <p:spPr>
          <a:xfrm>
            <a:off x="11342738" y="8939350"/>
            <a:ext cx="3922500" cy="737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3600"/>
              <a:buFont typeface="Montserrat Black"/>
              <a:buNone/>
              <a:defRPr sz="3600">
                <a:solidFill>
                  <a:srgbClr val="002A44"/>
                </a:solidFill>
                <a:latin typeface="Montserrat Black"/>
                <a:ea typeface="Montserrat Black"/>
                <a:cs typeface="Montserrat Black"/>
                <a:sym typeface="Montserrat Black"/>
              </a:defRPr>
            </a:lvl1pPr>
            <a:lvl2pPr lvl="1" rtl="0">
              <a:spcBef>
                <a:spcPts val="0"/>
              </a:spcBef>
              <a:spcAft>
                <a:spcPts val="0"/>
              </a:spcAft>
              <a:buSzPts val="3600"/>
              <a:buNone/>
              <a:defRPr sz="3600"/>
            </a:lvl2pPr>
            <a:lvl3pPr lvl="2" rtl="0">
              <a:spcBef>
                <a:spcPts val="0"/>
              </a:spcBef>
              <a:spcAft>
                <a:spcPts val="0"/>
              </a:spcAft>
              <a:buSzPts val="3600"/>
              <a:buNone/>
              <a:defRPr sz="3600"/>
            </a:lvl3pPr>
            <a:lvl4pPr lvl="3" rtl="0">
              <a:spcBef>
                <a:spcPts val="0"/>
              </a:spcBef>
              <a:spcAft>
                <a:spcPts val="0"/>
              </a:spcAft>
              <a:buSzPts val="3600"/>
              <a:buNone/>
              <a:defRPr sz="3600"/>
            </a:lvl4pPr>
            <a:lvl5pPr lvl="4" rtl="0">
              <a:spcBef>
                <a:spcPts val="0"/>
              </a:spcBef>
              <a:spcAft>
                <a:spcPts val="0"/>
              </a:spcAft>
              <a:buSzPts val="3600"/>
              <a:buNone/>
              <a:defRPr sz="3600"/>
            </a:lvl5pPr>
            <a:lvl6pPr lvl="5" rtl="0">
              <a:spcBef>
                <a:spcPts val="0"/>
              </a:spcBef>
              <a:spcAft>
                <a:spcPts val="0"/>
              </a:spcAft>
              <a:buSzPts val="3600"/>
              <a:buNone/>
              <a:defRPr sz="3600"/>
            </a:lvl6pPr>
            <a:lvl7pPr lvl="6" rtl="0">
              <a:spcBef>
                <a:spcPts val="0"/>
              </a:spcBef>
              <a:spcAft>
                <a:spcPts val="0"/>
              </a:spcAft>
              <a:buSzPts val="3600"/>
              <a:buNone/>
              <a:defRPr sz="3600"/>
            </a:lvl7pPr>
            <a:lvl8pPr lvl="7" rtl="0">
              <a:spcBef>
                <a:spcPts val="0"/>
              </a:spcBef>
              <a:spcAft>
                <a:spcPts val="0"/>
              </a:spcAft>
              <a:buSzPts val="3600"/>
              <a:buNone/>
              <a:defRPr sz="3600"/>
            </a:lvl8pPr>
            <a:lvl9pPr lvl="8" rtl="0">
              <a:spcBef>
                <a:spcPts val="0"/>
              </a:spcBef>
              <a:spcAft>
                <a:spcPts val="0"/>
              </a:spcAft>
              <a:buSzPts val="3600"/>
              <a:buNone/>
              <a:defRPr sz="3600"/>
            </a:lvl9pPr>
          </a:lstStyle>
          <a:p>
            <a:endParaRPr/>
          </a:p>
        </p:txBody>
      </p:sp>
      <p:sp>
        <p:nvSpPr>
          <p:cNvPr id="287" name="Google Shape;287;p23"/>
          <p:cNvSpPr txBox="1">
            <a:spLocks noGrp="1"/>
          </p:cNvSpPr>
          <p:nvPr>
            <p:ph type="subTitle" idx="9"/>
          </p:nvPr>
        </p:nvSpPr>
        <p:spPr>
          <a:xfrm>
            <a:off x="11361613" y="10791850"/>
            <a:ext cx="3541200" cy="1643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2400"/>
              <a:buFont typeface="Open Sans"/>
              <a:buNone/>
              <a:defRPr sz="2400">
                <a:solidFill>
                  <a:srgbClr val="002A44"/>
                </a:solidFill>
                <a:latin typeface="Open Sans"/>
                <a:ea typeface="Open Sans"/>
                <a:cs typeface="Open Sans"/>
                <a:sym typeface="Open Sans"/>
              </a:defRPr>
            </a:lvl1pPr>
            <a:lvl2pPr lvl="1" rtl="0">
              <a:spcBef>
                <a:spcPts val="0"/>
              </a:spcBef>
              <a:spcAft>
                <a:spcPts val="0"/>
              </a:spcAft>
              <a:buSzPts val="2400"/>
              <a:buFont typeface="Open Sans"/>
              <a:buNone/>
              <a:defRPr sz="2400">
                <a:latin typeface="Open Sans"/>
                <a:ea typeface="Open Sans"/>
                <a:cs typeface="Open Sans"/>
                <a:sym typeface="Open Sans"/>
              </a:defRPr>
            </a:lvl2pPr>
            <a:lvl3pPr lvl="2" rtl="0">
              <a:spcBef>
                <a:spcPts val="0"/>
              </a:spcBef>
              <a:spcAft>
                <a:spcPts val="0"/>
              </a:spcAft>
              <a:buSzPts val="2400"/>
              <a:buFont typeface="Open Sans"/>
              <a:buNone/>
              <a:defRPr sz="2400">
                <a:latin typeface="Open Sans"/>
                <a:ea typeface="Open Sans"/>
                <a:cs typeface="Open Sans"/>
                <a:sym typeface="Open Sans"/>
              </a:defRPr>
            </a:lvl3pPr>
            <a:lvl4pPr lvl="3" rtl="0">
              <a:spcBef>
                <a:spcPts val="0"/>
              </a:spcBef>
              <a:spcAft>
                <a:spcPts val="0"/>
              </a:spcAft>
              <a:buSzPts val="2400"/>
              <a:buFont typeface="Open Sans"/>
              <a:buNone/>
              <a:defRPr sz="2400">
                <a:latin typeface="Open Sans"/>
                <a:ea typeface="Open Sans"/>
                <a:cs typeface="Open Sans"/>
                <a:sym typeface="Open Sans"/>
              </a:defRPr>
            </a:lvl4pPr>
            <a:lvl5pPr lvl="4" rtl="0">
              <a:spcBef>
                <a:spcPts val="0"/>
              </a:spcBef>
              <a:spcAft>
                <a:spcPts val="0"/>
              </a:spcAft>
              <a:buSzPts val="2400"/>
              <a:buFont typeface="Open Sans"/>
              <a:buNone/>
              <a:defRPr sz="2400">
                <a:latin typeface="Open Sans"/>
                <a:ea typeface="Open Sans"/>
                <a:cs typeface="Open Sans"/>
                <a:sym typeface="Open Sans"/>
              </a:defRPr>
            </a:lvl5pPr>
            <a:lvl6pPr lvl="5" rtl="0">
              <a:spcBef>
                <a:spcPts val="0"/>
              </a:spcBef>
              <a:spcAft>
                <a:spcPts val="0"/>
              </a:spcAft>
              <a:buSzPts val="2400"/>
              <a:buFont typeface="Open Sans"/>
              <a:buNone/>
              <a:defRPr sz="2400">
                <a:latin typeface="Open Sans"/>
                <a:ea typeface="Open Sans"/>
                <a:cs typeface="Open Sans"/>
                <a:sym typeface="Open Sans"/>
              </a:defRPr>
            </a:lvl6pPr>
            <a:lvl7pPr lvl="6" rtl="0">
              <a:spcBef>
                <a:spcPts val="0"/>
              </a:spcBef>
              <a:spcAft>
                <a:spcPts val="0"/>
              </a:spcAft>
              <a:buSzPts val="2400"/>
              <a:buFont typeface="Open Sans"/>
              <a:buNone/>
              <a:defRPr sz="2400">
                <a:latin typeface="Open Sans"/>
                <a:ea typeface="Open Sans"/>
                <a:cs typeface="Open Sans"/>
                <a:sym typeface="Open Sans"/>
              </a:defRPr>
            </a:lvl7pPr>
            <a:lvl8pPr lvl="7" rtl="0">
              <a:spcBef>
                <a:spcPts val="0"/>
              </a:spcBef>
              <a:spcAft>
                <a:spcPts val="0"/>
              </a:spcAft>
              <a:buSzPts val="2400"/>
              <a:buFont typeface="Open Sans"/>
              <a:buNone/>
              <a:defRPr sz="2400">
                <a:latin typeface="Open Sans"/>
                <a:ea typeface="Open Sans"/>
                <a:cs typeface="Open Sans"/>
                <a:sym typeface="Open Sans"/>
              </a:defRPr>
            </a:lvl8pPr>
            <a:lvl9pPr lvl="8" rtl="0">
              <a:spcBef>
                <a:spcPts val="0"/>
              </a:spcBef>
              <a:spcAft>
                <a:spcPts val="0"/>
              </a:spcAft>
              <a:buSzPts val="2400"/>
              <a:buFont typeface="Open Sans"/>
              <a:buNone/>
              <a:defRPr sz="2400">
                <a:latin typeface="Open Sans"/>
                <a:ea typeface="Open Sans"/>
                <a:cs typeface="Open Sans"/>
                <a:sym typeface="Open Sans"/>
              </a:defRPr>
            </a:lvl9pPr>
          </a:lstStyle>
          <a:p>
            <a:endParaRPr/>
          </a:p>
        </p:txBody>
      </p:sp>
      <p:sp>
        <p:nvSpPr>
          <p:cNvPr id="288" name="Google Shape;288;p23"/>
          <p:cNvSpPr txBox="1">
            <a:spLocks noGrp="1"/>
          </p:cNvSpPr>
          <p:nvPr>
            <p:ph type="title" idx="13"/>
          </p:nvPr>
        </p:nvSpPr>
        <p:spPr>
          <a:xfrm>
            <a:off x="18076913" y="5166600"/>
            <a:ext cx="3922500" cy="737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3600"/>
              <a:buFont typeface="Montserrat Black"/>
              <a:buNone/>
              <a:defRPr sz="3600">
                <a:solidFill>
                  <a:srgbClr val="002A44"/>
                </a:solidFill>
                <a:latin typeface="Montserrat Black"/>
                <a:ea typeface="Montserrat Black"/>
                <a:cs typeface="Montserrat Black"/>
                <a:sym typeface="Montserrat Black"/>
              </a:defRPr>
            </a:lvl1pPr>
            <a:lvl2pPr lvl="1" rtl="0">
              <a:spcBef>
                <a:spcPts val="0"/>
              </a:spcBef>
              <a:spcAft>
                <a:spcPts val="0"/>
              </a:spcAft>
              <a:buSzPts val="3600"/>
              <a:buNone/>
              <a:defRPr sz="3600"/>
            </a:lvl2pPr>
            <a:lvl3pPr lvl="2" rtl="0">
              <a:spcBef>
                <a:spcPts val="0"/>
              </a:spcBef>
              <a:spcAft>
                <a:spcPts val="0"/>
              </a:spcAft>
              <a:buSzPts val="3600"/>
              <a:buNone/>
              <a:defRPr sz="3600"/>
            </a:lvl3pPr>
            <a:lvl4pPr lvl="3" rtl="0">
              <a:spcBef>
                <a:spcPts val="0"/>
              </a:spcBef>
              <a:spcAft>
                <a:spcPts val="0"/>
              </a:spcAft>
              <a:buSzPts val="3600"/>
              <a:buNone/>
              <a:defRPr sz="3600"/>
            </a:lvl4pPr>
            <a:lvl5pPr lvl="4" rtl="0">
              <a:spcBef>
                <a:spcPts val="0"/>
              </a:spcBef>
              <a:spcAft>
                <a:spcPts val="0"/>
              </a:spcAft>
              <a:buSzPts val="3600"/>
              <a:buNone/>
              <a:defRPr sz="3600"/>
            </a:lvl5pPr>
            <a:lvl6pPr lvl="5" rtl="0">
              <a:spcBef>
                <a:spcPts val="0"/>
              </a:spcBef>
              <a:spcAft>
                <a:spcPts val="0"/>
              </a:spcAft>
              <a:buSzPts val="3600"/>
              <a:buNone/>
              <a:defRPr sz="3600"/>
            </a:lvl6pPr>
            <a:lvl7pPr lvl="6" rtl="0">
              <a:spcBef>
                <a:spcPts val="0"/>
              </a:spcBef>
              <a:spcAft>
                <a:spcPts val="0"/>
              </a:spcAft>
              <a:buSzPts val="3600"/>
              <a:buNone/>
              <a:defRPr sz="3600"/>
            </a:lvl7pPr>
            <a:lvl8pPr lvl="7" rtl="0">
              <a:spcBef>
                <a:spcPts val="0"/>
              </a:spcBef>
              <a:spcAft>
                <a:spcPts val="0"/>
              </a:spcAft>
              <a:buSzPts val="3600"/>
              <a:buNone/>
              <a:defRPr sz="3600"/>
            </a:lvl8pPr>
            <a:lvl9pPr lvl="8" rtl="0">
              <a:spcBef>
                <a:spcPts val="0"/>
              </a:spcBef>
              <a:spcAft>
                <a:spcPts val="0"/>
              </a:spcAft>
              <a:buSzPts val="3600"/>
              <a:buNone/>
              <a:defRPr sz="3600"/>
            </a:lvl9pPr>
          </a:lstStyle>
          <a:p>
            <a:endParaRPr/>
          </a:p>
        </p:txBody>
      </p:sp>
      <p:sp>
        <p:nvSpPr>
          <p:cNvPr id="289" name="Google Shape;289;p23"/>
          <p:cNvSpPr txBox="1">
            <a:spLocks noGrp="1"/>
          </p:cNvSpPr>
          <p:nvPr>
            <p:ph type="subTitle" idx="14"/>
          </p:nvPr>
        </p:nvSpPr>
        <p:spPr>
          <a:xfrm>
            <a:off x="18095788" y="7019100"/>
            <a:ext cx="3541200" cy="1643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2400"/>
              <a:buFont typeface="Open Sans"/>
              <a:buNone/>
              <a:defRPr sz="2400">
                <a:solidFill>
                  <a:srgbClr val="002A44"/>
                </a:solidFill>
                <a:latin typeface="Open Sans"/>
                <a:ea typeface="Open Sans"/>
                <a:cs typeface="Open Sans"/>
                <a:sym typeface="Open Sans"/>
              </a:defRPr>
            </a:lvl1pPr>
            <a:lvl2pPr lvl="1" rtl="0">
              <a:spcBef>
                <a:spcPts val="0"/>
              </a:spcBef>
              <a:spcAft>
                <a:spcPts val="0"/>
              </a:spcAft>
              <a:buSzPts val="2400"/>
              <a:buFont typeface="Open Sans"/>
              <a:buNone/>
              <a:defRPr sz="2400">
                <a:latin typeface="Open Sans"/>
                <a:ea typeface="Open Sans"/>
                <a:cs typeface="Open Sans"/>
                <a:sym typeface="Open Sans"/>
              </a:defRPr>
            </a:lvl2pPr>
            <a:lvl3pPr lvl="2" rtl="0">
              <a:spcBef>
                <a:spcPts val="0"/>
              </a:spcBef>
              <a:spcAft>
                <a:spcPts val="0"/>
              </a:spcAft>
              <a:buSzPts val="2400"/>
              <a:buFont typeface="Open Sans"/>
              <a:buNone/>
              <a:defRPr sz="2400">
                <a:latin typeface="Open Sans"/>
                <a:ea typeface="Open Sans"/>
                <a:cs typeface="Open Sans"/>
                <a:sym typeface="Open Sans"/>
              </a:defRPr>
            </a:lvl3pPr>
            <a:lvl4pPr lvl="3" rtl="0">
              <a:spcBef>
                <a:spcPts val="0"/>
              </a:spcBef>
              <a:spcAft>
                <a:spcPts val="0"/>
              </a:spcAft>
              <a:buSzPts val="2400"/>
              <a:buFont typeface="Open Sans"/>
              <a:buNone/>
              <a:defRPr sz="2400">
                <a:latin typeface="Open Sans"/>
                <a:ea typeface="Open Sans"/>
                <a:cs typeface="Open Sans"/>
                <a:sym typeface="Open Sans"/>
              </a:defRPr>
            </a:lvl4pPr>
            <a:lvl5pPr lvl="4" rtl="0">
              <a:spcBef>
                <a:spcPts val="0"/>
              </a:spcBef>
              <a:spcAft>
                <a:spcPts val="0"/>
              </a:spcAft>
              <a:buSzPts val="2400"/>
              <a:buFont typeface="Open Sans"/>
              <a:buNone/>
              <a:defRPr sz="2400">
                <a:latin typeface="Open Sans"/>
                <a:ea typeface="Open Sans"/>
                <a:cs typeface="Open Sans"/>
                <a:sym typeface="Open Sans"/>
              </a:defRPr>
            </a:lvl5pPr>
            <a:lvl6pPr lvl="5" rtl="0">
              <a:spcBef>
                <a:spcPts val="0"/>
              </a:spcBef>
              <a:spcAft>
                <a:spcPts val="0"/>
              </a:spcAft>
              <a:buSzPts val="2400"/>
              <a:buFont typeface="Open Sans"/>
              <a:buNone/>
              <a:defRPr sz="2400">
                <a:latin typeface="Open Sans"/>
                <a:ea typeface="Open Sans"/>
                <a:cs typeface="Open Sans"/>
                <a:sym typeface="Open Sans"/>
              </a:defRPr>
            </a:lvl6pPr>
            <a:lvl7pPr lvl="6" rtl="0">
              <a:spcBef>
                <a:spcPts val="0"/>
              </a:spcBef>
              <a:spcAft>
                <a:spcPts val="0"/>
              </a:spcAft>
              <a:buSzPts val="2400"/>
              <a:buFont typeface="Open Sans"/>
              <a:buNone/>
              <a:defRPr sz="2400">
                <a:latin typeface="Open Sans"/>
                <a:ea typeface="Open Sans"/>
                <a:cs typeface="Open Sans"/>
                <a:sym typeface="Open Sans"/>
              </a:defRPr>
            </a:lvl7pPr>
            <a:lvl8pPr lvl="7" rtl="0">
              <a:spcBef>
                <a:spcPts val="0"/>
              </a:spcBef>
              <a:spcAft>
                <a:spcPts val="0"/>
              </a:spcAft>
              <a:buSzPts val="2400"/>
              <a:buFont typeface="Open Sans"/>
              <a:buNone/>
              <a:defRPr sz="2400">
                <a:latin typeface="Open Sans"/>
                <a:ea typeface="Open Sans"/>
                <a:cs typeface="Open Sans"/>
                <a:sym typeface="Open Sans"/>
              </a:defRPr>
            </a:lvl8pPr>
            <a:lvl9pPr lvl="8" rtl="0">
              <a:spcBef>
                <a:spcPts val="0"/>
              </a:spcBef>
              <a:spcAft>
                <a:spcPts val="0"/>
              </a:spcAft>
              <a:buSzPts val="2400"/>
              <a:buFont typeface="Open Sans"/>
              <a:buNone/>
              <a:defRPr sz="2400">
                <a:latin typeface="Open Sans"/>
                <a:ea typeface="Open Sans"/>
                <a:cs typeface="Open Sans"/>
                <a:sym typeface="Open Sans"/>
              </a:defRPr>
            </a:lvl9pPr>
          </a:lstStyle>
          <a:p>
            <a:endParaRPr/>
          </a:p>
        </p:txBody>
      </p:sp>
      <p:sp>
        <p:nvSpPr>
          <p:cNvPr id="290" name="Google Shape;290;p23"/>
          <p:cNvSpPr txBox="1">
            <a:spLocks noGrp="1"/>
          </p:cNvSpPr>
          <p:nvPr>
            <p:ph type="title" idx="15"/>
          </p:nvPr>
        </p:nvSpPr>
        <p:spPr>
          <a:xfrm>
            <a:off x="18076913" y="8939350"/>
            <a:ext cx="3922500" cy="737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3600"/>
              <a:buFont typeface="Montserrat Black"/>
              <a:buNone/>
              <a:defRPr sz="3600">
                <a:solidFill>
                  <a:srgbClr val="002A44"/>
                </a:solidFill>
                <a:latin typeface="Montserrat Black"/>
                <a:ea typeface="Montserrat Black"/>
                <a:cs typeface="Montserrat Black"/>
                <a:sym typeface="Montserrat Black"/>
              </a:defRPr>
            </a:lvl1pPr>
            <a:lvl2pPr lvl="1" rtl="0">
              <a:spcBef>
                <a:spcPts val="0"/>
              </a:spcBef>
              <a:spcAft>
                <a:spcPts val="0"/>
              </a:spcAft>
              <a:buSzPts val="3600"/>
              <a:buNone/>
              <a:defRPr sz="3600"/>
            </a:lvl2pPr>
            <a:lvl3pPr lvl="2" rtl="0">
              <a:spcBef>
                <a:spcPts val="0"/>
              </a:spcBef>
              <a:spcAft>
                <a:spcPts val="0"/>
              </a:spcAft>
              <a:buSzPts val="3600"/>
              <a:buNone/>
              <a:defRPr sz="3600"/>
            </a:lvl3pPr>
            <a:lvl4pPr lvl="3" rtl="0">
              <a:spcBef>
                <a:spcPts val="0"/>
              </a:spcBef>
              <a:spcAft>
                <a:spcPts val="0"/>
              </a:spcAft>
              <a:buSzPts val="3600"/>
              <a:buNone/>
              <a:defRPr sz="3600"/>
            </a:lvl4pPr>
            <a:lvl5pPr lvl="4" rtl="0">
              <a:spcBef>
                <a:spcPts val="0"/>
              </a:spcBef>
              <a:spcAft>
                <a:spcPts val="0"/>
              </a:spcAft>
              <a:buSzPts val="3600"/>
              <a:buNone/>
              <a:defRPr sz="3600"/>
            </a:lvl5pPr>
            <a:lvl6pPr lvl="5" rtl="0">
              <a:spcBef>
                <a:spcPts val="0"/>
              </a:spcBef>
              <a:spcAft>
                <a:spcPts val="0"/>
              </a:spcAft>
              <a:buSzPts val="3600"/>
              <a:buNone/>
              <a:defRPr sz="3600"/>
            </a:lvl6pPr>
            <a:lvl7pPr lvl="6" rtl="0">
              <a:spcBef>
                <a:spcPts val="0"/>
              </a:spcBef>
              <a:spcAft>
                <a:spcPts val="0"/>
              </a:spcAft>
              <a:buSzPts val="3600"/>
              <a:buNone/>
              <a:defRPr sz="3600"/>
            </a:lvl7pPr>
            <a:lvl8pPr lvl="7" rtl="0">
              <a:spcBef>
                <a:spcPts val="0"/>
              </a:spcBef>
              <a:spcAft>
                <a:spcPts val="0"/>
              </a:spcAft>
              <a:buSzPts val="3600"/>
              <a:buNone/>
              <a:defRPr sz="3600"/>
            </a:lvl8pPr>
            <a:lvl9pPr lvl="8" rtl="0">
              <a:spcBef>
                <a:spcPts val="0"/>
              </a:spcBef>
              <a:spcAft>
                <a:spcPts val="0"/>
              </a:spcAft>
              <a:buSzPts val="3600"/>
              <a:buNone/>
              <a:defRPr sz="3600"/>
            </a:lvl9pPr>
          </a:lstStyle>
          <a:p>
            <a:endParaRPr/>
          </a:p>
        </p:txBody>
      </p:sp>
      <p:sp>
        <p:nvSpPr>
          <p:cNvPr id="291" name="Google Shape;291;p23"/>
          <p:cNvSpPr txBox="1">
            <a:spLocks noGrp="1"/>
          </p:cNvSpPr>
          <p:nvPr>
            <p:ph type="subTitle" idx="16"/>
          </p:nvPr>
        </p:nvSpPr>
        <p:spPr>
          <a:xfrm>
            <a:off x="18095788" y="10791850"/>
            <a:ext cx="3541200" cy="1643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2400"/>
              <a:buFont typeface="Open Sans"/>
              <a:buNone/>
              <a:defRPr sz="2400">
                <a:solidFill>
                  <a:srgbClr val="002A44"/>
                </a:solidFill>
                <a:latin typeface="Open Sans"/>
                <a:ea typeface="Open Sans"/>
                <a:cs typeface="Open Sans"/>
                <a:sym typeface="Open Sans"/>
              </a:defRPr>
            </a:lvl1pPr>
            <a:lvl2pPr lvl="1" rtl="0">
              <a:spcBef>
                <a:spcPts val="0"/>
              </a:spcBef>
              <a:spcAft>
                <a:spcPts val="0"/>
              </a:spcAft>
              <a:buSzPts val="2400"/>
              <a:buFont typeface="Open Sans"/>
              <a:buNone/>
              <a:defRPr sz="2400">
                <a:latin typeface="Open Sans"/>
                <a:ea typeface="Open Sans"/>
                <a:cs typeface="Open Sans"/>
                <a:sym typeface="Open Sans"/>
              </a:defRPr>
            </a:lvl2pPr>
            <a:lvl3pPr lvl="2" rtl="0">
              <a:spcBef>
                <a:spcPts val="0"/>
              </a:spcBef>
              <a:spcAft>
                <a:spcPts val="0"/>
              </a:spcAft>
              <a:buSzPts val="2400"/>
              <a:buFont typeface="Open Sans"/>
              <a:buNone/>
              <a:defRPr sz="2400">
                <a:latin typeface="Open Sans"/>
                <a:ea typeface="Open Sans"/>
                <a:cs typeface="Open Sans"/>
                <a:sym typeface="Open Sans"/>
              </a:defRPr>
            </a:lvl3pPr>
            <a:lvl4pPr lvl="3" rtl="0">
              <a:spcBef>
                <a:spcPts val="0"/>
              </a:spcBef>
              <a:spcAft>
                <a:spcPts val="0"/>
              </a:spcAft>
              <a:buSzPts val="2400"/>
              <a:buFont typeface="Open Sans"/>
              <a:buNone/>
              <a:defRPr sz="2400">
                <a:latin typeface="Open Sans"/>
                <a:ea typeface="Open Sans"/>
                <a:cs typeface="Open Sans"/>
                <a:sym typeface="Open Sans"/>
              </a:defRPr>
            </a:lvl4pPr>
            <a:lvl5pPr lvl="4" rtl="0">
              <a:spcBef>
                <a:spcPts val="0"/>
              </a:spcBef>
              <a:spcAft>
                <a:spcPts val="0"/>
              </a:spcAft>
              <a:buSzPts val="2400"/>
              <a:buFont typeface="Open Sans"/>
              <a:buNone/>
              <a:defRPr sz="2400">
                <a:latin typeface="Open Sans"/>
                <a:ea typeface="Open Sans"/>
                <a:cs typeface="Open Sans"/>
                <a:sym typeface="Open Sans"/>
              </a:defRPr>
            </a:lvl5pPr>
            <a:lvl6pPr lvl="5" rtl="0">
              <a:spcBef>
                <a:spcPts val="0"/>
              </a:spcBef>
              <a:spcAft>
                <a:spcPts val="0"/>
              </a:spcAft>
              <a:buSzPts val="2400"/>
              <a:buFont typeface="Open Sans"/>
              <a:buNone/>
              <a:defRPr sz="2400">
                <a:latin typeface="Open Sans"/>
                <a:ea typeface="Open Sans"/>
                <a:cs typeface="Open Sans"/>
                <a:sym typeface="Open Sans"/>
              </a:defRPr>
            </a:lvl6pPr>
            <a:lvl7pPr lvl="6" rtl="0">
              <a:spcBef>
                <a:spcPts val="0"/>
              </a:spcBef>
              <a:spcAft>
                <a:spcPts val="0"/>
              </a:spcAft>
              <a:buSzPts val="2400"/>
              <a:buFont typeface="Open Sans"/>
              <a:buNone/>
              <a:defRPr sz="2400">
                <a:latin typeface="Open Sans"/>
                <a:ea typeface="Open Sans"/>
                <a:cs typeface="Open Sans"/>
                <a:sym typeface="Open Sans"/>
              </a:defRPr>
            </a:lvl7pPr>
            <a:lvl8pPr lvl="7" rtl="0">
              <a:spcBef>
                <a:spcPts val="0"/>
              </a:spcBef>
              <a:spcAft>
                <a:spcPts val="0"/>
              </a:spcAft>
              <a:buSzPts val="2400"/>
              <a:buFont typeface="Open Sans"/>
              <a:buNone/>
              <a:defRPr sz="2400">
                <a:latin typeface="Open Sans"/>
                <a:ea typeface="Open Sans"/>
                <a:cs typeface="Open Sans"/>
                <a:sym typeface="Open Sans"/>
              </a:defRPr>
            </a:lvl8pPr>
            <a:lvl9pPr lvl="8" rtl="0">
              <a:spcBef>
                <a:spcPts val="0"/>
              </a:spcBef>
              <a:spcAft>
                <a:spcPts val="0"/>
              </a:spcAft>
              <a:buSzPts val="2400"/>
              <a:buFont typeface="Open Sans"/>
              <a:buNone/>
              <a:defRPr sz="2400">
                <a:latin typeface="Open Sans"/>
                <a:ea typeface="Open Sans"/>
                <a:cs typeface="Open Sans"/>
                <a:sym typeface="Open Sans"/>
              </a:defRPr>
            </a:lvl9pPr>
          </a:lstStyle>
          <a:p>
            <a:endParaRPr/>
          </a:p>
        </p:txBody>
      </p:sp>
      <p:sp>
        <p:nvSpPr>
          <p:cNvPr id="292" name="Google Shape;292;p23"/>
          <p:cNvSpPr>
            <a:spLocks noGrp="1"/>
          </p:cNvSpPr>
          <p:nvPr>
            <p:ph type="pic" idx="17"/>
          </p:nvPr>
        </p:nvSpPr>
        <p:spPr>
          <a:xfrm>
            <a:off x="2439273" y="9347925"/>
            <a:ext cx="1082100" cy="1081800"/>
          </a:xfrm>
          <a:prstGeom prst="ellipse">
            <a:avLst/>
          </a:prstGeom>
          <a:noFill/>
          <a:ln>
            <a:noFill/>
          </a:ln>
        </p:spPr>
      </p:sp>
      <p:sp>
        <p:nvSpPr>
          <p:cNvPr id="293" name="Google Shape;293;p23"/>
          <p:cNvSpPr>
            <a:spLocks noGrp="1"/>
          </p:cNvSpPr>
          <p:nvPr>
            <p:ph type="pic" idx="18"/>
          </p:nvPr>
        </p:nvSpPr>
        <p:spPr>
          <a:xfrm>
            <a:off x="9606623" y="5513900"/>
            <a:ext cx="1082100" cy="1081800"/>
          </a:xfrm>
          <a:prstGeom prst="ellipse">
            <a:avLst/>
          </a:prstGeom>
          <a:noFill/>
          <a:ln>
            <a:noFill/>
          </a:ln>
        </p:spPr>
      </p:sp>
      <p:sp>
        <p:nvSpPr>
          <p:cNvPr id="294" name="Google Shape;294;p23"/>
          <p:cNvSpPr>
            <a:spLocks noGrp="1"/>
          </p:cNvSpPr>
          <p:nvPr>
            <p:ph type="pic" idx="19"/>
          </p:nvPr>
        </p:nvSpPr>
        <p:spPr>
          <a:xfrm>
            <a:off x="9606623" y="9347925"/>
            <a:ext cx="1082100" cy="1081800"/>
          </a:xfrm>
          <a:prstGeom prst="ellipse">
            <a:avLst/>
          </a:prstGeom>
          <a:noFill/>
          <a:ln>
            <a:noFill/>
          </a:ln>
        </p:spPr>
      </p:sp>
      <p:sp>
        <p:nvSpPr>
          <p:cNvPr id="295" name="Google Shape;295;p23"/>
          <p:cNvSpPr>
            <a:spLocks noGrp="1"/>
          </p:cNvSpPr>
          <p:nvPr>
            <p:ph type="pic" idx="20"/>
          </p:nvPr>
        </p:nvSpPr>
        <p:spPr>
          <a:xfrm>
            <a:off x="16350898" y="5513900"/>
            <a:ext cx="1082100" cy="1081800"/>
          </a:xfrm>
          <a:prstGeom prst="ellipse">
            <a:avLst/>
          </a:prstGeom>
          <a:noFill/>
          <a:ln>
            <a:noFill/>
          </a:ln>
        </p:spPr>
      </p:sp>
      <p:sp>
        <p:nvSpPr>
          <p:cNvPr id="296" name="Google Shape;296;p23"/>
          <p:cNvSpPr>
            <a:spLocks noGrp="1"/>
          </p:cNvSpPr>
          <p:nvPr>
            <p:ph type="pic" idx="21"/>
          </p:nvPr>
        </p:nvSpPr>
        <p:spPr>
          <a:xfrm>
            <a:off x="16350898" y="9347925"/>
            <a:ext cx="1082100" cy="1081800"/>
          </a:xfrm>
          <a:prstGeom prst="ellipse">
            <a:avLst/>
          </a:prstGeom>
          <a:noFill/>
          <a:ln>
            <a:noFill/>
          </a:ln>
        </p:spPr>
      </p:sp>
      <p:pic>
        <p:nvPicPr>
          <p:cNvPr id="297" name="Google Shape;297;p23"/>
          <p:cNvPicPr preferRelativeResize="0"/>
          <p:nvPr/>
        </p:nvPicPr>
        <p:blipFill rotWithShape="1">
          <a:blip r:embed="rId3">
            <a:alphaModFix/>
          </a:blip>
          <a:srcRect t="83846"/>
          <a:stretch/>
        </p:blipFill>
        <p:spPr>
          <a:xfrm>
            <a:off x="-2992950" y="-451525"/>
            <a:ext cx="24377651" cy="1515099"/>
          </a:xfrm>
          <a:prstGeom prst="rect">
            <a:avLst/>
          </a:prstGeom>
          <a:noFill/>
          <a:ln>
            <a:noFill/>
          </a:ln>
        </p:spPr>
      </p:pic>
      <p:pic>
        <p:nvPicPr>
          <p:cNvPr id="298" name="Google Shape;298;p23"/>
          <p:cNvPicPr preferRelativeResize="0"/>
          <p:nvPr/>
        </p:nvPicPr>
        <p:blipFill rotWithShape="1">
          <a:blip r:embed="rId3">
            <a:alphaModFix/>
          </a:blip>
          <a:srcRect b="93557"/>
          <a:stretch/>
        </p:blipFill>
        <p:spPr>
          <a:xfrm>
            <a:off x="0" y="13111675"/>
            <a:ext cx="24377651" cy="604325"/>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Slide 2">
  <p:cSld name="Title Slide 2">
    <p:bg>
      <p:bgPr>
        <a:solidFill>
          <a:srgbClr val="002A44"/>
        </a:solidFill>
        <a:effectLst/>
      </p:bgPr>
    </p:bg>
    <p:spTree>
      <p:nvGrpSpPr>
        <p:cNvPr id="1" name="Shape 21"/>
        <p:cNvGrpSpPr/>
        <p:nvPr/>
      </p:nvGrpSpPr>
      <p:grpSpPr>
        <a:xfrm>
          <a:off x="0" y="0"/>
          <a:ext cx="0" cy="0"/>
          <a:chOff x="0" y="0"/>
          <a:chExt cx="0" cy="0"/>
        </a:xfrm>
      </p:grpSpPr>
      <p:pic>
        <p:nvPicPr>
          <p:cNvPr id="22" name="Google Shape;22;p3"/>
          <p:cNvPicPr preferRelativeResize="0"/>
          <p:nvPr/>
        </p:nvPicPr>
        <p:blipFill rotWithShape="1">
          <a:blip r:embed="rId2">
            <a:alphaModFix amt="60000"/>
          </a:blip>
          <a:srcRect l="288" r="288"/>
          <a:stretch/>
        </p:blipFill>
        <p:spPr>
          <a:xfrm>
            <a:off x="2" y="-115575"/>
            <a:ext cx="19639024" cy="13831574"/>
          </a:xfrm>
          <a:prstGeom prst="rect">
            <a:avLst/>
          </a:prstGeom>
          <a:noFill/>
          <a:ln>
            <a:noFill/>
          </a:ln>
        </p:spPr>
      </p:pic>
      <p:pic>
        <p:nvPicPr>
          <p:cNvPr id="23" name="Google Shape;23;p3"/>
          <p:cNvPicPr preferRelativeResize="0"/>
          <p:nvPr/>
        </p:nvPicPr>
        <p:blipFill rotWithShape="1">
          <a:blip r:embed="rId3">
            <a:alphaModFix/>
          </a:blip>
          <a:srcRect l="19100"/>
          <a:stretch/>
        </p:blipFill>
        <p:spPr>
          <a:xfrm rot="10800000">
            <a:off x="9582577" y="-115599"/>
            <a:ext cx="14929423" cy="13831574"/>
          </a:xfrm>
          <a:prstGeom prst="rect">
            <a:avLst/>
          </a:prstGeom>
          <a:noFill/>
          <a:ln>
            <a:noFill/>
          </a:ln>
        </p:spPr>
      </p:pic>
      <p:sp>
        <p:nvSpPr>
          <p:cNvPr id="24" name="Google Shape;24;p3"/>
          <p:cNvSpPr/>
          <p:nvPr/>
        </p:nvSpPr>
        <p:spPr>
          <a:xfrm>
            <a:off x="2298275" y="5300700"/>
            <a:ext cx="19781100" cy="3114600"/>
          </a:xfrm>
          <a:prstGeom prst="rect">
            <a:avLst/>
          </a:prstGeom>
          <a:noFill/>
          <a:ln w="228600" cap="flat" cmpd="sng">
            <a:solidFill>
              <a:srgbClr val="C1F4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25" name="Google Shape;25;p3"/>
          <p:cNvSpPr/>
          <p:nvPr/>
        </p:nvSpPr>
        <p:spPr>
          <a:xfrm>
            <a:off x="20438151" y="711675"/>
            <a:ext cx="3072638" cy="1745259"/>
          </a:xfrm>
          <a:custGeom>
            <a:avLst/>
            <a:gdLst/>
            <a:ahLst/>
            <a:cxnLst/>
            <a:rect l="l" t="t" r="r" b="b"/>
            <a:pathLst>
              <a:path w="3864954" h="2195294" extrusionOk="0">
                <a:moveTo>
                  <a:pt x="0" y="0"/>
                </a:moveTo>
                <a:lnTo>
                  <a:pt x="3864953" y="0"/>
                </a:lnTo>
                <a:lnTo>
                  <a:pt x="3864953" y="2195294"/>
                </a:lnTo>
                <a:lnTo>
                  <a:pt x="0" y="2195294"/>
                </a:lnTo>
                <a:lnTo>
                  <a:pt x="0" y="0"/>
                </a:lnTo>
                <a:close/>
              </a:path>
            </a:pathLst>
          </a:custGeom>
          <a:blipFill rotWithShape="1">
            <a:blip r:embed="rId4">
              <a:alphaModFix/>
            </a:blip>
            <a:stretch>
              <a:fillRect/>
            </a:stretch>
          </a:blipFill>
          <a:ln>
            <a:noFill/>
          </a:ln>
        </p:spPr>
      </p:sp>
      <p:sp>
        <p:nvSpPr>
          <p:cNvPr id="26" name="Google Shape;26;p3"/>
          <p:cNvSpPr txBox="1">
            <a:spLocks noGrp="1"/>
          </p:cNvSpPr>
          <p:nvPr>
            <p:ph type="subTitle" idx="1"/>
          </p:nvPr>
        </p:nvSpPr>
        <p:spPr>
          <a:xfrm>
            <a:off x="17392050" y="11168100"/>
            <a:ext cx="5862900" cy="1240500"/>
          </a:xfrm>
          <a:prstGeom prst="rect">
            <a:avLst/>
          </a:prstGeom>
          <a:noFill/>
          <a:ln>
            <a:noFill/>
          </a:ln>
        </p:spPr>
        <p:txBody>
          <a:bodyPr spcFirstLastPara="1" wrap="square" lIns="91425" tIns="91425" rIns="91425" bIns="91425" anchor="ctr" anchorCtr="0">
            <a:noAutofit/>
          </a:bodyPr>
          <a:lstStyle>
            <a:lvl1pPr lvl="0" algn="r" rtl="0">
              <a:spcBef>
                <a:spcPts val="0"/>
              </a:spcBef>
              <a:spcAft>
                <a:spcPts val="0"/>
              </a:spcAft>
              <a:buClr>
                <a:srgbClr val="C1F400"/>
              </a:buClr>
              <a:buSzPts val="2400"/>
              <a:buFont typeface="Montserrat SemiBold"/>
              <a:buNone/>
              <a:defRPr sz="2400">
                <a:solidFill>
                  <a:srgbClr val="C1F400"/>
                </a:solidFill>
                <a:latin typeface="Montserrat SemiBold"/>
                <a:ea typeface="Montserrat SemiBold"/>
                <a:cs typeface="Montserrat SemiBold"/>
                <a:sym typeface="Montserrat SemiBold"/>
              </a:defRPr>
            </a:lvl1pPr>
            <a:lvl2pPr lvl="1" algn="r" rtl="0">
              <a:spcBef>
                <a:spcPts val="0"/>
              </a:spcBef>
              <a:spcAft>
                <a:spcPts val="0"/>
              </a:spcAft>
              <a:buSzPts val="2400"/>
              <a:buNone/>
              <a:defRPr sz="2400"/>
            </a:lvl2pPr>
            <a:lvl3pPr lvl="2" algn="r" rtl="0">
              <a:spcBef>
                <a:spcPts val="0"/>
              </a:spcBef>
              <a:spcAft>
                <a:spcPts val="0"/>
              </a:spcAft>
              <a:buSzPts val="2400"/>
              <a:buNone/>
              <a:defRPr sz="2400"/>
            </a:lvl3pPr>
            <a:lvl4pPr lvl="3" algn="r" rtl="0">
              <a:spcBef>
                <a:spcPts val="0"/>
              </a:spcBef>
              <a:spcAft>
                <a:spcPts val="0"/>
              </a:spcAft>
              <a:buSzPts val="2400"/>
              <a:buNone/>
              <a:defRPr sz="2400"/>
            </a:lvl4pPr>
            <a:lvl5pPr lvl="4" algn="r" rtl="0">
              <a:spcBef>
                <a:spcPts val="0"/>
              </a:spcBef>
              <a:spcAft>
                <a:spcPts val="0"/>
              </a:spcAft>
              <a:buSzPts val="2400"/>
              <a:buNone/>
              <a:defRPr sz="2400"/>
            </a:lvl5pPr>
            <a:lvl6pPr lvl="5" algn="r" rtl="0">
              <a:spcBef>
                <a:spcPts val="0"/>
              </a:spcBef>
              <a:spcAft>
                <a:spcPts val="0"/>
              </a:spcAft>
              <a:buSzPts val="2400"/>
              <a:buNone/>
              <a:defRPr sz="2400"/>
            </a:lvl6pPr>
            <a:lvl7pPr lvl="6" algn="r" rtl="0">
              <a:spcBef>
                <a:spcPts val="0"/>
              </a:spcBef>
              <a:spcAft>
                <a:spcPts val="0"/>
              </a:spcAft>
              <a:buSzPts val="2400"/>
              <a:buNone/>
              <a:defRPr sz="2400"/>
            </a:lvl7pPr>
            <a:lvl8pPr lvl="7" algn="r" rtl="0">
              <a:spcBef>
                <a:spcPts val="0"/>
              </a:spcBef>
              <a:spcAft>
                <a:spcPts val="0"/>
              </a:spcAft>
              <a:buSzPts val="2400"/>
              <a:buNone/>
              <a:defRPr sz="2400"/>
            </a:lvl8pPr>
            <a:lvl9pPr lvl="8" algn="r" rtl="0">
              <a:spcBef>
                <a:spcPts val="0"/>
              </a:spcBef>
              <a:spcAft>
                <a:spcPts val="0"/>
              </a:spcAft>
              <a:buSzPts val="2400"/>
              <a:buNone/>
              <a:defRPr sz="2400"/>
            </a:lvl9pPr>
          </a:lstStyle>
          <a:p>
            <a:endParaRPr/>
          </a:p>
        </p:txBody>
      </p:sp>
      <p:sp>
        <p:nvSpPr>
          <p:cNvPr id="27" name="Google Shape;27;p3"/>
          <p:cNvSpPr txBox="1">
            <a:spLocks noGrp="1"/>
          </p:cNvSpPr>
          <p:nvPr>
            <p:ph type="title"/>
          </p:nvPr>
        </p:nvSpPr>
        <p:spPr>
          <a:xfrm>
            <a:off x="3097600" y="5946250"/>
            <a:ext cx="18645300" cy="1844400"/>
          </a:xfrm>
          <a:prstGeom prst="rect">
            <a:avLst/>
          </a:prstGeom>
          <a:noFill/>
          <a:ln>
            <a:noFill/>
          </a:ln>
        </p:spPr>
        <p:txBody>
          <a:bodyPr spcFirstLastPara="1" wrap="square" lIns="91425" tIns="91425" rIns="91425" bIns="91425" anchor="t" anchorCtr="0">
            <a:normAutofit/>
          </a:bodyPr>
          <a:lstStyle>
            <a:lvl1pPr lvl="0" rtl="0">
              <a:spcBef>
                <a:spcPts val="0"/>
              </a:spcBef>
              <a:spcAft>
                <a:spcPts val="0"/>
              </a:spcAft>
              <a:buClr>
                <a:schemeClr val="lt1"/>
              </a:buClr>
              <a:buSzPts val="10800"/>
              <a:buFont typeface="Montserrat Black"/>
              <a:buNone/>
              <a:defRPr sz="10800">
                <a:solidFill>
                  <a:schemeClr val="lt1"/>
                </a:solidFill>
                <a:latin typeface="Montserrat Black"/>
                <a:ea typeface="Montserrat Black"/>
                <a:cs typeface="Montserrat Black"/>
                <a:sym typeface="Montserrat Black"/>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grpSp>
        <p:nvGrpSpPr>
          <p:cNvPr id="28" name="Google Shape;28;p3"/>
          <p:cNvGrpSpPr/>
          <p:nvPr/>
        </p:nvGrpSpPr>
        <p:grpSpPr>
          <a:xfrm>
            <a:off x="1247199" y="11097075"/>
            <a:ext cx="15482101" cy="1372200"/>
            <a:chOff x="1151949" y="11097075"/>
            <a:chExt cx="15482101" cy="1372200"/>
          </a:xfrm>
        </p:grpSpPr>
        <p:sp>
          <p:nvSpPr>
            <p:cNvPr id="29" name="Google Shape;29;p3"/>
            <p:cNvSpPr/>
            <p:nvPr/>
          </p:nvSpPr>
          <p:spPr>
            <a:xfrm>
              <a:off x="1151949" y="11097075"/>
              <a:ext cx="15053400" cy="1372200"/>
            </a:xfrm>
            <a:prstGeom prst="rect">
              <a:avLst/>
            </a:prstGeom>
            <a:solidFill>
              <a:srgbClr val="C1F400"/>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30" name="Google Shape;30;p3"/>
            <p:cNvSpPr/>
            <p:nvPr/>
          </p:nvSpPr>
          <p:spPr>
            <a:xfrm>
              <a:off x="16205350" y="11097075"/>
              <a:ext cx="428700" cy="1372200"/>
            </a:xfrm>
            <a:prstGeom prst="rtTriangle">
              <a:avLst/>
            </a:prstGeom>
            <a:solidFill>
              <a:srgbClr val="C1F400"/>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grpSp>
      <p:sp>
        <p:nvSpPr>
          <p:cNvPr id="31" name="Google Shape;31;p3"/>
          <p:cNvSpPr txBox="1">
            <a:spLocks noGrp="1"/>
          </p:cNvSpPr>
          <p:nvPr>
            <p:ph type="subTitle" idx="2"/>
          </p:nvPr>
        </p:nvSpPr>
        <p:spPr>
          <a:xfrm>
            <a:off x="1536275" y="11185150"/>
            <a:ext cx="14451000" cy="12405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rgbClr val="002A44"/>
              </a:buClr>
              <a:buSzPts val="4200"/>
              <a:buFont typeface="Montserrat"/>
              <a:buNone/>
              <a:defRPr sz="4200" b="1">
                <a:solidFill>
                  <a:srgbClr val="002A44"/>
                </a:solidFill>
                <a:latin typeface="Montserrat"/>
                <a:ea typeface="Montserrat"/>
                <a:cs typeface="Montserrat"/>
                <a:sym typeface="Montserrat"/>
              </a:defRPr>
            </a:lvl1pPr>
            <a:lvl2pPr lvl="1" rtl="0">
              <a:spcBef>
                <a:spcPts val="0"/>
              </a:spcBef>
              <a:spcAft>
                <a:spcPts val="0"/>
              </a:spcAft>
              <a:buClr>
                <a:srgbClr val="002A44"/>
              </a:buClr>
              <a:buSzPts val="1400"/>
              <a:buFont typeface="Montserrat SemiBold"/>
              <a:buNone/>
              <a:defRPr>
                <a:solidFill>
                  <a:srgbClr val="002A44"/>
                </a:solidFill>
                <a:latin typeface="Montserrat SemiBold"/>
                <a:ea typeface="Montserrat SemiBold"/>
                <a:cs typeface="Montserrat SemiBold"/>
                <a:sym typeface="Montserrat SemiBold"/>
              </a:defRPr>
            </a:lvl2pPr>
            <a:lvl3pPr lvl="2" rtl="0">
              <a:spcBef>
                <a:spcPts val="0"/>
              </a:spcBef>
              <a:spcAft>
                <a:spcPts val="0"/>
              </a:spcAft>
              <a:buClr>
                <a:srgbClr val="002A44"/>
              </a:buClr>
              <a:buSzPts val="1400"/>
              <a:buFont typeface="Montserrat SemiBold"/>
              <a:buNone/>
              <a:defRPr>
                <a:solidFill>
                  <a:srgbClr val="002A44"/>
                </a:solidFill>
                <a:latin typeface="Montserrat SemiBold"/>
                <a:ea typeface="Montserrat SemiBold"/>
                <a:cs typeface="Montserrat SemiBold"/>
                <a:sym typeface="Montserrat SemiBold"/>
              </a:defRPr>
            </a:lvl3pPr>
            <a:lvl4pPr lvl="3" rtl="0">
              <a:spcBef>
                <a:spcPts val="0"/>
              </a:spcBef>
              <a:spcAft>
                <a:spcPts val="0"/>
              </a:spcAft>
              <a:buClr>
                <a:srgbClr val="002A44"/>
              </a:buClr>
              <a:buSzPts val="1400"/>
              <a:buFont typeface="Montserrat SemiBold"/>
              <a:buNone/>
              <a:defRPr>
                <a:solidFill>
                  <a:srgbClr val="002A44"/>
                </a:solidFill>
                <a:latin typeface="Montserrat SemiBold"/>
                <a:ea typeface="Montserrat SemiBold"/>
                <a:cs typeface="Montserrat SemiBold"/>
                <a:sym typeface="Montserrat SemiBold"/>
              </a:defRPr>
            </a:lvl4pPr>
            <a:lvl5pPr lvl="4" rtl="0">
              <a:spcBef>
                <a:spcPts val="0"/>
              </a:spcBef>
              <a:spcAft>
                <a:spcPts val="0"/>
              </a:spcAft>
              <a:buClr>
                <a:srgbClr val="002A44"/>
              </a:buClr>
              <a:buSzPts val="1400"/>
              <a:buFont typeface="Montserrat SemiBold"/>
              <a:buNone/>
              <a:defRPr>
                <a:solidFill>
                  <a:srgbClr val="002A44"/>
                </a:solidFill>
                <a:latin typeface="Montserrat SemiBold"/>
                <a:ea typeface="Montserrat SemiBold"/>
                <a:cs typeface="Montserrat SemiBold"/>
                <a:sym typeface="Montserrat SemiBold"/>
              </a:defRPr>
            </a:lvl5pPr>
            <a:lvl6pPr lvl="5" rtl="0">
              <a:spcBef>
                <a:spcPts val="0"/>
              </a:spcBef>
              <a:spcAft>
                <a:spcPts val="0"/>
              </a:spcAft>
              <a:buClr>
                <a:srgbClr val="002A44"/>
              </a:buClr>
              <a:buSzPts val="1400"/>
              <a:buFont typeface="Montserrat SemiBold"/>
              <a:buNone/>
              <a:defRPr>
                <a:solidFill>
                  <a:srgbClr val="002A44"/>
                </a:solidFill>
                <a:latin typeface="Montserrat SemiBold"/>
                <a:ea typeface="Montserrat SemiBold"/>
                <a:cs typeface="Montserrat SemiBold"/>
                <a:sym typeface="Montserrat SemiBold"/>
              </a:defRPr>
            </a:lvl6pPr>
            <a:lvl7pPr lvl="6" rtl="0">
              <a:spcBef>
                <a:spcPts val="0"/>
              </a:spcBef>
              <a:spcAft>
                <a:spcPts val="0"/>
              </a:spcAft>
              <a:buClr>
                <a:srgbClr val="002A44"/>
              </a:buClr>
              <a:buSzPts val="1400"/>
              <a:buFont typeface="Montserrat SemiBold"/>
              <a:buNone/>
              <a:defRPr>
                <a:solidFill>
                  <a:srgbClr val="002A44"/>
                </a:solidFill>
                <a:latin typeface="Montserrat SemiBold"/>
                <a:ea typeface="Montserrat SemiBold"/>
                <a:cs typeface="Montserrat SemiBold"/>
                <a:sym typeface="Montserrat SemiBold"/>
              </a:defRPr>
            </a:lvl7pPr>
            <a:lvl8pPr lvl="7" rtl="0">
              <a:spcBef>
                <a:spcPts val="0"/>
              </a:spcBef>
              <a:spcAft>
                <a:spcPts val="0"/>
              </a:spcAft>
              <a:buClr>
                <a:srgbClr val="002A44"/>
              </a:buClr>
              <a:buSzPts val="1400"/>
              <a:buFont typeface="Montserrat SemiBold"/>
              <a:buNone/>
              <a:defRPr>
                <a:solidFill>
                  <a:srgbClr val="002A44"/>
                </a:solidFill>
                <a:latin typeface="Montserrat SemiBold"/>
                <a:ea typeface="Montserrat SemiBold"/>
                <a:cs typeface="Montserrat SemiBold"/>
                <a:sym typeface="Montserrat SemiBold"/>
              </a:defRPr>
            </a:lvl8pPr>
            <a:lvl9pPr lvl="8" rtl="0">
              <a:spcBef>
                <a:spcPts val="0"/>
              </a:spcBef>
              <a:spcAft>
                <a:spcPts val="0"/>
              </a:spcAft>
              <a:buClr>
                <a:srgbClr val="002A44"/>
              </a:buClr>
              <a:buSzPts val="1400"/>
              <a:buFont typeface="Montserrat SemiBold"/>
              <a:buNone/>
              <a:defRPr>
                <a:solidFill>
                  <a:srgbClr val="002A44"/>
                </a:solidFill>
                <a:latin typeface="Montserrat SemiBold"/>
                <a:ea typeface="Montserrat SemiBold"/>
                <a:cs typeface="Montserrat SemiBold"/>
                <a:sym typeface="Montserrat SemiBold"/>
              </a:defRPr>
            </a:lvl9pPr>
          </a:lstStyle>
          <a:p>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Numerical Stats.- 4">
  <p:cSld name="Numerical Stats.- 4">
    <p:bg>
      <p:bgPr>
        <a:solidFill>
          <a:srgbClr val="002A44"/>
        </a:solidFill>
        <a:effectLst/>
      </p:bgPr>
    </p:bg>
    <p:spTree>
      <p:nvGrpSpPr>
        <p:cNvPr id="1" name="Shape 313"/>
        <p:cNvGrpSpPr/>
        <p:nvPr/>
      </p:nvGrpSpPr>
      <p:grpSpPr>
        <a:xfrm>
          <a:off x="0" y="0"/>
          <a:ext cx="0" cy="0"/>
          <a:chOff x="0" y="0"/>
          <a:chExt cx="0" cy="0"/>
        </a:xfrm>
      </p:grpSpPr>
      <p:sp>
        <p:nvSpPr>
          <p:cNvPr id="314" name="Google Shape;314;p25"/>
          <p:cNvSpPr/>
          <p:nvPr/>
        </p:nvSpPr>
        <p:spPr>
          <a:xfrm>
            <a:off x="22412037" y="536597"/>
            <a:ext cx="1515111" cy="1515111"/>
          </a:xfrm>
          <a:custGeom>
            <a:avLst/>
            <a:gdLst/>
            <a:ahLst/>
            <a:cxnLst/>
            <a:rect l="l" t="t" r="r" b="b"/>
            <a:pathLst>
              <a:path w="1137044" h="1137044" extrusionOk="0">
                <a:moveTo>
                  <a:pt x="0" y="0"/>
                </a:moveTo>
                <a:lnTo>
                  <a:pt x="1137044" y="0"/>
                </a:lnTo>
                <a:lnTo>
                  <a:pt x="1137044" y="1137044"/>
                </a:lnTo>
                <a:lnTo>
                  <a:pt x="0" y="1137044"/>
                </a:lnTo>
                <a:lnTo>
                  <a:pt x="0" y="0"/>
                </a:lnTo>
                <a:close/>
              </a:path>
            </a:pathLst>
          </a:custGeom>
          <a:blipFill rotWithShape="1">
            <a:blip r:embed="rId2">
              <a:alphaModFix/>
            </a:blip>
            <a:stretch>
              <a:fillRect/>
            </a:stretch>
          </a:blipFill>
          <a:ln>
            <a:noFill/>
          </a:ln>
        </p:spPr>
      </p:sp>
      <p:sp>
        <p:nvSpPr>
          <p:cNvPr id="315" name="Google Shape;315;p25"/>
          <p:cNvSpPr txBox="1">
            <a:spLocks noGrp="1"/>
          </p:cNvSpPr>
          <p:nvPr>
            <p:ph type="title"/>
          </p:nvPr>
        </p:nvSpPr>
        <p:spPr>
          <a:xfrm>
            <a:off x="9569075" y="3005850"/>
            <a:ext cx="6106800" cy="14628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10800"/>
              <a:buFont typeface="Montserrat Black"/>
              <a:buNone/>
              <a:defRPr sz="10800">
                <a:solidFill>
                  <a:srgbClr val="C1F400"/>
                </a:solidFill>
                <a:latin typeface="Montserrat Black"/>
                <a:ea typeface="Montserrat Black"/>
                <a:cs typeface="Montserrat Black"/>
                <a:sym typeface="Montserrat Black"/>
              </a:defRPr>
            </a:lvl1pPr>
            <a:lvl2pPr lvl="1" rtl="0">
              <a:spcBef>
                <a:spcPts val="0"/>
              </a:spcBef>
              <a:spcAft>
                <a:spcPts val="0"/>
              </a:spcAft>
              <a:buClr>
                <a:srgbClr val="C1F400"/>
              </a:buClr>
              <a:buSzPts val="10800"/>
              <a:buNone/>
              <a:defRPr sz="10800">
                <a:solidFill>
                  <a:srgbClr val="C1F400"/>
                </a:solidFill>
              </a:defRPr>
            </a:lvl2pPr>
            <a:lvl3pPr lvl="2" rtl="0">
              <a:spcBef>
                <a:spcPts val="0"/>
              </a:spcBef>
              <a:spcAft>
                <a:spcPts val="0"/>
              </a:spcAft>
              <a:buClr>
                <a:srgbClr val="C1F400"/>
              </a:buClr>
              <a:buSzPts val="10800"/>
              <a:buNone/>
              <a:defRPr sz="10800">
                <a:solidFill>
                  <a:srgbClr val="C1F400"/>
                </a:solidFill>
              </a:defRPr>
            </a:lvl3pPr>
            <a:lvl4pPr lvl="3" rtl="0">
              <a:spcBef>
                <a:spcPts val="0"/>
              </a:spcBef>
              <a:spcAft>
                <a:spcPts val="0"/>
              </a:spcAft>
              <a:buClr>
                <a:srgbClr val="C1F400"/>
              </a:buClr>
              <a:buSzPts val="10800"/>
              <a:buNone/>
              <a:defRPr sz="10800">
                <a:solidFill>
                  <a:srgbClr val="C1F400"/>
                </a:solidFill>
              </a:defRPr>
            </a:lvl4pPr>
            <a:lvl5pPr lvl="4" rtl="0">
              <a:spcBef>
                <a:spcPts val="0"/>
              </a:spcBef>
              <a:spcAft>
                <a:spcPts val="0"/>
              </a:spcAft>
              <a:buClr>
                <a:srgbClr val="C1F400"/>
              </a:buClr>
              <a:buSzPts val="10800"/>
              <a:buNone/>
              <a:defRPr sz="10800">
                <a:solidFill>
                  <a:srgbClr val="C1F400"/>
                </a:solidFill>
              </a:defRPr>
            </a:lvl5pPr>
            <a:lvl6pPr lvl="5" rtl="0">
              <a:spcBef>
                <a:spcPts val="0"/>
              </a:spcBef>
              <a:spcAft>
                <a:spcPts val="0"/>
              </a:spcAft>
              <a:buClr>
                <a:srgbClr val="C1F400"/>
              </a:buClr>
              <a:buSzPts val="10800"/>
              <a:buNone/>
              <a:defRPr sz="10800">
                <a:solidFill>
                  <a:srgbClr val="C1F400"/>
                </a:solidFill>
              </a:defRPr>
            </a:lvl6pPr>
            <a:lvl7pPr lvl="6" rtl="0">
              <a:spcBef>
                <a:spcPts val="0"/>
              </a:spcBef>
              <a:spcAft>
                <a:spcPts val="0"/>
              </a:spcAft>
              <a:buClr>
                <a:srgbClr val="C1F400"/>
              </a:buClr>
              <a:buSzPts val="10800"/>
              <a:buNone/>
              <a:defRPr sz="10800">
                <a:solidFill>
                  <a:srgbClr val="C1F400"/>
                </a:solidFill>
              </a:defRPr>
            </a:lvl7pPr>
            <a:lvl8pPr lvl="7" rtl="0">
              <a:spcBef>
                <a:spcPts val="0"/>
              </a:spcBef>
              <a:spcAft>
                <a:spcPts val="0"/>
              </a:spcAft>
              <a:buClr>
                <a:srgbClr val="C1F400"/>
              </a:buClr>
              <a:buSzPts val="10800"/>
              <a:buNone/>
              <a:defRPr sz="10800">
                <a:solidFill>
                  <a:srgbClr val="C1F400"/>
                </a:solidFill>
              </a:defRPr>
            </a:lvl8pPr>
            <a:lvl9pPr lvl="8" rtl="0">
              <a:spcBef>
                <a:spcPts val="0"/>
              </a:spcBef>
              <a:spcAft>
                <a:spcPts val="0"/>
              </a:spcAft>
              <a:buClr>
                <a:srgbClr val="C1F400"/>
              </a:buClr>
              <a:buSzPts val="10800"/>
              <a:buNone/>
              <a:defRPr sz="10800">
                <a:solidFill>
                  <a:srgbClr val="C1F400"/>
                </a:solidFill>
              </a:defRPr>
            </a:lvl9pPr>
          </a:lstStyle>
          <a:p>
            <a:endParaRPr/>
          </a:p>
        </p:txBody>
      </p:sp>
      <p:sp>
        <p:nvSpPr>
          <p:cNvPr id="316" name="Google Shape;316;p25"/>
          <p:cNvSpPr txBox="1">
            <a:spLocks noGrp="1"/>
          </p:cNvSpPr>
          <p:nvPr>
            <p:ph type="title" idx="2"/>
          </p:nvPr>
        </p:nvSpPr>
        <p:spPr>
          <a:xfrm>
            <a:off x="16970000" y="3005850"/>
            <a:ext cx="6106800" cy="14628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10800"/>
              <a:buFont typeface="Montserrat Black"/>
              <a:buNone/>
              <a:defRPr sz="10800">
                <a:solidFill>
                  <a:srgbClr val="C1F400"/>
                </a:solidFill>
                <a:latin typeface="Montserrat Black"/>
                <a:ea typeface="Montserrat Black"/>
                <a:cs typeface="Montserrat Black"/>
                <a:sym typeface="Montserrat Black"/>
              </a:defRPr>
            </a:lvl1pPr>
            <a:lvl2pPr lvl="1" rtl="0">
              <a:spcBef>
                <a:spcPts val="0"/>
              </a:spcBef>
              <a:spcAft>
                <a:spcPts val="0"/>
              </a:spcAft>
              <a:buClr>
                <a:srgbClr val="C1F400"/>
              </a:buClr>
              <a:buSzPts val="10800"/>
              <a:buNone/>
              <a:defRPr sz="10800">
                <a:solidFill>
                  <a:srgbClr val="C1F400"/>
                </a:solidFill>
              </a:defRPr>
            </a:lvl2pPr>
            <a:lvl3pPr lvl="2" rtl="0">
              <a:spcBef>
                <a:spcPts val="0"/>
              </a:spcBef>
              <a:spcAft>
                <a:spcPts val="0"/>
              </a:spcAft>
              <a:buClr>
                <a:srgbClr val="C1F400"/>
              </a:buClr>
              <a:buSzPts val="10800"/>
              <a:buNone/>
              <a:defRPr sz="10800">
                <a:solidFill>
                  <a:srgbClr val="C1F400"/>
                </a:solidFill>
              </a:defRPr>
            </a:lvl3pPr>
            <a:lvl4pPr lvl="3" rtl="0">
              <a:spcBef>
                <a:spcPts val="0"/>
              </a:spcBef>
              <a:spcAft>
                <a:spcPts val="0"/>
              </a:spcAft>
              <a:buClr>
                <a:srgbClr val="C1F400"/>
              </a:buClr>
              <a:buSzPts val="10800"/>
              <a:buNone/>
              <a:defRPr sz="10800">
                <a:solidFill>
                  <a:srgbClr val="C1F400"/>
                </a:solidFill>
              </a:defRPr>
            </a:lvl4pPr>
            <a:lvl5pPr lvl="4" rtl="0">
              <a:spcBef>
                <a:spcPts val="0"/>
              </a:spcBef>
              <a:spcAft>
                <a:spcPts val="0"/>
              </a:spcAft>
              <a:buClr>
                <a:srgbClr val="C1F400"/>
              </a:buClr>
              <a:buSzPts val="10800"/>
              <a:buNone/>
              <a:defRPr sz="10800">
                <a:solidFill>
                  <a:srgbClr val="C1F400"/>
                </a:solidFill>
              </a:defRPr>
            </a:lvl5pPr>
            <a:lvl6pPr lvl="5" rtl="0">
              <a:spcBef>
                <a:spcPts val="0"/>
              </a:spcBef>
              <a:spcAft>
                <a:spcPts val="0"/>
              </a:spcAft>
              <a:buClr>
                <a:srgbClr val="C1F400"/>
              </a:buClr>
              <a:buSzPts val="10800"/>
              <a:buNone/>
              <a:defRPr sz="10800">
                <a:solidFill>
                  <a:srgbClr val="C1F400"/>
                </a:solidFill>
              </a:defRPr>
            </a:lvl6pPr>
            <a:lvl7pPr lvl="6" rtl="0">
              <a:spcBef>
                <a:spcPts val="0"/>
              </a:spcBef>
              <a:spcAft>
                <a:spcPts val="0"/>
              </a:spcAft>
              <a:buClr>
                <a:srgbClr val="C1F400"/>
              </a:buClr>
              <a:buSzPts val="10800"/>
              <a:buNone/>
              <a:defRPr sz="10800">
                <a:solidFill>
                  <a:srgbClr val="C1F400"/>
                </a:solidFill>
              </a:defRPr>
            </a:lvl7pPr>
            <a:lvl8pPr lvl="7" rtl="0">
              <a:spcBef>
                <a:spcPts val="0"/>
              </a:spcBef>
              <a:spcAft>
                <a:spcPts val="0"/>
              </a:spcAft>
              <a:buClr>
                <a:srgbClr val="C1F400"/>
              </a:buClr>
              <a:buSzPts val="10800"/>
              <a:buNone/>
              <a:defRPr sz="10800">
                <a:solidFill>
                  <a:srgbClr val="C1F400"/>
                </a:solidFill>
              </a:defRPr>
            </a:lvl8pPr>
            <a:lvl9pPr lvl="8" rtl="0">
              <a:spcBef>
                <a:spcPts val="0"/>
              </a:spcBef>
              <a:spcAft>
                <a:spcPts val="0"/>
              </a:spcAft>
              <a:buClr>
                <a:srgbClr val="C1F400"/>
              </a:buClr>
              <a:buSzPts val="10800"/>
              <a:buNone/>
              <a:defRPr sz="10800">
                <a:solidFill>
                  <a:srgbClr val="C1F400"/>
                </a:solidFill>
              </a:defRPr>
            </a:lvl9pPr>
          </a:lstStyle>
          <a:p>
            <a:endParaRPr/>
          </a:p>
        </p:txBody>
      </p:sp>
      <p:sp>
        <p:nvSpPr>
          <p:cNvPr id="317" name="Google Shape;317;p25"/>
          <p:cNvSpPr txBox="1">
            <a:spLocks noGrp="1"/>
          </p:cNvSpPr>
          <p:nvPr>
            <p:ph type="title" idx="3"/>
          </p:nvPr>
        </p:nvSpPr>
        <p:spPr>
          <a:xfrm>
            <a:off x="9666200" y="4937900"/>
            <a:ext cx="3922500" cy="737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3600"/>
              <a:buFont typeface="Montserrat Black"/>
              <a:buNone/>
              <a:defRPr sz="3600">
                <a:solidFill>
                  <a:schemeClr val="lt1"/>
                </a:solidFill>
                <a:latin typeface="Montserrat Black"/>
                <a:ea typeface="Montserrat Black"/>
                <a:cs typeface="Montserrat Black"/>
                <a:sym typeface="Montserrat Black"/>
              </a:defRPr>
            </a:lvl1pPr>
            <a:lvl2pPr lvl="1" rtl="0">
              <a:spcBef>
                <a:spcPts val="0"/>
              </a:spcBef>
              <a:spcAft>
                <a:spcPts val="0"/>
              </a:spcAft>
              <a:buClr>
                <a:schemeClr val="lt1"/>
              </a:buClr>
              <a:buSzPts val="3600"/>
              <a:buNone/>
              <a:defRPr sz="3600">
                <a:solidFill>
                  <a:schemeClr val="lt1"/>
                </a:solidFill>
              </a:defRPr>
            </a:lvl2pPr>
            <a:lvl3pPr lvl="2" rtl="0">
              <a:spcBef>
                <a:spcPts val="0"/>
              </a:spcBef>
              <a:spcAft>
                <a:spcPts val="0"/>
              </a:spcAft>
              <a:buClr>
                <a:schemeClr val="lt1"/>
              </a:buClr>
              <a:buSzPts val="3600"/>
              <a:buNone/>
              <a:defRPr sz="3600">
                <a:solidFill>
                  <a:schemeClr val="lt1"/>
                </a:solidFill>
              </a:defRPr>
            </a:lvl3pPr>
            <a:lvl4pPr lvl="3" rtl="0">
              <a:spcBef>
                <a:spcPts val="0"/>
              </a:spcBef>
              <a:spcAft>
                <a:spcPts val="0"/>
              </a:spcAft>
              <a:buClr>
                <a:schemeClr val="lt1"/>
              </a:buClr>
              <a:buSzPts val="3600"/>
              <a:buNone/>
              <a:defRPr sz="3600">
                <a:solidFill>
                  <a:schemeClr val="lt1"/>
                </a:solidFill>
              </a:defRPr>
            </a:lvl4pPr>
            <a:lvl5pPr lvl="4" rtl="0">
              <a:spcBef>
                <a:spcPts val="0"/>
              </a:spcBef>
              <a:spcAft>
                <a:spcPts val="0"/>
              </a:spcAft>
              <a:buClr>
                <a:schemeClr val="lt1"/>
              </a:buClr>
              <a:buSzPts val="3600"/>
              <a:buNone/>
              <a:defRPr sz="3600">
                <a:solidFill>
                  <a:schemeClr val="lt1"/>
                </a:solidFill>
              </a:defRPr>
            </a:lvl5pPr>
            <a:lvl6pPr lvl="5" rtl="0">
              <a:spcBef>
                <a:spcPts val="0"/>
              </a:spcBef>
              <a:spcAft>
                <a:spcPts val="0"/>
              </a:spcAft>
              <a:buClr>
                <a:schemeClr val="lt1"/>
              </a:buClr>
              <a:buSzPts val="3600"/>
              <a:buNone/>
              <a:defRPr sz="3600">
                <a:solidFill>
                  <a:schemeClr val="lt1"/>
                </a:solidFill>
              </a:defRPr>
            </a:lvl6pPr>
            <a:lvl7pPr lvl="6" rtl="0">
              <a:spcBef>
                <a:spcPts val="0"/>
              </a:spcBef>
              <a:spcAft>
                <a:spcPts val="0"/>
              </a:spcAft>
              <a:buClr>
                <a:schemeClr val="lt1"/>
              </a:buClr>
              <a:buSzPts val="3600"/>
              <a:buNone/>
              <a:defRPr sz="3600">
                <a:solidFill>
                  <a:schemeClr val="lt1"/>
                </a:solidFill>
              </a:defRPr>
            </a:lvl7pPr>
            <a:lvl8pPr lvl="7" rtl="0">
              <a:spcBef>
                <a:spcPts val="0"/>
              </a:spcBef>
              <a:spcAft>
                <a:spcPts val="0"/>
              </a:spcAft>
              <a:buClr>
                <a:schemeClr val="lt1"/>
              </a:buClr>
              <a:buSzPts val="3600"/>
              <a:buNone/>
              <a:defRPr sz="3600">
                <a:solidFill>
                  <a:schemeClr val="lt1"/>
                </a:solidFill>
              </a:defRPr>
            </a:lvl8pPr>
            <a:lvl9pPr lvl="8" rtl="0">
              <a:spcBef>
                <a:spcPts val="0"/>
              </a:spcBef>
              <a:spcAft>
                <a:spcPts val="0"/>
              </a:spcAft>
              <a:buClr>
                <a:schemeClr val="lt1"/>
              </a:buClr>
              <a:buSzPts val="3600"/>
              <a:buNone/>
              <a:defRPr sz="3600">
                <a:solidFill>
                  <a:schemeClr val="lt1"/>
                </a:solidFill>
              </a:defRPr>
            </a:lvl9pPr>
          </a:lstStyle>
          <a:p>
            <a:endParaRPr/>
          </a:p>
        </p:txBody>
      </p:sp>
      <p:sp>
        <p:nvSpPr>
          <p:cNvPr id="318" name="Google Shape;318;p25"/>
          <p:cNvSpPr txBox="1">
            <a:spLocks noGrp="1"/>
          </p:cNvSpPr>
          <p:nvPr>
            <p:ph type="title" idx="4"/>
          </p:nvPr>
        </p:nvSpPr>
        <p:spPr>
          <a:xfrm>
            <a:off x="17018025" y="4937900"/>
            <a:ext cx="3922500" cy="737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3600"/>
              <a:buFont typeface="Montserrat Black"/>
              <a:buNone/>
              <a:defRPr sz="3600">
                <a:solidFill>
                  <a:schemeClr val="lt1"/>
                </a:solidFill>
                <a:latin typeface="Montserrat Black"/>
                <a:ea typeface="Montserrat Black"/>
                <a:cs typeface="Montserrat Black"/>
                <a:sym typeface="Montserrat Black"/>
              </a:defRPr>
            </a:lvl1pPr>
            <a:lvl2pPr lvl="1" rtl="0">
              <a:spcBef>
                <a:spcPts val="0"/>
              </a:spcBef>
              <a:spcAft>
                <a:spcPts val="0"/>
              </a:spcAft>
              <a:buClr>
                <a:schemeClr val="lt1"/>
              </a:buClr>
              <a:buSzPts val="3600"/>
              <a:buNone/>
              <a:defRPr sz="3600">
                <a:solidFill>
                  <a:schemeClr val="lt1"/>
                </a:solidFill>
              </a:defRPr>
            </a:lvl2pPr>
            <a:lvl3pPr lvl="2" rtl="0">
              <a:spcBef>
                <a:spcPts val="0"/>
              </a:spcBef>
              <a:spcAft>
                <a:spcPts val="0"/>
              </a:spcAft>
              <a:buClr>
                <a:schemeClr val="lt1"/>
              </a:buClr>
              <a:buSzPts val="3600"/>
              <a:buNone/>
              <a:defRPr sz="3600">
                <a:solidFill>
                  <a:schemeClr val="lt1"/>
                </a:solidFill>
              </a:defRPr>
            </a:lvl3pPr>
            <a:lvl4pPr lvl="3" rtl="0">
              <a:spcBef>
                <a:spcPts val="0"/>
              </a:spcBef>
              <a:spcAft>
                <a:spcPts val="0"/>
              </a:spcAft>
              <a:buClr>
                <a:schemeClr val="lt1"/>
              </a:buClr>
              <a:buSzPts val="3600"/>
              <a:buNone/>
              <a:defRPr sz="3600">
                <a:solidFill>
                  <a:schemeClr val="lt1"/>
                </a:solidFill>
              </a:defRPr>
            </a:lvl4pPr>
            <a:lvl5pPr lvl="4" rtl="0">
              <a:spcBef>
                <a:spcPts val="0"/>
              </a:spcBef>
              <a:spcAft>
                <a:spcPts val="0"/>
              </a:spcAft>
              <a:buClr>
                <a:schemeClr val="lt1"/>
              </a:buClr>
              <a:buSzPts val="3600"/>
              <a:buNone/>
              <a:defRPr sz="3600">
                <a:solidFill>
                  <a:schemeClr val="lt1"/>
                </a:solidFill>
              </a:defRPr>
            </a:lvl5pPr>
            <a:lvl6pPr lvl="5" rtl="0">
              <a:spcBef>
                <a:spcPts val="0"/>
              </a:spcBef>
              <a:spcAft>
                <a:spcPts val="0"/>
              </a:spcAft>
              <a:buClr>
                <a:schemeClr val="lt1"/>
              </a:buClr>
              <a:buSzPts val="3600"/>
              <a:buNone/>
              <a:defRPr sz="3600">
                <a:solidFill>
                  <a:schemeClr val="lt1"/>
                </a:solidFill>
              </a:defRPr>
            </a:lvl6pPr>
            <a:lvl7pPr lvl="6" rtl="0">
              <a:spcBef>
                <a:spcPts val="0"/>
              </a:spcBef>
              <a:spcAft>
                <a:spcPts val="0"/>
              </a:spcAft>
              <a:buClr>
                <a:schemeClr val="lt1"/>
              </a:buClr>
              <a:buSzPts val="3600"/>
              <a:buNone/>
              <a:defRPr sz="3600">
                <a:solidFill>
                  <a:schemeClr val="lt1"/>
                </a:solidFill>
              </a:defRPr>
            </a:lvl7pPr>
            <a:lvl8pPr lvl="7" rtl="0">
              <a:spcBef>
                <a:spcPts val="0"/>
              </a:spcBef>
              <a:spcAft>
                <a:spcPts val="0"/>
              </a:spcAft>
              <a:buClr>
                <a:schemeClr val="lt1"/>
              </a:buClr>
              <a:buSzPts val="3600"/>
              <a:buNone/>
              <a:defRPr sz="3600">
                <a:solidFill>
                  <a:schemeClr val="lt1"/>
                </a:solidFill>
              </a:defRPr>
            </a:lvl8pPr>
            <a:lvl9pPr lvl="8" rtl="0">
              <a:spcBef>
                <a:spcPts val="0"/>
              </a:spcBef>
              <a:spcAft>
                <a:spcPts val="0"/>
              </a:spcAft>
              <a:buClr>
                <a:schemeClr val="lt1"/>
              </a:buClr>
              <a:buSzPts val="3600"/>
              <a:buNone/>
              <a:defRPr sz="3600">
                <a:solidFill>
                  <a:schemeClr val="lt1"/>
                </a:solidFill>
              </a:defRPr>
            </a:lvl9pPr>
          </a:lstStyle>
          <a:p>
            <a:endParaRPr/>
          </a:p>
        </p:txBody>
      </p:sp>
      <p:sp>
        <p:nvSpPr>
          <p:cNvPr id="319" name="Google Shape;319;p25"/>
          <p:cNvSpPr txBox="1">
            <a:spLocks noGrp="1"/>
          </p:cNvSpPr>
          <p:nvPr>
            <p:ph type="title" idx="5"/>
          </p:nvPr>
        </p:nvSpPr>
        <p:spPr>
          <a:xfrm>
            <a:off x="1939550" y="3135700"/>
            <a:ext cx="6760800" cy="2382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7200"/>
              <a:buFont typeface="Montserrat Black"/>
              <a:buNone/>
              <a:defRPr sz="7200">
                <a:solidFill>
                  <a:schemeClr val="lt1"/>
                </a:solidFill>
                <a:latin typeface="Montserrat Black"/>
                <a:ea typeface="Montserrat Black"/>
                <a:cs typeface="Montserrat Black"/>
                <a:sym typeface="Montserrat Black"/>
              </a:defRPr>
            </a:lvl1pPr>
            <a:lvl2pPr lvl="1" rtl="0">
              <a:spcBef>
                <a:spcPts val="0"/>
              </a:spcBef>
              <a:spcAft>
                <a:spcPts val="0"/>
              </a:spcAft>
              <a:buSzPts val="7200"/>
              <a:buNone/>
              <a:defRPr sz="7200"/>
            </a:lvl2pPr>
            <a:lvl3pPr lvl="2" rtl="0">
              <a:spcBef>
                <a:spcPts val="0"/>
              </a:spcBef>
              <a:spcAft>
                <a:spcPts val="0"/>
              </a:spcAft>
              <a:buSzPts val="7200"/>
              <a:buNone/>
              <a:defRPr sz="7200"/>
            </a:lvl3pPr>
            <a:lvl4pPr lvl="3" rtl="0">
              <a:spcBef>
                <a:spcPts val="0"/>
              </a:spcBef>
              <a:spcAft>
                <a:spcPts val="0"/>
              </a:spcAft>
              <a:buSzPts val="7200"/>
              <a:buNone/>
              <a:defRPr sz="7200"/>
            </a:lvl4pPr>
            <a:lvl5pPr lvl="4" rtl="0">
              <a:spcBef>
                <a:spcPts val="0"/>
              </a:spcBef>
              <a:spcAft>
                <a:spcPts val="0"/>
              </a:spcAft>
              <a:buSzPts val="7200"/>
              <a:buNone/>
              <a:defRPr sz="7200"/>
            </a:lvl5pPr>
            <a:lvl6pPr lvl="5" rtl="0">
              <a:spcBef>
                <a:spcPts val="0"/>
              </a:spcBef>
              <a:spcAft>
                <a:spcPts val="0"/>
              </a:spcAft>
              <a:buSzPts val="7200"/>
              <a:buNone/>
              <a:defRPr sz="7200"/>
            </a:lvl6pPr>
            <a:lvl7pPr lvl="6" rtl="0">
              <a:spcBef>
                <a:spcPts val="0"/>
              </a:spcBef>
              <a:spcAft>
                <a:spcPts val="0"/>
              </a:spcAft>
              <a:buSzPts val="7200"/>
              <a:buNone/>
              <a:defRPr sz="7200"/>
            </a:lvl7pPr>
            <a:lvl8pPr lvl="7" rtl="0">
              <a:spcBef>
                <a:spcPts val="0"/>
              </a:spcBef>
              <a:spcAft>
                <a:spcPts val="0"/>
              </a:spcAft>
              <a:buSzPts val="7200"/>
              <a:buNone/>
              <a:defRPr sz="7200"/>
            </a:lvl8pPr>
            <a:lvl9pPr lvl="8" rtl="0">
              <a:spcBef>
                <a:spcPts val="0"/>
              </a:spcBef>
              <a:spcAft>
                <a:spcPts val="0"/>
              </a:spcAft>
              <a:buSzPts val="7200"/>
              <a:buNone/>
              <a:defRPr sz="7200"/>
            </a:lvl9pPr>
          </a:lstStyle>
          <a:p>
            <a:endParaRPr/>
          </a:p>
        </p:txBody>
      </p:sp>
      <p:sp>
        <p:nvSpPr>
          <p:cNvPr id="320" name="Google Shape;320;p25"/>
          <p:cNvSpPr txBox="1">
            <a:spLocks noGrp="1"/>
          </p:cNvSpPr>
          <p:nvPr>
            <p:ph type="subTitle" idx="1"/>
          </p:nvPr>
        </p:nvSpPr>
        <p:spPr>
          <a:xfrm>
            <a:off x="2026525" y="6951800"/>
            <a:ext cx="6080100" cy="24381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3600"/>
              <a:buFont typeface="Montserrat"/>
              <a:buNone/>
              <a:defRPr sz="3600">
                <a:solidFill>
                  <a:schemeClr val="lt1"/>
                </a:solidFill>
                <a:latin typeface="Montserrat"/>
                <a:ea typeface="Montserrat"/>
                <a:cs typeface="Montserrat"/>
                <a:sym typeface="Montserrat"/>
              </a:defRPr>
            </a:lvl1pPr>
            <a:lvl2pPr lvl="1" rtl="0">
              <a:spcBef>
                <a:spcPts val="0"/>
              </a:spcBef>
              <a:spcAft>
                <a:spcPts val="0"/>
              </a:spcAft>
              <a:buClr>
                <a:schemeClr val="lt1"/>
              </a:buClr>
              <a:buSzPts val="3600"/>
              <a:buNone/>
              <a:defRPr sz="3600">
                <a:solidFill>
                  <a:schemeClr val="lt1"/>
                </a:solidFill>
              </a:defRPr>
            </a:lvl2pPr>
            <a:lvl3pPr lvl="2" rtl="0">
              <a:spcBef>
                <a:spcPts val="0"/>
              </a:spcBef>
              <a:spcAft>
                <a:spcPts val="0"/>
              </a:spcAft>
              <a:buClr>
                <a:schemeClr val="lt1"/>
              </a:buClr>
              <a:buSzPts val="3600"/>
              <a:buNone/>
              <a:defRPr sz="3600">
                <a:solidFill>
                  <a:schemeClr val="lt1"/>
                </a:solidFill>
              </a:defRPr>
            </a:lvl3pPr>
            <a:lvl4pPr lvl="3" rtl="0">
              <a:spcBef>
                <a:spcPts val="0"/>
              </a:spcBef>
              <a:spcAft>
                <a:spcPts val="0"/>
              </a:spcAft>
              <a:buClr>
                <a:schemeClr val="lt1"/>
              </a:buClr>
              <a:buSzPts val="3600"/>
              <a:buNone/>
              <a:defRPr sz="3600">
                <a:solidFill>
                  <a:schemeClr val="lt1"/>
                </a:solidFill>
              </a:defRPr>
            </a:lvl4pPr>
            <a:lvl5pPr lvl="4" rtl="0">
              <a:spcBef>
                <a:spcPts val="0"/>
              </a:spcBef>
              <a:spcAft>
                <a:spcPts val="0"/>
              </a:spcAft>
              <a:buClr>
                <a:schemeClr val="lt1"/>
              </a:buClr>
              <a:buSzPts val="3600"/>
              <a:buNone/>
              <a:defRPr sz="3600">
                <a:solidFill>
                  <a:schemeClr val="lt1"/>
                </a:solidFill>
              </a:defRPr>
            </a:lvl5pPr>
            <a:lvl6pPr lvl="5" rtl="0">
              <a:spcBef>
                <a:spcPts val="0"/>
              </a:spcBef>
              <a:spcAft>
                <a:spcPts val="0"/>
              </a:spcAft>
              <a:buClr>
                <a:schemeClr val="lt1"/>
              </a:buClr>
              <a:buSzPts val="3600"/>
              <a:buNone/>
              <a:defRPr sz="3600">
                <a:solidFill>
                  <a:schemeClr val="lt1"/>
                </a:solidFill>
              </a:defRPr>
            </a:lvl6pPr>
            <a:lvl7pPr lvl="6" rtl="0">
              <a:spcBef>
                <a:spcPts val="0"/>
              </a:spcBef>
              <a:spcAft>
                <a:spcPts val="0"/>
              </a:spcAft>
              <a:buClr>
                <a:schemeClr val="lt1"/>
              </a:buClr>
              <a:buSzPts val="3600"/>
              <a:buNone/>
              <a:defRPr sz="3600">
                <a:solidFill>
                  <a:schemeClr val="lt1"/>
                </a:solidFill>
              </a:defRPr>
            </a:lvl7pPr>
            <a:lvl8pPr lvl="7" rtl="0">
              <a:spcBef>
                <a:spcPts val="0"/>
              </a:spcBef>
              <a:spcAft>
                <a:spcPts val="0"/>
              </a:spcAft>
              <a:buClr>
                <a:schemeClr val="lt1"/>
              </a:buClr>
              <a:buSzPts val="3600"/>
              <a:buNone/>
              <a:defRPr sz="3600">
                <a:solidFill>
                  <a:schemeClr val="lt1"/>
                </a:solidFill>
              </a:defRPr>
            </a:lvl8pPr>
            <a:lvl9pPr lvl="8" rtl="0">
              <a:spcBef>
                <a:spcPts val="0"/>
              </a:spcBef>
              <a:spcAft>
                <a:spcPts val="0"/>
              </a:spcAft>
              <a:buClr>
                <a:schemeClr val="lt1"/>
              </a:buClr>
              <a:buSzPts val="3600"/>
              <a:buNone/>
              <a:defRPr sz="3600">
                <a:solidFill>
                  <a:schemeClr val="lt1"/>
                </a:solidFill>
              </a:defRPr>
            </a:lvl9pPr>
          </a:lstStyle>
          <a:p>
            <a:endParaRPr/>
          </a:p>
        </p:txBody>
      </p:sp>
      <p:sp>
        <p:nvSpPr>
          <p:cNvPr id="321" name="Google Shape;321;p25"/>
          <p:cNvSpPr txBox="1">
            <a:spLocks noGrp="1"/>
          </p:cNvSpPr>
          <p:nvPr>
            <p:ph type="subTitle" idx="6"/>
          </p:nvPr>
        </p:nvSpPr>
        <p:spPr>
          <a:xfrm>
            <a:off x="9685075" y="6809450"/>
            <a:ext cx="3541200" cy="1643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1pPr>
            <a:lvl2pPr lvl="1"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2pPr>
            <a:lvl3pPr lvl="2"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3pPr>
            <a:lvl4pPr lvl="3"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4pPr>
            <a:lvl5pPr lvl="4"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5pPr>
            <a:lvl6pPr lvl="5"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6pPr>
            <a:lvl7pPr lvl="6"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7pPr>
            <a:lvl8pPr lvl="7"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8pPr>
            <a:lvl9pPr lvl="8"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9pPr>
          </a:lstStyle>
          <a:p>
            <a:endParaRPr/>
          </a:p>
        </p:txBody>
      </p:sp>
      <p:sp>
        <p:nvSpPr>
          <p:cNvPr id="322" name="Google Shape;322;p25"/>
          <p:cNvSpPr txBox="1">
            <a:spLocks noGrp="1"/>
          </p:cNvSpPr>
          <p:nvPr>
            <p:ph type="subTitle" idx="7"/>
          </p:nvPr>
        </p:nvSpPr>
        <p:spPr>
          <a:xfrm>
            <a:off x="17018025" y="6809450"/>
            <a:ext cx="3541200" cy="1643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1pPr>
            <a:lvl2pPr lvl="1"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2pPr>
            <a:lvl3pPr lvl="2"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3pPr>
            <a:lvl4pPr lvl="3"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4pPr>
            <a:lvl5pPr lvl="4"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5pPr>
            <a:lvl6pPr lvl="5"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6pPr>
            <a:lvl7pPr lvl="6"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7pPr>
            <a:lvl8pPr lvl="7"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8pPr>
            <a:lvl9pPr lvl="8"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9pPr>
          </a:lstStyle>
          <a:p>
            <a:endParaRPr/>
          </a:p>
        </p:txBody>
      </p:sp>
      <p:pic>
        <p:nvPicPr>
          <p:cNvPr id="323" name="Google Shape;323;p25"/>
          <p:cNvPicPr preferRelativeResize="0"/>
          <p:nvPr/>
        </p:nvPicPr>
        <p:blipFill rotWithShape="1">
          <a:blip r:embed="rId3">
            <a:alphaModFix/>
          </a:blip>
          <a:srcRect t="83846"/>
          <a:stretch/>
        </p:blipFill>
        <p:spPr>
          <a:xfrm>
            <a:off x="-2992950" y="-451525"/>
            <a:ext cx="24377651" cy="1515099"/>
          </a:xfrm>
          <a:prstGeom prst="rect">
            <a:avLst/>
          </a:prstGeom>
          <a:noFill/>
          <a:ln>
            <a:noFill/>
          </a:ln>
        </p:spPr>
      </p:pic>
      <p:pic>
        <p:nvPicPr>
          <p:cNvPr id="324" name="Google Shape;324;p25"/>
          <p:cNvPicPr preferRelativeResize="0"/>
          <p:nvPr/>
        </p:nvPicPr>
        <p:blipFill rotWithShape="1">
          <a:blip r:embed="rId3">
            <a:alphaModFix/>
          </a:blip>
          <a:srcRect b="93557"/>
          <a:stretch/>
        </p:blipFill>
        <p:spPr>
          <a:xfrm>
            <a:off x="0" y="13111675"/>
            <a:ext cx="24377651" cy="604325"/>
          </a:xfrm>
          <a:prstGeom prst="rect">
            <a:avLst/>
          </a:prstGeom>
          <a:noFill/>
          <a:ln>
            <a:noFill/>
          </a:ln>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Closing - Next Steps">
  <p:cSld name="Closing - Next Steps">
    <p:bg>
      <p:bgPr>
        <a:solidFill>
          <a:srgbClr val="002A44"/>
        </a:solidFill>
        <a:effectLst/>
      </p:bgPr>
    </p:bg>
    <p:spTree>
      <p:nvGrpSpPr>
        <p:cNvPr id="1" name="Shape 325"/>
        <p:cNvGrpSpPr/>
        <p:nvPr/>
      </p:nvGrpSpPr>
      <p:grpSpPr>
        <a:xfrm>
          <a:off x="0" y="0"/>
          <a:ext cx="0" cy="0"/>
          <a:chOff x="0" y="0"/>
          <a:chExt cx="0" cy="0"/>
        </a:xfrm>
      </p:grpSpPr>
      <p:pic>
        <p:nvPicPr>
          <p:cNvPr id="326" name="Google Shape;326;p26"/>
          <p:cNvPicPr preferRelativeResize="0"/>
          <p:nvPr/>
        </p:nvPicPr>
        <p:blipFill>
          <a:blip r:embed="rId2">
            <a:alphaModFix/>
          </a:blip>
          <a:stretch>
            <a:fillRect/>
          </a:stretch>
        </p:blipFill>
        <p:spPr>
          <a:xfrm>
            <a:off x="0" y="4105875"/>
            <a:ext cx="24377651" cy="9016349"/>
          </a:xfrm>
          <a:prstGeom prst="rect">
            <a:avLst/>
          </a:prstGeom>
          <a:noFill/>
          <a:ln>
            <a:noFill/>
          </a:ln>
        </p:spPr>
      </p:pic>
      <p:sp>
        <p:nvSpPr>
          <p:cNvPr id="327" name="Google Shape;327;p26"/>
          <p:cNvSpPr txBox="1">
            <a:spLocks noGrp="1"/>
          </p:cNvSpPr>
          <p:nvPr>
            <p:ph type="title"/>
          </p:nvPr>
        </p:nvSpPr>
        <p:spPr>
          <a:xfrm>
            <a:off x="1568000" y="1607775"/>
            <a:ext cx="11431800" cy="26505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7200"/>
              <a:buFont typeface="Montserrat Black"/>
              <a:buNone/>
              <a:defRPr sz="7200">
                <a:solidFill>
                  <a:schemeClr val="lt1"/>
                </a:solidFill>
                <a:latin typeface="Montserrat Black"/>
                <a:ea typeface="Montserrat Black"/>
                <a:cs typeface="Montserrat Black"/>
                <a:sym typeface="Montserrat Black"/>
              </a:defRPr>
            </a:lvl1pPr>
            <a:lvl2pPr lvl="1" rtl="0">
              <a:spcBef>
                <a:spcPts val="0"/>
              </a:spcBef>
              <a:spcAft>
                <a:spcPts val="0"/>
              </a:spcAft>
              <a:buClr>
                <a:schemeClr val="lt1"/>
              </a:buClr>
              <a:buSzPts val="7200"/>
              <a:buNone/>
              <a:defRPr sz="7200">
                <a:solidFill>
                  <a:schemeClr val="lt1"/>
                </a:solidFill>
              </a:defRPr>
            </a:lvl2pPr>
            <a:lvl3pPr lvl="2" rtl="0">
              <a:spcBef>
                <a:spcPts val="0"/>
              </a:spcBef>
              <a:spcAft>
                <a:spcPts val="0"/>
              </a:spcAft>
              <a:buClr>
                <a:schemeClr val="lt1"/>
              </a:buClr>
              <a:buSzPts val="7200"/>
              <a:buNone/>
              <a:defRPr sz="7200">
                <a:solidFill>
                  <a:schemeClr val="lt1"/>
                </a:solidFill>
              </a:defRPr>
            </a:lvl3pPr>
            <a:lvl4pPr lvl="3" rtl="0">
              <a:spcBef>
                <a:spcPts val="0"/>
              </a:spcBef>
              <a:spcAft>
                <a:spcPts val="0"/>
              </a:spcAft>
              <a:buClr>
                <a:schemeClr val="lt1"/>
              </a:buClr>
              <a:buSzPts val="7200"/>
              <a:buNone/>
              <a:defRPr sz="7200">
                <a:solidFill>
                  <a:schemeClr val="lt1"/>
                </a:solidFill>
              </a:defRPr>
            </a:lvl4pPr>
            <a:lvl5pPr lvl="4" rtl="0">
              <a:spcBef>
                <a:spcPts val="0"/>
              </a:spcBef>
              <a:spcAft>
                <a:spcPts val="0"/>
              </a:spcAft>
              <a:buClr>
                <a:schemeClr val="lt1"/>
              </a:buClr>
              <a:buSzPts val="7200"/>
              <a:buNone/>
              <a:defRPr sz="7200">
                <a:solidFill>
                  <a:schemeClr val="lt1"/>
                </a:solidFill>
              </a:defRPr>
            </a:lvl5pPr>
            <a:lvl6pPr lvl="5" rtl="0">
              <a:spcBef>
                <a:spcPts val="0"/>
              </a:spcBef>
              <a:spcAft>
                <a:spcPts val="0"/>
              </a:spcAft>
              <a:buClr>
                <a:schemeClr val="lt1"/>
              </a:buClr>
              <a:buSzPts val="7200"/>
              <a:buNone/>
              <a:defRPr sz="7200">
                <a:solidFill>
                  <a:schemeClr val="lt1"/>
                </a:solidFill>
              </a:defRPr>
            </a:lvl6pPr>
            <a:lvl7pPr lvl="6" rtl="0">
              <a:spcBef>
                <a:spcPts val="0"/>
              </a:spcBef>
              <a:spcAft>
                <a:spcPts val="0"/>
              </a:spcAft>
              <a:buClr>
                <a:schemeClr val="lt1"/>
              </a:buClr>
              <a:buSzPts val="7200"/>
              <a:buNone/>
              <a:defRPr sz="7200">
                <a:solidFill>
                  <a:schemeClr val="lt1"/>
                </a:solidFill>
              </a:defRPr>
            </a:lvl7pPr>
            <a:lvl8pPr lvl="7" rtl="0">
              <a:spcBef>
                <a:spcPts val="0"/>
              </a:spcBef>
              <a:spcAft>
                <a:spcPts val="0"/>
              </a:spcAft>
              <a:buClr>
                <a:schemeClr val="lt1"/>
              </a:buClr>
              <a:buSzPts val="7200"/>
              <a:buNone/>
              <a:defRPr sz="7200">
                <a:solidFill>
                  <a:schemeClr val="lt1"/>
                </a:solidFill>
              </a:defRPr>
            </a:lvl8pPr>
            <a:lvl9pPr lvl="8" rtl="0">
              <a:spcBef>
                <a:spcPts val="0"/>
              </a:spcBef>
              <a:spcAft>
                <a:spcPts val="0"/>
              </a:spcAft>
              <a:buClr>
                <a:schemeClr val="lt1"/>
              </a:buClr>
              <a:buSzPts val="7200"/>
              <a:buNone/>
              <a:defRPr sz="7200">
                <a:solidFill>
                  <a:schemeClr val="lt1"/>
                </a:solidFill>
              </a:defRPr>
            </a:lvl9pPr>
          </a:lstStyle>
          <a:p>
            <a:endParaRPr/>
          </a:p>
        </p:txBody>
      </p:sp>
      <p:sp>
        <p:nvSpPr>
          <p:cNvPr id="328" name="Google Shape;328;p26"/>
          <p:cNvSpPr txBox="1">
            <a:spLocks noGrp="1"/>
          </p:cNvSpPr>
          <p:nvPr>
            <p:ph type="title" idx="2"/>
          </p:nvPr>
        </p:nvSpPr>
        <p:spPr>
          <a:xfrm>
            <a:off x="13144100" y="5538675"/>
            <a:ext cx="3541200" cy="737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3200"/>
              <a:buFont typeface="Montserrat Black"/>
              <a:buNone/>
              <a:defRPr sz="3200">
                <a:solidFill>
                  <a:srgbClr val="002A44"/>
                </a:solidFill>
                <a:latin typeface="Montserrat Black"/>
                <a:ea typeface="Montserrat Black"/>
                <a:cs typeface="Montserrat Black"/>
                <a:sym typeface="Montserrat Black"/>
              </a:defRPr>
            </a:lvl1pPr>
            <a:lvl2pPr lvl="1" rtl="0">
              <a:spcBef>
                <a:spcPts val="0"/>
              </a:spcBef>
              <a:spcAft>
                <a:spcPts val="0"/>
              </a:spcAft>
              <a:buSzPts val="3200"/>
              <a:buNone/>
              <a:defRPr sz="3200"/>
            </a:lvl2pPr>
            <a:lvl3pPr lvl="2" rtl="0">
              <a:spcBef>
                <a:spcPts val="0"/>
              </a:spcBef>
              <a:spcAft>
                <a:spcPts val="0"/>
              </a:spcAft>
              <a:buSzPts val="3200"/>
              <a:buNone/>
              <a:defRPr sz="3200"/>
            </a:lvl3pPr>
            <a:lvl4pPr lvl="3" rtl="0">
              <a:spcBef>
                <a:spcPts val="0"/>
              </a:spcBef>
              <a:spcAft>
                <a:spcPts val="0"/>
              </a:spcAft>
              <a:buSzPts val="3200"/>
              <a:buNone/>
              <a:defRPr sz="3200"/>
            </a:lvl4pPr>
            <a:lvl5pPr lvl="4" rtl="0">
              <a:spcBef>
                <a:spcPts val="0"/>
              </a:spcBef>
              <a:spcAft>
                <a:spcPts val="0"/>
              </a:spcAft>
              <a:buSzPts val="3200"/>
              <a:buNone/>
              <a:defRPr sz="3200"/>
            </a:lvl5pPr>
            <a:lvl6pPr lvl="5" rtl="0">
              <a:spcBef>
                <a:spcPts val="0"/>
              </a:spcBef>
              <a:spcAft>
                <a:spcPts val="0"/>
              </a:spcAft>
              <a:buSzPts val="3200"/>
              <a:buNone/>
              <a:defRPr sz="3200"/>
            </a:lvl6pPr>
            <a:lvl7pPr lvl="6" rtl="0">
              <a:spcBef>
                <a:spcPts val="0"/>
              </a:spcBef>
              <a:spcAft>
                <a:spcPts val="0"/>
              </a:spcAft>
              <a:buSzPts val="3200"/>
              <a:buNone/>
              <a:defRPr sz="3200"/>
            </a:lvl7pPr>
            <a:lvl8pPr lvl="7" rtl="0">
              <a:spcBef>
                <a:spcPts val="0"/>
              </a:spcBef>
              <a:spcAft>
                <a:spcPts val="0"/>
              </a:spcAft>
              <a:buSzPts val="3200"/>
              <a:buNone/>
              <a:defRPr sz="3200"/>
            </a:lvl8pPr>
            <a:lvl9pPr lvl="8" rtl="0">
              <a:spcBef>
                <a:spcPts val="0"/>
              </a:spcBef>
              <a:spcAft>
                <a:spcPts val="0"/>
              </a:spcAft>
              <a:buSzPts val="3200"/>
              <a:buNone/>
              <a:defRPr sz="3200"/>
            </a:lvl9pPr>
          </a:lstStyle>
          <a:p>
            <a:endParaRPr/>
          </a:p>
        </p:txBody>
      </p:sp>
      <p:sp>
        <p:nvSpPr>
          <p:cNvPr id="329" name="Google Shape;329;p26"/>
          <p:cNvSpPr txBox="1">
            <a:spLocks noGrp="1"/>
          </p:cNvSpPr>
          <p:nvPr>
            <p:ph type="subTitle" idx="1"/>
          </p:nvPr>
        </p:nvSpPr>
        <p:spPr>
          <a:xfrm>
            <a:off x="13162975" y="6621975"/>
            <a:ext cx="3541200" cy="1643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2400"/>
              <a:buFont typeface="Open Sans"/>
              <a:buNone/>
              <a:defRPr sz="2400">
                <a:solidFill>
                  <a:srgbClr val="002A44"/>
                </a:solidFill>
                <a:latin typeface="Open Sans"/>
                <a:ea typeface="Open Sans"/>
                <a:cs typeface="Open Sans"/>
                <a:sym typeface="Open Sans"/>
              </a:defRPr>
            </a:lvl1pPr>
            <a:lvl2pPr lvl="1" rtl="0">
              <a:spcBef>
                <a:spcPts val="0"/>
              </a:spcBef>
              <a:spcAft>
                <a:spcPts val="0"/>
              </a:spcAft>
              <a:buSzPts val="2400"/>
              <a:buFont typeface="Open Sans"/>
              <a:buNone/>
              <a:defRPr sz="2400">
                <a:latin typeface="Open Sans"/>
                <a:ea typeface="Open Sans"/>
                <a:cs typeface="Open Sans"/>
                <a:sym typeface="Open Sans"/>
              </a:defRPr>
            </a:lvl2pPr>
            <a:lvl3pPr lvl="2" rtl="0">
              <a:spcBef>
                <a:spcPts val="0"/>
              </a:spcBef>
              <a:spcAft>
                <a:spcPts val="0"/>
              </a:spcAft>
              <a:buSzPts val="2400"/>
              <a:buFont typeface="Open Sans"/>
              <a:buNone/>
              <a:defRPr sz="2400">
                <a:latin typeface="Open Sans"/>
                <a:ea typeface="Open Sans"/>
                <a:cs typeface="Open Sans"/>
                <a:sym typeface="Open Sans"/>
              </a:defRPr>
            </a:lvl3pPr>
            <a:lvl4pPr lvl="3" rtl="0">
              <a:spcBef>
                <a:spcPts val="0"/>
              </a:spcBef>
              <a:spcAft>
                <a:spcPts val="0"/>
              </a:spcAft>
              <a:buSzPts val="2400"/>
              <a:buFont typeface="Open Sans"/>
              <a:buNone/>
              <a:defRPr sz="2400">
                <a:latin typeface="Open Sans"/>
                <a:ea typeface="Open Sans"/>
                <a:cs typeface="Open Sans"/>
                <a:sym typeface="Open Sans"/>
              </a:defRPr>
            </a:lvl4pPr>
            <a:lvl5pPr lvl="4" rtl="0">
              <a:spcBef>
                <a:spcPts val="0"/>
              </a:spcBef>
              <a:spcAft>
                <a:spcPts val="0"/>
              </a:spcAft>
              <a:buSzPts val="2400"/>
              <a:buFont typeface="Open Sans"/>
              <a:buNone/>
              <a:defRPr sz="2400">
                <a:latin typeface="Open Sans"/>
                <a:ea typeface="Open Sans"/>
                <a:cs typeface="Open Sans"/>
                <a:sym typeface="Open Sans"/>
              </a:defRPr>
            </a:lvl5pPr>
            <a:lvl6pPr lvl="5" rtl="0">
              <a:spcBef>
                <a:spcPts val="0"/>
              </a:spcBef>
              <a:spcAft>
                <a:spcPts val="0"/>
              </a:spcAft>
              <a:buSzPts val="2400"/>
              <a:buFont typeface="Open Sans"/>
              <a:buNone/>
              <a:defRPr sz="2400">
                <a:latin typeface="Open Sans"/>
                <a:ea typeface="Open Sans"/>
                <a:cs typeface="Open Sans"/>
                <a:sym typeface="Open Sans"/>
              </a:defRPr>
            </a:lvl6pPr>
            <a:lvl7pPr lvl="6" rtl="0">
              <a:spcBef>
                <a:spcPts val="0"/>
              </a:spcBef>
              <a:spcAft>
                <a:spcPts val="0"/>
              </a:spcAft>
              <a:buSzPts val="2400"/>
              <a:buFont typeface="Open Sans"/>
              <a:buNone/>
              <a:defRPr sz="2400">
                <a:latin typeface="Open Sans"/>
                <a:ea typeface="Open Sans"/>
                <a:cs typeface="Open Sans"/>
                <a:sym typeface="Open Sans"/>
              </a:defRPr>
            </a:lvl7pPr>
            <a:lvl8pPr lvl="7" rtl="0">
              <a:spcBef>
                <a:spcPts val="0"/>
              </a:spcBef>
              <a:spcAft>
                <a:spcPts val="0"/>
              </a:spcAft>
              <a:buSzPts val="2400"/>
              <a:buFont typeface="Open Sans"/>
              <a:buNone/>
              <a:defRPr sz="2400">
                <a:latin typeface="Open Sans"/>
                <a:ea typeface="Open Sans"/>
                <a:cs typeface="Open Sans"/>
                <a:sym typeface="Open Sans"/>
              </a:defRPr>
            </a:lvl8pPr>
            <a:lvl9pPr lvl="8" rtl="0">
              <a:spcBef>
                <a:spcPts val="0"/>
              </a:spcBef>
              <a:spcAft>
                <a:spcPts val="0"/>
              </a:spcAft>
              <a:buSzPts val="2400"/>
              <a:buFont typeface="Open Sans"/>
              <a:buNone/>
              <a:defRPr sz="2400">
                <a:latin typeface="Open Sans"/>
                <a:ea typeface="Open Sans"/>
                <a:cs typeface="Open Sans"/>
                <a:sym typeface="Open Sans"/>
              </a:defRPr>
            </a:lvl9pPr>
          </a:lstStyle>
          <a:p>
            <a:endParaRPr/>
          </a:p>
        </p:txBody>
      </p:sp>
      <p:sp>
        <p:nvSpPr>
          <p:cNvPr id="330" name="Google Shape;330;p26"/>
          <p:cNvSpPr txBox="1">
            <a:spLocks noGrp="1"/>
          </p:cNvSpPr>
          <p:nvPr>
            <p:ph type="title" idx="3"/>
          </p:nvPr>
        </p:nvSpPr>
        <p:spPr>
          <a:xfrm>
            <a:off x="19054675" y="5538675"/>
            <a:ext cx="3541200" cy="737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3200"/>
              <a:buFont typeface="Montserrat Black"/>
              <a:buNone/>
              <a:defRPr sz="3200">
                <a:solidFill>
                  <a:srgbClr val="002A44"/>
                </a:solidFill>
                <a:latin typeface="Montserrat Black"/>
                <a:ea typeface="Montserrat Black"/>
                <a:cs typeface="Montserrat Black"/>
                <a:sym typeface="Montserrat Black"/>
              </a:defRPr>
            </a:lvl1pPr>
            <a:lvl2pPr lvl="1" rtl="0">
              <a:spcBef>
                <a:spcPts val="0"/>
              </a:spcBef>
              <a:spcAft>
                <a:spcPts val="0"/>
              </a:spcAft>
              <a:buSzPts val="3200"/>
              <a:buNone/>
              <a:defRPr sz="3200"/>
            </a:lvl2pPr>
            <a:lvl3pPr lvl="2" rtl="0">
              <a:spcBef>
                <a:spcPts val="0"/>
              </a:spcBef>
              <a:spcAft>
                <a:spcPts val="0"/>
              </a:spcAft>
              <a:buSzPts val="3200"/>
              <a:buNone/>
              <a:defRPr sz="3200"/>
            </a:lvl3pPr>
            <a:lvl4pPr lvl="3" rtl="0">
              <a:spcBef>
                <a:spcPts val="0"/>
              </a:spcBef>
              <a:spcAft>
                <a:spcPts val="0"/>
              </a:spcAft>
              <a:buSzPts val="3200"/>
              <a:buNone/>
              <a:defRPr sz="3200"/>
            </a:lvl4pPr>
            <a:lvl5pPr lvl="4" rtl="0">
              <a:spcBef>
                <a:spcPts val="0"/>
              </a:spcBef>
              <a:spcAft>
                <a:spcPts val="0"/>
              </a:spcAft>
              <a:buSzPts val="3200"/>
              <a:buNone/>
              <a:defRPr sz="3200"/>
            </a:lvl5pPr>
            <a:lvl6pPr lvl="5" rtl="0">
              <a:spcBef>
                <a:spcPts val="0"/>
              </a:spcBef>
              <a:spcAft>
                <a:spcPts val="0"/>
              </a:spcAft>
              <a:buSzPts val="3200"/>
              <a:buNone/>
              <a:defRPr sz="3200"/>
            </a:lvl6pPr>
            <a:lvl7pPr lvl="6" rtl="0">
              <a:spcBef>
                <a:spcPts val="0"/>
              </a:spcBef>
              <a:spcAft>
                <a:spcPts val="0"/>
              </a:spcAft>
              <a:buSzPts val="3200"/>
              <a:buNone/>
              <a:defRPr sz="3200"/>
            </a:lvl7pPr>
            <a:lvl8pPr lvl="7" rtl="0">
              <a:spcBef>
                <a:spcPts val="0"/>
              </a:spcBef>
              <a:spcAft>
                <a:spcPts val="0"/>
              </a:spcAft>
              <a:buSzPts val="3200"/>
              <a:buNone/>
              <a:defRPr sz="3200"/>
            </a:lvl8pPr>
            <a:lvl9pPr lvl="8" rtl="0">
              <a:spcBef>
                <a:spcPts val="0"/>
              </a:spcBef>
              <a:spcAft>
                <a:spcPts val="0"/>
              </a:spcAft>
              <a:buSzPts val="3200"/>
              <a:buNone/>
              <a:defRPr sz="3200"/>
            </a:lvl9pPr>
          </a:lstStyle>
          <a:p>
            <a:endParaRPr/>
          </a:p>
        </p:txBody>
      </p:sp>
      <p:sp>
        <p:nvSpPr>
          <p:cNvPr id="331" name="Google Shape;331;p26"/>
          <p:cNvSpPr txBox="1">
            <a:spLocks noGrp="1"/>
          </p:cNvSpPr>
          <p:nvPr>
            <p:ph type="subTitle" idx="4"/>
          </p:nvPr>
        </p:nvSpPr>
        <p:spPr>
          <a:xfrm>
            <a:off x="19171350" y="6621975"/>
            <a:ext cx="3541200" cy="1643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2400"/>
              <a:buFont typeface="Open Sans"/>
              <a:buNone/>
              <a:defRPr sz="2400">
                <a:solidFill>
                  <a:srgbClr val="002A44"/>
                </a:solidFill>
                <a:latin typeface="Open Sans"/>
                <a:ea typeface="Open Sans"/>
                <a:cs typeface="Open Sans"/>
                <a:sym typeface="Open Sans"/>
              </a:defRPr>
            </a:lvl1pPr>
            <a:lvl2pPr lvl="1" rtl="0">
              <a:spcBef>
                <a:spcPts val="0"/>
              </a:spcBef>
              <a:spcAft>
                <a:spcPts val="0"/>
              </a:spcAft>
              <a:buSzPts val="2400"/>
              <a:buFont typeface="Open Sans"/>
              <a:buNone/>
              <a:defRPr sz="2400">
                <a:latin typeface="Open Sans"/>
                <a:ea typeface="Open Sans"/>
                <a:cs typeface="Open Sans"/>
                <a:sym typeface="Open Sans"/>
              </a:defRPr>
            </a:lvl2pPr>
            <a:lvl3pPr lvl="2" rtl="0">
              <a:spcBef>
                <a:spcPts val="0"/>
              </a:spcBef>
              <a:spcAft>
                <a:spcPts val="0"/>
              </a:spcAft>
              <a:buSzPts val="2400"/>
              <a:buFont typeface="Open Sans"/>
              <a:buNone/>
              <a:defRPr sz="2400">
                <a:latin typeface="Open Sans"/>
                <a:ea typeface="Open Sans"/>
                <a:cs typeface="Open Sans"/>
                <a:sym typeface="Open Sans"/>
              </a:defRPr>
            </a:lvl3pPr>
            <a:lvl4pPr lvl="3" rtl="0">
              <a:spcBef>
                <a:spcPts val="0"/>
              </a:spcBef>
              <a:spcAft>
                <a:spcPts val="0"/>
              </a:spcAft>
              <a:buSzPts val="2400"/>
              <a:buFont typeface="Open Sans"/>
              <a:buNone/>
              <a:defRPr sz="2400">
                <a:latin typeface="Open Sans"/>
                <a:ea typeface="Open Sans"/>
                <a:cs typeface="Open Sans"/>
                <a:sym typeface="Open Sans"/>
              </a:defRPr>
            </a:lvl4pPr>
            <a:lvl5pPr lvl="4" rtl="0">
              <a:spcBef>
                <a:spcPts val="0"/>
              </a:spcBef>
              <a:spcAft>
                <a:spcPts val="0"/>
              </a:spcAft>
              <a:buSzPts val="2400"/>
              <a:buFont typeface="Open Sans"/>
              <a:buNone/>
              <a:defRPr sz="2400">
                <a:latin typeface="Open Sans"/>
                <a:ea typeface="Open Sans"/>
                <a:cs typeface="Open Sans"/>
                <a:sym typeface="Open Sans"/>
              </a:defRPr>
            </a:lvl5pPr>
            <a:lvl6pPr lvl="5" rtl="0">
              <a:spcBef>
                <a:spcPts val="0"/>
              </a:spcBef>
              <a:spcAft>
                <a:spcPts val="0"/>
              </a:spcAft>
              <a:buSzPts val="2400"/>
              <a:buFont typeface="Open Sans"/>
              <a:buNone/>
              <a:defRPr sz="2400">
                <a:latin typeface="Open Sans"/>
                <a:ea typeface="Open Sans"/>
                <a:cs typeface="Open Sans"/>
                <a:sym typeface="Open Sans"/>
              </a:defRPr>
            </a:lvl6pPr>
            <a:lvl7pPr lvl="6" rtl="0">
              <a:spcBef>
                <a:spcPts val="0"/>
              </a:spcBef>
              <a:spcAft>
                <a:spcPts val="0"/>
              </a:spcAft>
              <a:buSzPts val="2400"/>
              <a:buFont typeface="Open Sans"/>
              <a:buNone/>
              <a:defRPr sz="2400">
                <a:latin typeface="Open Sans"/>
                <a:ea typeface="Open Sans"/>
                <a:cs typeface="Open Sans"/>
                <a:sym typeface="Open Sans"/>
              </a:defRPr>
            </a:lvl7pPr>
            <a:lvl8pPr lvl="7" rtl="0">
              <a:spcBef>
                <a:spcPts val="0"/>
              </a:spcBef>
              <a:spcAft>
                <a:spcPts val="0"/>
              </a:spcAft>
              <a:buSzPts val="2400"/>
              <a:buFont typeface="Open Sans"/>
              <a:buNone/>
              <a:defRPr sz="2400">
                <a:latin typeface="Open Sans"/>
                <a:ea typeface="Open Sans"/>
                <a:cs typeface="Open Sans"/>
                <a:sym typeface="Open Sans"/>
              </a:defRPr>
            </a:lvl8pPr>
            <a:lvl9pPr lvl="8" rtl="0">
              <a:spcBef>
                <a:spcPts val="0"/>
              </a:spcBef>
              <a:spcAft>
                <a:spcPts val="0"/>
              </a:spcAft>
              <a:buSzPts val="2400"/>
              <a:buFont typeface="Open Sans"/>
              <a:buNone/>
              <a:defRPr sz="2400">
                <a:latin typeface="Open Sans"/>
                <a:ea typeface="Open Sans"/>
                <a:cs typeface="Open Sans"/>
                <a:sym typeface="Open Sans"/>
              </a:defRPr>
            </a:lvl9pPr>
          </a:lstStyle>
          <a:p>
            <a:endParaRPr/>
          </a:p>
        </p:txBody>
      </p:sp>
      <p:sp>
        <p:nvSpPr>
          <p:cNvPr id="332" name="Google Shape;332;p26"/>
          <p:cNvSpPr txBox="1">
            <a:spLocks noGrp="1"/>
          </p:cNvSpPr>
          <p:nvPr>
            <p:ph type="title" idx="5"/>
          </p:nvPr>
        </p:nvSpPr>
        <p:spPr>
          <a:xfrm>
            <a:off x="7224924" y="5538675"/>
            <a:ext cx="3560100" cy="737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3200"/>
              <a:buFont typeface="Montserrat Black"/>
              <a:buNone/>
              <a:defRPr sz="3200">
                <a:solidFill>
                  <a:srgbClr val="002A44"/>
                </a:solidFill>
                <a:latin typeface="Montserrat Black"/>
                <a:ea typeface="Montserrat Black"/>
                <a:cs typeface="Montserrat Black"/>
                <a:sym typeface="Montserrat Black"/>
              </a:defRPr>
            </a:lvl1pPr>
            <a:lvl2pPr lvl="1" rtl="0">
              <a:spcBef>
                <a:spcPts val="0"/>
              </a:spcBef>
              <a:spcAft>
                <a:spcPts val="0"/>
              </a:spcAft>
              <a:buSzPts val="3200"/>
              <a:buNone/>
              <a:defRPr sz="3200"/>
            </a:lvl2pPr>
            <a:lvl3pPr lvl="2" rtl="0">
              <a:spcBef>
                <a:spcPts val="0"/>
              </a:spcBef>
              <a:spcAft>
                <a:spcPts val="0"/>
              </a:spcAft>
              <a:buSzPts val="3200"/>
              <a:buNone/>
              <a:defRPr sz="3200"/>
            </a:lvl3pPr>
            <a:lvl4pPr lvl="3" rtl="0">
              <a:spcBef>
                <a:spcPts val="0"/>
              </a:spcBef>
              <a:spcAft>
                <a:spcPts val="0"/>
              </a:spcAft>
              <a:buSzPts val="3200"/>
              <a:buNone/>
              <a:defRPr sz="3200"/>
            </a:lvl4pPr>
            <a:lvl5pPr lvl="4" rtl="0">
              <a:spcBef>
                <a:spcPts val="0"/>
              </a:spcBef>
              <a:spcAft>
                <a:spcPts val="0"/>
              </a:spcAft>
              <a:buSzPts val="3200"/>
              <a:buNone/>
              <a:defRPr sz="3200"/>
            </a:lvl5pPr>
            <a:lvl6pPr lvl="5" rtl="0">
              <a:spcBef>
                <a:spcPts val="0"/>
              </a:spcBef>
              <a:spcAft>
                <a:spcPts val="0"/>
              </a:spcAft>
              <a:buSzPts val="3200"/>
              <a:buNone/>
              <a:defRPr sz="3200"/>
            </a:lvl6pPr>
            <a:lvl7pPr lvl="6" rtl="0">
              <a:spcBef>
                <a:spcPts val="0"/>
              </a:spcBef>
              <a:spcAft>
                <a:spcPts val="0"/>
              </a:spcAft>
              <a:buSzPts val="3200"/>
              <a:buNone/>
              <a:defRPr sz="3200"/>
            </a:lvl7pPr>
            <a:lvl8pPr lvl="7" rtl="0">
              <a:spcBef>
                <a:spcPts val="0"/>
              </a:spcBef>
              <a:spcAft>
                <a:spcPts val="0"/>
              </a:spcAft>
              <a:buSzPts val="3200"/>
              <a:buNone/>
              <a:defRPr sz="3200"/>
            </a:lvl8pPr>
            <a:lvl9pPr lvl="8" rtl="0">
              <a:spcBef>
                <a:spcPts val="0"/>
              </a:spcBef>
              <a:spcAft>
                <a:spcPts val="0"/>
              </a:spcAft>
              <a:buSzPts val="3200"/>
              <a:buNone/>
              <a:defRPr sz="3200"/>
            </a:lvl9pPr>
          </a:lstStyle>
          <a:p>
            <a:endParaRPr/>
          </a:p>
        </p:txBody>
      </p:sp>
      <p:sp>
        <p:nvSpPr>
          <p:cNvPr id="333" name="Google Shape;333;p26"/>
          <p:cNvSpPr txBox="1">
            <a:spLocks noGrp="1"/>
          </p:cNvSpPr>
          <p:nvPr>
            <p:ph type="subTitle" idx="6"/>
          </p:nvPr>
        </p:nvSpPr>
        <p:spPr>
          <a:xfrm>
            <a:off x="7243788" y="6621975"/>
            <a:ext cx="3541200" cy="1643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2400"/>
              <a:buFont typeface="Open Sans"/>
              <a:buNone/>
              <a:defRPr sz="2400">
                <a:solidFill>
                  <a:srgbClr val="002A44"/>
                </a:solidFill>
                <a:latin typeface="Open Sans"/>
                <a:ea typeface="Open Sans"/>
                <a:cs typeface="Open Sans"/>
                <a:sym typeface="Open Sans"/>
              </a:defRPr>
            </a:lvl1pPr>
            <a:lvl2pPr lvl="1" rtl="0">
              <a:spcBef>
                <a:spcPts val="0"/>
              </a:spcBef>
              <a:spcAft>
                <a:spcPts val="0"/>
              </a:spcAft>
              <a:buSzPts val="2400"/>
              <a:buFont typeface="Open Sans"/>
              <a:buNone/>
              <a:defRPr sz="2400">
                <a:latin typeface="Open Sans"/>
                <a:ea typeface="Open Sans"/>
                <a:cs typeface="Open Sans"/>
                <a:sym typeface="Open Sans"/>
              </a:defRPr>
            </a:lvl2pPr>
            <a:lvl3pPr lvl="2" rtl="0">
              <a:spcBef>
                <a:spcPts val="0"/>
              </a:spcBef>
              <a:spcAft>
                <a:spcPts val="0"/>
              </a:spcAft>
              <a:buSzPts val="2400"/>
              <a:buFont typeface="Open Sans"/>
              <a:buNone/>
              <a:defRPr sz="2400">
                <a:latin typeface="Open Sans"/>
                <a:ea typeface="Open Sans"/>
                <a:cs typeface="Open Sans"/>
                <a:sym typeface="Open Sans"/>
              </a:defRPr>
            </a:lvl3pPr>
            <a:lvl4pPr lvl="3" rtl="0">
              <a:spcBef>
                <a:spcPts val="0"/>
              </a:spcBef>
              <a:spcAft>
                <a:spcPts val="0"/>
              </a:spcAft>
              <a:buSzPts val="2400"/>
              <a:buFont typeface="Open Sans"/>
              <a:buNone/>
              <a:defRPr sz="2400">
                <a:latin typeface="Open Sans"/>
                <a:ea typeface="Open Sans"/>
                <a:cs typeface="Open Sans"/>
                <a:sym typeface="Open Sans"/>
              </a:defRPr>
            </a:lvl4pPr>
            <a:lvl5pPr lvl="4" rtl="0">
              <a:spcBef>
                <a:spcPts val="0"/>
              </a:spcBef>
              <a:spcAft>
                <a:spcPts val="0"/>
              </a:spcAft>
              <a:buSzPts val="2400"/>
              <a:buFont typeface="Open Sans"/>
              <a:buNone/>
              <a:defRPr sz="2400">
                <a:latin typeface="Open Sans"/>
                <a:ea typeface="Open Sans"/>
                <a:cs typeface="Open Sans"/>
                <a:sym typeface="Open Sans"/>
              </a:defRPr>
            </a:lvl5pPr>
            <a:lvl6pPr lvl="5" rtl="0">
              <a:spcBef>
                <a:spcPts val="0"/>
              </a:spcBef>
              <a:spcAft>
                <a:spcPts val="0"/>
              </a:spcAft>
              <a:buSzPts val="2400"/>
              <a:buFont typeface="Open Sans"/>
              <a:buNone/>
              <a:defRPr sz="2400">
                <a:latin typeface="Open Sans"/>
                <a:ea typeface="Open Sans"/>
                <a:cs typeface="Open Sans"/>
                <a:sym typeface="Open Sans"/>
              </a:defRPr>
            </a:lvl6pPr>
            <a:lvl7pPr lvl="6" rtl="0">
              <a:spcBef>
                <a:spcPts val="0"/>
              </a:spcBef>
              <a:spcAft>
                <a:spcPts val="0"/>
              </a:spcAft>
              <a:buSzPts val="2400"/>
              <a:buFont typeface="Open Sans"/>
              <a:buNone/>
              <a:defRPr sz="2400">
                <a:latin typeface="Open Sans"/>
                <a:ea typeface="Open Sans"/>
                <a:cs typeface="Open Sans"/>
                <a:sym typeface="Open Sans"/>
              </a:defRPr>
            </a:lvl7pPr>
            <a:lvl8pPr lvl="7" rtl="0">
              <a:spcBef>
                <a:spcPts val="0"/>
              </a:spcBef>
              <a:spcAft>
                <a:spcPts val="0"/>
              </a:spcAft>
              <a:buSzPts val="2400"/>
              <a:buFont typeface="Open Sans"/>
              <a:buNone/>
              <a:defRPr sz="2400">
                <a:latin typeface="Open Sans"/>
                <a:ea typeface="Open Sans"/>
                <a:cs typeface="Open Sans"/>
                <a:sym typeface="Open Sans"/>
              </a:defRPr>
            </a:lvl8pPr>
            <a:lvl9pPr lvl="8" rtl="0">
              <a:spcBef>
                <a:spcPts val="0"/>
              </a:spcBef>
              <a:spcAft>
                <a:spcPts val="0"/>
              </a:spcAft>
              <a:buSzPts val="2400"/>
              <a:buFont typeface="Open Sans"/>
              <a:buNone/>
              <a:defRPr sz="2400">
                <a:latin typeface="Open Sans"/>
                <a:ea typeface="Open Sans"/>
                <a:cs typeface="Open Sans"/>
                <a:sym typeface="Open Sans"/>
              </a:defRPr>
            </a:lvl9pPr>
          </a:lstStyle>
          <a:p>
            <a:endParaRPr/>
          </a:p>
        </p:txBody>
      </p:sp>
      <p:sp>
        <p:nvSpPr>
          <p:cNvPr id="334" name="Google Shape;334;p26"/>
          <p:cNvSpPr txBox="1">
            <a:spLocks noGrp="1"/>
          </p:cNvSpPr>
          <p:nvPr>
            <p:ph type="title" idx="7"/>
          </p:nvPr>
        </p:nvSpPr>
        <p:spPr>
          <a:xfrm>
            <a:off x="6175319" y="5283750"/>
            <a:ext cx="1002900" cy="26505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9600"/>
              <a:buFont typeface="Montserrat Black"/>
              <a:buNone/>
              <a:defRPr sz="9600">
                <a:solidFill>
                  <a:srgbClr val="002A44"/>
                </a:solidFill>
                <a:latin typeface="Montserrat Black"/>
                <a:ea typeface="Montserrat Black"/>
                <a:cs typeface="Montserrat Black"/>
                <a:sym typeface="Montserrat Black"/>
              </a:defRPr>
            </a:lvl1pPr>
            <a:lvl2pPr lvl="1" rtl="0">
              <a:spcBef>
                <a:spcPts val="0"/>
              </a:spcBef>
              <a:spcAft>
                <a:spcPts val="0"/>
              </a:spcAft>
              <a:buSzPts val="9600"/>
              <a:buNone/>
              <a:defRPr sz="9600"/>
            </a:lvl2pPr>
            <a:lvl3pPr lvl="2" rtl="0">
              <a:spcBef>
                <a:spcPts val="0"/>
              </a:spcBef>
              <a:spcAft>
                <a:spcPts val="0"/>
              </a:spcAft>
              <a:buSzPts val="9600"/>
              <a:buNone/>
              <a:defRPr sz="9600"/>
            </a:lvl3pPr>
            <a:lvl4pPr lvl="3" rtl="0">
              <a:spcBef>
                <a:spcPts val="0"/>
              </a:spcBef>
              <a:spcAft>
                <a:spcPts val="0"/>
              </a:spcAft>
              <a:buSzPts val="9600"/>
              <a:buNone/>
              <a:defRPr sz="9600"/>
            </a:lvl4pPr>
            <a:lvl5pPr lvl="4" rtl="0">
              <a:spcBef>
                <a:spcPts val="0"/>
              </a:spcBef>
              <a:spcAft>
                <a:spcPts val="0"/>
              </a:spcAft>
              <a:buSzPts val="9600"/>
              <a:buNone/>
              <a:defRPr sz="9600"/>
            </a:lvl5pPr>
            <a:lvl6pPr lvl="5" rtl="0">
              <a:spcBef>
                <a:spcPts val="0"/>
              </a:spcBef>
              <a:spcAft>
                <a:spcPts val="0"/>
              </a:spcAft>
              <a:buSzPts val="9600"/>
              <a:buNone/>
              <a:defRPr sz="9600"/>
            </a:lvl6pPr>
            <a:lvl7pPr lvl="6" rtl="0">
              <a:spcBef>
                <a:spcPts val="0"/>
              </a:spcBef>
              <a:spcAft>
                <a:spcPts val="0"/>
              </a:spcAft>
              <a:buSzPts val="9600"/>
              <a:buNone/>
              <a:defRPr sz="9600"/>
            </a:lvl7pPr>
            <a:lvl8pPr lvl="7" rtl="0">
              <a:spcBef>
                <a:spcPts val="0"/>
              </a:spcBef>
              <a:spcAft>
                <a:spcPts val="0"/>
              </a:spcAft>
              <a:buSzPts val="9600"/>
              <a:buNone/>
              <a:defRPr sz="9600"/>
            </a:lvl8pPr>
            <a:lvl9pPr lvl="8" rtl="0">
              <a:spcBef>
                <a:spcPts val="0"/>
              </a:spcBef>
              <a:spcAft>
                <a:spcPts val="0"/>
              </a:spcAft>
              <a:buSzPts val="9600"/>
              <a:buNone/>
              <a:defRPr sz="9600"/>
            </a:lvl9pPr>
          </a:lstStyle>
          <a:p>
            <a:endParaRPr/>
          </a:p>
        </p:txBody>
      </p:sp>
      <p:sp>
        <p:nvSpPr>
          <p:cNvPr id="335" name="Google Shape;335;p26"/>
          <p:cNvSpPr txBox="1">
            <a:spLocks noGrp="1"/>
          </p:cNvSpPr>
          <p:nvPr>
            <p:ph type="title" idx="8"/>
          </p:nvPr>
        </p:nvSpPr>
        <p:spPr>
          <a:xfrm>
            <a:off x="1567997" y="5538675"/>
            <a:ext cx="3049800" cy="737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4800"/>
              <a:buFont typeface="Montserrat Black"/>
              <a:buNone/>
              <a:defRPr sz="4800">
                <a:solidFill>
                  <a:srgbClr val="002A44"/>
                </a:solidFill>
                <a:latin typeface="Montserrat Black"/>
                <a:ea typeface="Montserrat Black"/>
                <a:cs typeface="Montserrat Black"/>
                <a:sym typeface="Montserrat Black"/>
              </a:defRPr>
            </a:lvl1pPr>
            <a:lvl2pPr lvl="1" rtl="0">
              <a:spcBef>
                <a:spcPts val="0"/>
              </a:spcBef>
              <a:spcAft>
                <a:spcPts val="0"/>
              </a:spcAft>
              <a:buSzPts val="3600"/>
              <a:buNone/>
              <a:defRPr sz="3600"/>
            </a:lvl2pPr>
            <a:lvl3pPr lvl="2" rtl="0">
              <a:spcBef>
                <a:spcPts val="0"/>
              </a:spcBef>
              <a:spcAft>
                <a:spcPts val="0"/>
              </a:spcAft>
              <a:buSzPts val="3600"/>
              <a:buNone/>
              <a:defRPr sz="3600"/>
            </a:lvl3pPr>
            <a:lvl4pPr lvl="3" rtl="0">
              <a:spcBef>
                <a:spcPts val="0"/>
              </a:spcBef>
              <a:spcAft>
                <a:spcPts val="0"/>
              </a:spcAft>
              <a:buSzPts val="3600"/>
              <a:buNone/>
              <a:defRPr sz="3600"/>
            </a:lvl4pPr>
            <a:lvl5pPr lvl="4" rtl="0">
              <a:spcBef>
                <a:spcPts val="0"/>
              </a:spcBef>
              <a:spcAft>
                <a:spcPts val="0"/>
              </a:spcAft>
              <a:buSzPts val="3600"/>
              <a:buNone/>
              <a:defRPr sz="3600"/>
            </a:lvl5pPr>
            <a:lvl6pPr lvl="5" rtl="0">
              <a:spcBef>
                <a:spcPts val="0"/>
              </a:spcBef>
              <a:spcAft>
                <a:spcPts val="0"/>
              </a:spcAft>
              <a:buSzPts val="3600"/>
              <a:buNone/>
              <a:defRPr sz="3600"/>
            </a:lvl6pPr>
            <a:lvl7pPr lvl="6" rtl="0">
              <a:spcBef>
                <a:spcPts val="0"/>
              </a:spcBef>
              <a:spcAft>
                <a:spcPts val="0"/>
              </a:spcAft>
              <a:buSzPts val="3600"/>
              <a:buNone/>
              <a:defRPr sz="3600"/>
            </a:lvl7pPr>
            <a:lvl8pPr lvl="7" rtl="0">
              <a:spcBef>
                <a:spcPts val="0"/>
              </a:spcBef>
              <a:spcAft>
                <a:spcPts val="0"/>
              </a:spcAft>
              <a:buSzPts val="3600"/>
              <a:buNone/>
              <a:defRPr sz="3600"/>
            </a:lvl8pPr>
            <a:lvl9pPr lvl="8" rtl="0">
              <a:spcBef>
                <a:spcPts val="0"/>
              </a:spcBef>
              <a:spcAft>
                <a:spcPts val="0"/>
              </a:spcAft>
              <a:buSzPts val="3600"/>
              <a:buNone/>
              <a:defRPr sz="3600"/>
            </a:lvl9pPr>
          </a:lstStyle>
          <a:p>
            <a:endParaRPr/>
          </a:p>
        </p:txBody>
      </p:sp>
      <p:sp>
        <p:nvSpPr>
          <p:cNvPr id="336" name="Google Shape;336;p26"/>
          <p:cNvSpPr/>
          <p:nvPr/>
        </p:nvSpPr>
        <p:spPr>
          <a:xfrm>
            <a:off x="20438151" y="711675"/>
            <a:ext cx="3072638" cy="1745259"/>
          </a:xfrm>
          <a:custGeom>
            <a:avLst/>
            <a:gdLst/>
            <a:ahLst/>
            <a:cxnLst/>
            <a:rect l="l" t="t" r="r" b="b"/>
            <a:pathLst>
              <a:path w="3864954" h="2195294" extrusionOk="0">
                <a:moveTo>
                  <a:pt x="0" y="0"/>
                </a:moveTo>
                <a:lnTo>
                  <a:pt x="3864953" y="0"/>
                </a:lnTo>
                <a:lnTo>
                  <a:pt x="3864953" y="2195294"/>
                </a:lnTo>
                <a:lnTo>
                  <a:pt x="0" y="2195294"/>
                </a:lnTo>
                <a:lnTo>
                  <a:pt x="0" y="0"/>
                </a:lnTo>
                <a:close/>
              </a:path>
            </a:pathLst>
          </a:custGeom>
          <a:blipFill rotWithShape="1">
            <a:blip r:embed="rId3">
              <a:alphaModFix/>
            </a:blip>
            <a:stretch>
              <a:fillRect/>
            </a:stretch>
          </a:blipFill>
          <a:ln>
            <a:noFill/>
          </a:ln>
        </p:spPr>
      </p:sp>
      <p:sp>
        <p:nvSpPr>
          <p:cNvPr id="337" name="Google Shape;337;p26"/>
          <p:cNvSpPr txBox="1">
            <a:spLocks noGrp="1"/>
          </p:cNvSpPr>
          <p:nvPr>
            <p:ph type="subTitle" idx="9"/>
          </p:nvPr>
        </p:nvSpPr>
        <p:spPr>
          <a:xfrm>
            <a:off x="11894800" y="12235450"/>
            <a:ext cx="11616000" cy="1240500"/>
          </a:xfrm>
          <a:prstGeom prst="rect">
            <a:avLst/>
          </a:prstGeom>
          <a:noFill/>
          <a:ln>
            <a:noFill/>
          </a:ln>
        </p:spPr>
        <p:txBody>
          <a:bodyPr spcFirstLastPara="1" wrap="square" lIns="91425" tIns="91425" rIns="91425" bIns="91425" anchor="ctr" anchorCtr="0">
            <a:noAutofit/>
          </a:bodyPr>
          <a:lstStyle>
            <a:lvl1pPr lvl="0" algn="r" rtl="0">
              <a:spcBef>
                <a:spcPts val="0"/>
              </a:spcBef>
              <a:spcAft>
                <a:spcPts val="0"/>
              </a:spcAft>
              <a:buClr>
                <a:srgbClr val="C1F400"/>
              </a:buClr>
              <a:buSzPts val="2400"/>
              <a:buFont typeface="Montserrat SemiBold"/>
              <a:buNone/>
              <a:defRPr sz="2400">
                <a:solidFill>
                  <a:srgbClr val="C1F400"/>
                </a:solidFill>
                <a:latin typeface="Montserrat SemiBold"/>
                <a:ea typeface="Montserrat SemiBold"/>
                <a:cs typeface="Montserrat SemiBold"/>
                <a:sym typeface="Montserrat SemiBold"/>
              </a:defRPr>
            </a:lvl1pPr>
            <a:lvl2pPr lvl="1" rtl="0">
              <a:spcBef>
                <a:spcPts val="0"/>
              </a:spcBef>
              <a:spcAft>
                <a:spcPts val="0"/>
              </a:spcAft>
              <a:buClr>
                <a:srgbClr val="C1F400"/>
              </a:buClr>
              <a:buSzPts val="1400"/>
              <a:buFont typeface="Montserrat SemiBold"/>
              <a:buNone/>
              <a:defRPr>
                <a:solidFill>
                  <a:srgbClr val="C1F400"/>
                </a:solidFill>
                <a:latin typeface="Montserrat SemiBold"/>
                <a:ea typeface="Montserrat SemiBold"/>
                <a:cs typeface="Montserrat SemiBold"/>
                <a:sym typeface="Montserrat SemiBold"/>
              </a:defRPr>
            </a:lvl2pPr>
            <a:lvl3pPr lvl="2" rtl="0">
              <a:spcBef>
                <a:spcPts val="0"/>
              </a:spcBef>
              <a:spcAft>
                <a:spcPts val="0"/>
              </a:spcAft>
              <a:buClr>
                <a:srgbClr val="C1F400"/>
              </a:buClr>
              <a:buSzPts val="1400"/>
              <a:buFont typeface="Montserrat SemiBold"/>
              <a:buNone/>
              <a:defRPr>
                <a:solidFill>
                  <a:srgbClr val="C1F400"/>
                </a:solidFill>
                <a:latin typeface="Montserrat SemiBold"/>
                <a:ea typeface="Montserrat SemiBold"/>
                <a:cs typeface="Montserrat SemiBold"/>
                <a:sym typeface="Montserrat SemiBold"/>
              </a:defRPr>
            </a:lvl3pPr>
            <a:lvl4pPr lvl="3" rtl="0">
              <a:spcBef>
                <a:spcPts val="0"/>
              </a:spcBef>
              <a:spcAft>
                <a:spcPts val="0"/>
              </a:spcAft>
              <a:buClr>
                <a:srgbClr val="C1F400"/>
              </a:buClr>
              <a:buSzPts val="1400"/>
              <a:buFont typeface="Montserrat SemiBold"/>
              <a:buNone/>
              <a:defRPr>
                <a:solidFill>
                  <a:srgbClr val="C1F400"/>
                </a:solidFill>
                <a:latin typeface="Montserrat SemiBold"/>
                <a:ea typeface="Montserrat SemiBold"/>
                <a:cs typeface="Montserrat SemiBold"/>
                <a:sym typeface="Montserrat SemiBold"/>
              </a:defRPr>
            </a:lvl4pPr>
            <a:lvl5pPr lvl="4" rtl="0">
              <a:spcBef>
                <a:spcPts val="0"/>
              </a:spcBef>
              <a:spcAft>
                <a:spcPts val="0"/>
              </a:spcAft>
              <a:buClr>
                <a:srgbClr val="C1F400"/>
              </a:buClr>
              <a:buSzPts val="1400"/>
              <a:buFont typeface="Montserrat SemiBold"/>
              <a:buNone/>
              <a:defRPr>
                <a:solidFill>
                  <a:srgbClr val="C1F400"/>
                </a:solidFill>
                <a:latin typeface="Montserrat SemiBold"/>
                <a:ea typeface="Montserrat SemiBold"/>
                <a:cs typeface="Montserrat SemiBold"/>
                <a:sym typeface="Montserrat SemiBold"/>
              </a:defRPr>
            </a:lvl5pPr>
            <a:lvl6pPr lvl="5" rtl="0">
              <a:spcBef>
                <a:spcPts val="0"/>
              </a:spcBef>
              <a:spcAft>
                <a:spcPts val="0"/>
              </a:spcAft>
              <a:buClr>
                <a:srgbClr val="C1F400"/>
              </a:buClr>
              <a:buSzPts val="1400"/>
              <a:buFont typeface="Montserrat SemiBold"/>
              <a:buNone/>
              <a:defRPr>
                <a:solidFill>
                  <a:srgbClr val="C1F400"/>
                </a:solidFill>
                <a:latin typeface="Montserrat SemiBold"/>
                <a:ea typeface="Montserrat SemiBold"/>
                <a:cs typeface="Montserrat SemiBold"/>
                <a:sym typeface="Montserrat SemiBold"/>
              </a:defRPr>
            </a:lvl6pPr>
            <a:lvl7pPr lvl="6" rtl="0">
              <a:spcBef>
                <a:spcPts val="0"/>
              </a:spcBef>
              <a:spcAft>
                <a:spcPts val="0"/>
              </a:spcAft>
              <a:buClr>
                <a:srgbClr val="C1F400"/>
              </a:buClr>
              <a:buSzPts val="1400"/>
              <a:buFont typeface="Montserrat SemiBold"/>
              <a:buNone/>
              <a:defRPr>
                <a:solidFill>
                  <a:srgbClr val="C1F400"/>
                </a:solidFill>
                <a:latin typeface="Montserrat SemiBold"/>
                <a:ea typeface="Montserrat SemiBold"/>
                <a:cs typeface="Montserrat SemiBold"/>
                <a:sym typeface="Montserrat SemiBold"/>
              </a:defRPr>
            </a:lvl7pPr>
            <a:lvl8pPr lvl="7" rtl="0">
              <a:spcBef>
                <a:spcPts val="0"/>
              </a:spcBef>
              <a:spcAft>
                <a:spcPts val="0"/>
              </a:spcAft>
              <a:buClr>
                <a:srgbClr val="C1F400"/>
              </a:buClr>
              <a:buSzPts val="1400"/>
              <a:buFont typeface="Montserrat SemiBold"/>
              <a:buNone/>
              <a:defRPr>
                <a:solidFill>
                  <a:srgbClr val="C1F400"/>
                </a:solidFill>
                <a:latin typeface="Montserrat SemiBold"/>
                <a:ea typeface="Montserrat SemiBold"/>
                <a:cs typeface="Montserrat SemiBold"/>
                <a:sym typeface="Montserrat SemiBold"/>
              </a:defRPr>
            </a:lvl8pPr>
            <a:lvl9pPr lvl="8" rtl="0">
              <a:spcBef>
                <a:spcPts val="0"/>
              </a:spcBef>
              <a:spcAft>
                <a:spcPts val="0"/>
              </a:spcAft>
              <a:buClr>
                <a:srgbClr val="C1F400"/>
              </a:buClr>
              <a:buSzPts val="1400"/>
              <a:buFont typeface="Montserrat SemiBold"/>
              <a:buNone/>
              <a:defRPr>
                <a:solidFill>
                  <a:srgbClr val="C1F400"/>
                </a:solidFill>
                <a:latin typeface="Montserrat SemiBold"/>
                <a:ea typeface="Montserrat SemiBold"/>
                <a:cs typeface="Montserrat SemiBold"/>
                <a:sym typeface="Montserrat SemiBold"/>
              </a:defRPr>
            </a:lvl9pPr>
          </a:lstStyle>
          <a:p>
            <a:endParaRPr/>
          </a:p>
        </p:txBody>
      </p:sp>
      <p:sp>
        <p:nvSpPr>
          <p:cNvPr id="338" name="Google Shape;338;p26"/>
          <p:cNvSpPr txBox="1">
            <a:spLocks noGrp="1"/>
          </p:cNvSpPr>
          <p:nvPr>
            <p:ph type="title" idx="13"/>
          </p:nvPr>
        </p:nvSpPr>
        <p:spPr>
          <a:xfrm>
            <a:off x="12073094" y="5283750"/>
            <a:ext cx="1002900" cy="26505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9600"/>
              <a:buFont typeface="Montserrat Black"/>
              <a:buNone/>
              <a:defRPr sz="9600">
                <a:solidFill>
                  <a:srgbClr val="002A44"/>
                </a:solidFill>
                <a:latin typeface="Montserrat Black"/>
                <a:ea typeface="Montserrat Black"/>
                <a:cs typeface="Montserrat Black"/>
                <a:sym typeface="Montserrat Black"/>
              </a:defRPr>
            </a:lvl1pPr>
            <a:lvl2pPr lvl="1" rtl="0">
              <a:spcBef>
                <a:spcPts val="0"/>
              </a:spcBef>
              <a:spcAft>
                <a:spcPts val="0"/>
              </a:spcAft>
              <a:buSzPts val="9600"/>
              <a:buNone/>
              <a:defRPr sz="9600"/>
            </a:lvl2pPr>
            <a:lvl3pPr lvl="2" rtl="0">
              <a:spcBef>
                <a:spcPts val="0"/>
              </a:spcBef>
              <a:spcAft>
                <a:spcPts val="0"/>
              </a:spcAft>
              <a:buSzPts val="9600"/>
              <a:buNone/>
              <a:defRPr sz="9600"/>
            </a:lvl3pPr>
            <a:lvl4pPr lvl="3" rtl="0">
              <a:spcBef>
                <a:spcPts val="0"/>
              </a:spcBef>
              <a:spcAft>
                <a:spcPts val="0"/>
              </a:spcAft>
              <a:buSzPts val="9600"/>
              <a:buNone/>
              <a:defRPr sz="9600"/>
            </a:lvl4pPr>
            <a:lvl5pPr lvl="4" rtl="0">
              <a:spcBef>
                <a:spcPts val="0"/>
              </a:spcBef>
              <a:spcAft>
                <a:spcPts val="0"/>
              </a:spcAft>
              <a:buSzPts val="9600"/>
              <a:buNone/>
              <a:defRPr sz="9600"/>
            </a:lvl5pPr>
            <a:lvl6pPr lvl="5" rtl="0">
              <a:spcBef>
                <a:spcPts val="0"/>
              </a:spcBef>
              <a:spcAft>
                <a:spcPts val="0"/>
              </a:spcAft>
              <a:buSzPts val="9600"/>
              <a:buNone/>
              <a:defRPr sz="9600"/>
            </a:lvl6pPr>
            <a:lvl7pPr lvl="6" rtl="0">
              <a:spcBef>
                <a:spcPts val="0"/>
              </a:spcBef>
              <a:spcAft>
                <a:spcPts val="0"/>
              </a:spcAft>
              <a:buSzPts val="9600"/>
              <a:buNone/>
              <a:defRPr sz="9600"/>
            </a:lvl7pPr>
            <a:lvl8pPr lvl="7" rtl="0">
              <a:spcBef>
                <a:spcPts val="0"/>
              </a:spcBef>
              <a:spcAft>
                <a:spcPts val="0"/>
              </a:spcAft>
              <a:buSzPts val="9600"/>
              <a:buNone/>
              <a:defRPr sz="9600"/>
            </a:lvl8pPr>
            <a:lvl9pPr lvl="8" rtl="0">
              <a:spcBef>
                <a:spcPts val="0"/>
              </a:spcBef>
              <a:spcAft>
                <a:spcPts val="0"/>
              </a:spcAft>
              <a:buSzPts val="9600"/>
              <a:buNone/>
              <a:defRPr sz="9600"/>
            </a:lvl9pPr>
          </a:lstStyle>
          <a:p>
            <a:endParaRPr/>
          </a:p>
        </p:txBody>
      </p:sp>
      <p:sp>
        <p:nvSpPr>
          <p:cNvPr id="339" name="Google Shape;339;p26"/>
          <p:cNvSpPr txBox="1">
            <a:spLocks noGrp="1"/>
          </p:cNvSpPr>
          <p:nvPr>
            <p:ph type="title" idx="14"/>
          </p:nvPr>
        </p:nvSpPr>
        <p:spPr>
          <a:xfrm>
            <a:off x="17975569" y="5283750"/>
            <a:ext cx="1002900" cy="26505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9600"/>
              <a:buFont typeface="Montserrat Black"/>
              <a:buNone/>
              <a:defRPr sz="9600">
                <a:solidFill>
                  <a:srgbClr val="002A44"/>
                </a:solidFill>
                <a:latin typeface="Montserrat Black"/>
                <a:ea typeface="Montserrat Black"/>
                <a:cs typeface="Montserrat Black"/>
                <a:sym typeface="Montserrat Black"/>
              </a:defRPr>
            </a:lvl1pPr>
            <a:lvl2pPr lvl="1" rtl="0">
              <a:spcBef>
                <a:spcPts val="0"/>
              </a:spcBef>
              <a:spcAft>
                <a:spcPts val="0"/>
              </a:spcAft>
              <a:buSzPts val="9600"/>
              <a:buNone/>
              <a:defRPr sz="9600"/>
            </a:lvl2pPr>
            <a:lvl3pPr lvl="2" rtl="0">
              <a:spcBef>
                <a:spcPts val="0"/>
              </a:spcBef>
              <a:spcAft>
                <a:spcPts val="0"/>
              </a:spcAft>
              <a:buSzPts val="9600"/>
              <a:buNone/>
              <a:defRPr sz="9600"/>
            </a:lvl3pPr>
            <a:lvl4pPr lvl="3" rtl="0">
              <a:spcBef>
                <a:spcPts val="0"/>
              </a:spcBef>
              <a:spcAft>
                <a:spcPts val="0"/>
              </a:spcAft>
              <a:buSzPts val="9600"/>
              <a:buNone/>
              <a:defRPr sz="9600"/>
            </a:lvl4pPr>
            <a:lvl5pPr lvl="4" rtl="0">
              <a:spcBef>
                <a:spcPts val="0"/>
              </a:spcBef>
              <a:spcAft>
                <a:spcPts val="0"/>
              </a:spcAft>
              <a:buSzPts val="9600"/>
              <a:buNone/>
              <a:defRPr sz="9600"/>
            </a:lvl5pPr>
            <a:lvl6pPr lvl="5" rtl="0">
              <a:spcBef>
                <a:spcPts val="0"/>
              </a:spcBef>
              <a:spcAft>
                <a:spcPts val="0"/>
              </a:spcAft>
              <a:buSzPts val="9600"/>
              <a:buNone/>
              <a:defRPr sz="9600"/>
            </a:lvl6pPr>
            <a:lvl7pPr lvl="6" rtl="0">
              <a:spcBef>
                <a:spcPts val="0"/>
              </a:spcBef>
              <a:spcAft>
                <a:spcPts val="0"/>
              </a:spcAft>
              <a:buSzPts val="9600"/>
              <a:buNone/>
              <a:defRPr sz="9600"/>
            </a:lvl7pPr>
            <a:lvl8pPr lvl="7" rtl="0">
              <a:spcBef>
                <a:spcPts val="0"/>
              </a:spcBef>
              <a:spcAft>
                <a:spcPts val="0"/>
              </a:spcAft>
              <a:buSzPts val="9600"/>
              <a:buNone/>
              <a:defRPr sz="9600"/>
            </a:lvl8pPr>
            <a:lvl9pPr lvl="8" rtl="0">
              <a:spcBef>
                <a:spcPts val="0"/>
              </a:spcBef>
              <a:spcAft>
                <a:spcPts val="0"/>
              </a:spcAft>
              <a:buSzPts val="9600"/>
              <a:buNone/>
              <a:defRPr sz="9600"/>
            </a:lvl9pPr>
          </a:lstStyle>
          <a:p>
            <a:endParaRPr/>
          </a:p>
        </p:txBody>
      </p:sp>
      <p:sp>
        <p:nvSpPr>
          <p:cNvPr id="340" name="Google Shape;340;p26"/>
          <p:cNvSpPr txBox="1">
            <a:spLocks noGrp="1"/>
          </p:cNvSpPr>
          <p:nvPr>
            <p:ph type="title" idx="15"/>
          </p:nvPr>
        </p:nvSpPr>
        <p:spPr>
          <a:xfrm>
            <a:off x="1704776" y="9276238"/>
            <a:ext cx="7633800" cy="737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1pPr>
            <a:lvl2pPr lvl="1" rtl="0">
              <a:spcBef>
                <a:spcPts val="0"/>
              </a:spcBef>
              <a:spcAft>
                <a:spcPts val="0"/>
              </a:spcAft>
              <a:buSzPts val="2400"/>
              <a:buNone/>
              <a:defRPr sz="2400"/>
            </a:lvl2pPr>
            <a:lvl3pPr lvl="2" rtl="0">
              <a:spcBef>
                <a:spcPts val="0"/>
              </a:spcBef>
              <a:spcAft>
                <a:spcPts val="0"/>
              </a:spcAft>
              <a:buSzPts val="2400"/>
              <a:buNone/>
              <a:defRPr sz="2400"/>
            </a:lvl3pPr>
            <a:lvl4pPr lvl="3" rtl="0">
              <a:spcBef>
                <a:spcPts val="0"/>
              </a:spcBef>
              <a:spcAft>
                <a:spcPts val="0"/>
              </a:spcAft>
              <a:buSzPts val="2400"/>
              <a:buNone/>
              <a:defRPr sz="2400"/>
            </a:lvl4pPr>
            <a:lvl5pPr lvl="4" rtl="0">
              <a:spcBef>
                <a:spcPts val="0"/>
              </a:spcBef>
              <a:spcAft>
                <a:spcPts val="0"/>
              </a:spcAft>
              <a:buSzPts val="2400"/>
              <a:buNone/>
              <a:defRPr sz="2400"/>
            </a:lvl5pPr>
            <a:lvl6pPr lvl="5" rtl="0">
              <a:spcBef>
                <a:spcPts val="0"/>
              </a:spcBef>
              <a:spcAft>
                <a:spcPts val="0"/>
              </a:spcAft>
              <a:buSzPts val="2400"/>
              <a:buNone/>
              <a:defRPr sz="2400"/>
            </a:lvl6pPr>
            <a:lvl7pPr lvl="6" rtl="0">
              <a:spcBef>
                <a:spcPts val="0"/>
              </a:spcBef>
              <a:spcAft>
                <a:spcPts val="0"/>
              </a:spcAft>
              <a:buSzPts val="2400"/>
              <a:buNone/>
              <a:defRPr sz="2400"/>
            </a:lvl7pPr>
            <a:lvl8pPr lvl="7" rtl="0">
              <a:spcBef>
                <a:spcPts val="0"/>
              </a:spcBef>
              <a:spcAft>
                <a:spcPts val="0"/>
              </a:spcAft>
              <a:buSzPts val="2400"/>
              <a:buNone/>
              <a:defRPr sz="2400"/>
            </a:lvl8pPr>
            <a:lvl9pPr lvl="8" rtl="0">
              <a:spcBef>
                <a:spcPts val="0"/>
              </a:spcBef>
              <a:spcAft>
                <a:spcPts val="0"/>
              </a:spcAft>
              <a:buSzPts val="2400"/>
              <a:buNone/>
              <a:defRPr sz="2400"/>
            </a:lvl9pPr>
          </a:lstStyle>
          <a:p>
            <a:endParaRPr/>
          </a:p>
        </p:txBody>
      </p:sp>
      <p:sp>
        <p:nvSpPr>
          <p:cNvPr id="341" name="Google Shape;341;p26"/>
          <p:cNvSpPr/>
          <p:nvPr/>
        </p:nvSpPr>
        <p:spPr>
          <a:xfrm>
            <a:off x="1704775" y="9943863"/>
            <a:ext cx="1240500" cy="1240500"/>
          </a:xfrm>
          <a:prstGeom prst="ellipse">
            <a:avLst/>
          </a:prstGeom>
          <a:solidFill>
            <a:srgbClr val="002A4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342" name="Google Shape;342;p26"/>
          <p:cNvSpPr>
            <a:spLocks noGrp="1"/>
          </p:cNvSpPr>
          <p:nvPr>
            <p:ph type="pic" idx="16"/>
          </p:nvPr>
        </p:nvSpPr>
        <p:spPr>
          <a:xfrm>
            <a:off x="2001625" y="10240713"/>
            <a:ext cx="646800" cy="646800"/>
          </a:xfrm>
          <a:prstGeom prst="ellipse">
            <a:avLst/>
          </a:prstGeom>
          <a:noFill/>
          <a:ln>
            <a:noFill/>
          </a:ln>
        </p:spPr>
      </p:sp>
      <p:sp>
        <p:nvSpPr>
          <p:cNvPr id="343" name="Google Shape;343;p26"/>
          <p:cNvSpPr/>
          <p:nvPr/>
        </p:nvSpPr>
        <p:spPr>
          <a:xfrm>
            <a:off x="3405675" y="9943863"/>
            <a:ext cx="1240500" cy="1240500"/>
          </a:xfrm>
          <a:prstGeom prst="ellipse">
            <a:avLst/>
          </a:prstGeom>
          <a:solidFill>
            <a:srgbClr val="002A4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344" name="Google Shape;344;p26"/>
          <p:cNvSpPr>
            <a:spLocks noGrp="1"/>
          </p:cNvSpPr>
          <p:nvPr>
            <p:ph type="pic" idx="17"/>
          </p:nvPr>
        </p:nvSpPr>
        <p:spPr>
          <a:xfrm>
            <a:off x="3702525" y="10240713"/>
            <a:ext cx="646800" cy="646800"/>
          </a:xfrm>
          <a:prstGeom prst="ellipse">
            <a:avLst/>
          </a:prstGeom>
          <a:noFill/>
          <a:ln>
            <a:noFill/>
          </a:ln>
        </p:spPr>
      </p:sp>
      <p:sp>
        <p:nvSpPr>
          <p:cNvPr id="345" name="Google Shape;345;p26"/>
          <p:cNvSpPr/>
          <p:nvPr/>
        </p:nvSpPr>
        <p:spPr>
          <a:xfrm>
            <a:off x="5106575" y="9943863"/>
            <a:ext cx="1240500" cy="1240500"/>
          </a:xfrm>
          <a:prstGeom prst="ellipse">
            <a:avLst/>
          </a:prstGeom>
          <a:solidFill>
            <a:srgbClr val="002A4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346" name="Google Shape;346;p26"/>
          <p:cNvSpPr>
            <a:spLocks noGrp="1"/>
          </p:cNvSpPr>
          <p:nvPr>
            <p:ph type="pic" idx="18"/>
          </p:nvPr>
        </p:nvSpPr>
        <p:spPr>
          <a:xfrm>
            <a:off x="5403425" y="10240713"/>
            <a:ext cx="646800" cy="646800"/>
          </a:xfrm>
          <a:prstGeom prst="ellipse">
            <a:avLst/>
          </a:prstGeom>
          <a:noFill/>
          <a:ln>
            <a:noFill/>
          </a:ln>
        </p:spPr>
      </p:sp>
      <p:sp>
        <p:nvSpPr>
          <p:cNvPr id="347" name="Google Shape;347;p26"/>
          <p:cNvSpPr/>
          <p:nvPr/>
        </p:nvSpPr>
        <p:spPr>
          <a:xfrm>
            <a:off x="6807475" y="9943863"/>
            <a:ext cx="1240500" cy="1240500"/>
          </a:xfrm>
          <a:prstGeom prst="ellipse">
            <a:avLst/>
          </a:prstGeom>
          <a:solidFill>
            <a:srgbClr val="002A4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348" name="Google Shape;348;p26"/>
          <p:cNvSpPr>
            <a:spLocks noGrp="1"/>
          </p:cNvSpPr>
          <p:nvPr>
            <p:ph type="pic" idx="19"/>
          </p:nvPr>
        </p:nvSpPr>
        <p:spPr>
          <a:xfrm>
            <a:off x="7104325" y="10240713"/>
            <a:ext cx="646800" cy="646800"/>
          </a:xfrm>
          <a:prstGeom prst="ellipse">
            <a:avLst/>
          </a:prstGeom>
          <a:noFill/>
          <a:ln>
            <a:noFill/>
          </a:ln>
        </p:spPr>
      </p:sp>
      <p:sp>
        <p:nvSpPr>
          <p:cNvPr id="349" name="Google Shape;349;p26"/>
          <p:cNvSpPr txBox="1"/>
          <p:nvPr/>
        </p:nvSpPr>
        <p:spPr>
          <a:xfrm>
            <a:off x="1704775" y="799925"/>
            <a:ext cx="4470600" cy="615600"/>
          </a:xfrm>
          <a:prstGeom prst="rect">
            <a:avLst/>
          </a:prstGeom>
          <a:solidFill>
            <a:srgbClr val="C1F400"/>
          </a:solidFill>
          <a:ln>
            <a:noFill/>
          </a:ln>
        </p:spPr>
        <p:txBody>
          <a:bodyPr spcFirstLastPara="1" wrap="square" lIns="91425" tIns="91425" rIns="91425" bIns="91425" anchor="t" anchorCtr="0">
            <a:spAutoFit/>
          </a:bodyPr>
          <a:lstStyle/>
          <a:p>
            <a:pPr marL="457200" lvl="0" indent="0" algn="l" rtl="0">
              <a:lnSpc>
                <a:spcPct val="115000"/>
              </a:lnSpc>
              <a:spcBef>
                <a:spcPts val="0"/>
              </a:spcBef>
              <a:spcAft>
                <a:spcPts val="0"/>
              </a:spcAft>
              <a:buNone/>
            </a:pPr>
            <a:endParaRPr sz="2800">
              <a:solidFill>
                <a:srgbClr val="002A44"/>
              </a:solidFill>
              <a:latin typeface="Montserrat Black"/>
              <a:ea typeface="Montserrat Black"/>
              <a:cs typeface="Montserrat Black"/>
              <a:sym typeface="Montserrat Black"/>
            </a:endParaRPr>
          </a:p>
        </p:txBody>
      </p:sp>
      <p:sp>
        <p:nvSpPr>
          <p:cNvPr id="350" name="Google Shape;350;p26"/>
          <p:cNvSpPr txBox="1">
            <a:spLocks noGrp="1"/>
          </p:cNvSpPr>
          <p:nvPr>
            <p:ph type="subTitle" idx="20"/>
          </p:nvPr>
        </p:nvSpPr>
        <p:spPr>
          <a:xfrm>
            <a:off x="1812875" y="800050"/>
            <a:ext cx="3377400" cy="6156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1pPr>
            <a:lvl2pPr lvl="1"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2pPr>
            <a:lvl3pPr lvl="2"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3pPr>
            <a:lvl4pPr lvl="3"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4pPr>
            <a:lvl5pPr lvl="4"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5pPr>
            <a:lvl6pPr lvl="5"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6pPr>
            <a:lvl7pPr lvl="6"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7pPr>
            <a:lvl8pPr lvl="7"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8pPr>
            <a:lvl9pPr lvl="8"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9pPr>
          </a:lstStyle>
          <a:p>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Closing - Next Steps 1">
  <p:cSld name="Closing - Next Steps 1">
    <p:bg>
      <p:bgPr>
        <a:solidFill>
          <a:srgbClr val="C1F400"/>
        </a:solidFill>
        <a:effectLst/>
      </p:bgPr>
    </p:bg>
    <p:spTree>
      <p:nvGrpSpPr>
        <p:cNvPr id="1" name="Shape 351"/>
        <p:cNvGrpSpPr/>
        <p:nvPr/>
      </p:nvGrpSpPr>
      <p:grpSpPr>
        <a:xfrm>
          <a:off x="0" y="0"/>
          <a:ext cx="0" cy="0"/>
          <a:chOff x="0" y="0"/>
          <a:chExt cx="0" cy="0"/>
        </a:xfrm>
      </p:grpSpPr>
      <p:pic>
        <p:nvPicPr>
          <p:cNvPr id="352" name="Google Shape;352;p27"/>
          <p:cNvPicPr preferRelativeResize="0"/>
          <p:nvPr/>
        </p:nvPicPr>
        <p:blipFill>
          <a:blip r:embed="rId2">
            <a:alphaModFix/>
          </a:blip>
          <a:stretch>
            <a:fillRect/>
          </a:stretch>
        </p:blipFill>
        <p:spPr>
          <a:xfrm>
            <a:off x="0" y="757950"/>
            <a:ext cx="24377651" cy="12313950"/>
          </a:xfrm>
          <a:prstGeom prst="rect">
            <a:avLst/>
          </a:prstGeom>
          <a:noFill/>
          <a:ln>
            <a:noFill/>
          </a:ln>
        </p:spPr>
      </p:pic>
      <p:sp>
        <p:nvSpPr>
          <p:cNvPr id="353" name="Google Shape;353;p27"/>
          <p:cNvSpPr txBox="1">
            <a:spLocks noGrp="1"/>
          </p:cNvSpPr>
          <p:nvPr>
            <p:ph type="title"/>
          </p:nvPr>
        </p:nvSpPr>
        <p:spPr>
          <a:xfrm>
            <a:off x="1192675" y="7029325"/>
            <a:ext cx="10842300" cy="26505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8400"/>
              <a:buFont typeface="Montserrat Black"/>
              <a:buNone/>
              <a:defRPr sz="8400">
                <a:solidFill>
                  <a:schemeClr val="lt1"/>
                </a:solidFill>
                <a:latin typeface="Montserrat Black"/>
                <a:ea typeface="Montserrat Black"/>
                <a:cs typeface="Montserrat Black"/>
                <a:sym typeface="Montserrat Black"/>
              </a:defRPr>
            </a:lvl1pPr>
            <a:lvl2pPr lvl="1" rtl="0">
              <a:spcBef>
                <a:spcPts val="0"/>
              </a:spcBef>
              <a:spcAft>
                <a:spcPts val="0"/>
              </a:spcAft>
              <a:buClr>
                <a:schemeClr val="lt1"/>
              </a:buClr>
              <a:buSzPts val="8400"/>
              <a:buNone/>
              <a:defRPr sz="8400">
                <a:solidFill>
                  <a:schemeClr val="lt1"/>
                </a:solidFill>
              </a:defRPr>
            </a:lvl2pPr>
            <a:lvl3pPr lvl="2" rtl="0">
              <a:spcBef>
                <a:spcPts val="0"/>
              </a:spcBef>
              <a:spcAft>
                <a:spcPts val="0"/>
              </a:spcAft>
              <a:buClr>
                <a:schemeClr val="lt1"/>
              </a:buClr>
              <a:buSzPts val="8400"/>
              <a:buNone/>
              <a:defRPr sz="8400">
                <a:solidFill>
                  <a:schemeClr val="lt1"/>
                </a:solidFill>
              </a:defRPr>
            </a:lvl3pPr>
            <a:lvl4pPr lvl="3" rtl="0">
              <a:spcBef>
                <a:spcPts val="0"/>
              </a:spcBef>
              <a:spcAft>
                <a:spcPts val="0"/>
              </a:spcAft>
              <a:buClr>
                <a:schemeClr val="lt1"/>
              </a:buClr>
              <a:buSzPts val="8400"/>
              <a:buNone/>
              <a:defRPr sz="8400">
                <a:solidFill>
                  <a:schemeClr val="lt1"/>
                </a:solidFill>
              </a:defRPr>
            </a:lvl4pPr>
            <a:lvl5pPr lvl="4" rtl="0">
              <a:spcBef>
                <a:spcPts val="0"/>
              </a:spcBef>
              <a:spcAft>
                <a:spcPts val="0"/>
              </a:spcAft>
              <a:buClr>
                <a:schemeClr val="lt1"/>
              </a:buClr>
              <a:buSzPts val="8400"/>
              <a:buNone/>
              <a:defRPr sz="8400">
                <a:solidFill>
                  <a:schemeClr val="lt1"/>
                </a:solidFill>
              </a:defRPr>
            </a:lvl5pPr>
            <a:lvl6pPr lvl="5" rtl="0">
              <a:spcBef>
                <a:spcPts val="0"/>
              </a:spcBef>
              <a:spcAft>
                <a:spcPts val="0"/>
              </a:spcAft>
              <a:buClr>
                <a:schemeClr val="lt1"/>
              </a:buClr>
              <a:buSzPts val="8400"/>
              <a:buNone/>
              <a:defRPr sz="8400">
                <a:solidFill>
                  <a:schemeClr val="lt1"/>
                </a:solidFill>
              </a:defRPr>
            </a:lvl6pPr>
            <a:lvl7pPr lvl="6" rtl="0">
              <a:spcBef>
                <a:spcPts val="0"/>
              </a:spcBef>
              <a:spcAft>
                <a:spcPts val="0"/>
              </a:spcAft>
              <a:buClr>
                <a:schemeClr val="lt1"/>
              </a:buClr>
              <a:buSzPts val="8400"/>
              <a:buNone/>
              <a:defRPr sz="8400">
                <a:solidFill>
                  <a:schemeClr val="lt1"/>
                </a:solidFill>
              </a:defRPr>
            </a:lvl7pPr>
            <a:lvl8pPr lvl="7" rtl="0">
              <a:spcBef>
                <a:spcPts val="0"/>
              </a:spcBef>
              <a:spcAft>
                <a:spcPts val="0"/>
              </a:spcAft>
              <a:buClr>
                <a:schemeClr val="lt1"/>
              </a:buClr>
              <a:buSzPts val="8400"/>
              <a:buNone/>
              <a:defRPr sz="8400">
                <a:solidFill>
                  <a:schemeClr val="lt1"/>
                </a:solidFill>
              </a:defRPr>
            </a:lvl8pPr>
            <a:lvl9pPr lvl="8" rtl="0">
              <a:spcBef>
                <a:spcPts val="0"/>
              </a:spcBef>
              <a:spcAft>
                <a:spcPts val="0"/>
              </a:spcAft>
              <a:buClr>
                <a:schemeClr val="lt1"/>
              </a:buClr>
              <a:buSzPts val="8400"/>
              <a:buNone/>
              <a:defRPr sz="8400">
                <a:solidFill>
                  <a:schemeClr val="lt1"/>
                </a:solidFill>
              </a:defRPr>
            </a:lvl9pPr>
          </a:lstStyle>
          <a:p>
            <a:endParaRPr/>
          </a:p>
        </p:txBody>
      </p:sp>
      <p:sp>
        <p:nvSpPr>
          <p:cNvPr id="354" name="Google Shape;354;p27"/>
          <p:cNvSpPr/>
          <p:nvPr/>
        </p:nvSpPr>
        <p:spPr>
          <a:xfrm>
            <a:off x="1350649" y="3213775"/>
            <a:ext cx="4666932" cy="2650818"/>
          </a:xfrm>
          <a:custGeom>
            <a:avLst/>
            <a:gdLst/>
            <a:ahLst/>
            <a:cxnLst/>
            <a:rect l="l" t="t" r="r" b="b"/>
            <a:pathLst>
              <a:path w="3864954" h="2195294" extrusionOk="0">
                <a:moveTo>
                  <a:pt x="0" y="0"/>
                </a:moveTo>
                <a:lnTo>
                  <a:pt x="3864953" y="0"/>
                </a:lnTo>
                <a:lnTo>
                  <a:pt x="3864953" y="2195294"/>
                </a:lnTo>
                <a:lnTo>
                  <a:pt x="0" y="2195294"/>
                </a:lnTo>
                <a:lnTo>
                  <a:pt x="0" y="0"/>
                </a:lnTo>
                <a:close/>
              </a:path>
            </a:pathLst>
          </a:custGeom>
          <a:blipFill rotWithShape="1">
            <a:blip r:embed="rId3">
              <a:alphaModFix/>
            </a:blip>
            <a:stretch>
              <a:fillRect/>
            </a:stretch>
          </a:blipFill>
          <a:ln>
            <a:noFill/>
          </a:ln>
        </p:spPr>
      </p:sp>
      <p:sp>
        <p:nvSpPr>
          <p:cNvPr id="355" name="Google Shape;355;p27"/>
          <p:cNvSpPr txBox="1">
            <a:spLocks noGrp="1"/>
          </p:cNvSpPr>
          <p:nvPr>
            <p:ph type="subTitle" idx="1"/>
          </p:nvPr>
        </p:nvSpPr>
        <p:spPr>
          <a:xfrm>
            <a:off x="11894800" y="12311650"/>
            <a:ext cx="11616000" cy="1240500"/>
          </a:xfrm>
          <a:prstGeom prst="rect">
            <a:avLst/>
          </a:prstGeom>
          <a:noFill/>
          <a:ln>
            <a:noFill/>
          </a:ln>
        </p:spPr>
        <p:txBody>
          <a:bodyPr spcFirstLastPara="1" wrap="square" lIns="91425" tIns="91425" rIns="91425" bIns="91425" anchor="ctr" anchorCtr="0">
            <a:noAutofit/>
          </a:bodyPr>
          <a:lstStyle>
            <a:lvl1pPr lvl="0" algn="r" rtl="0">
              <a:spcBef>
                <a:spcPts val="0"/>
              </a:spcBef>
              <a:spcAft>
                <a:spcPts val="0"/>
              </a:spcAft>
              <a:buClr>
                <a:srgbClr val="002A44"/>
              </a:buClr>
              <a:buSzPts val="2400"/>
              <a:buFont typeface="Montserrat SemiBold"/>
              <a:buNone/>
              <a:defRPr sz="2400">
                <a:solidFill>
                  <a:srgbClr val="002A44"/>
                </a:solidFill>
                <a:latin typeface="Montserrat SemiBold"/>
                <a:ea typeface="Montserrat SemiBold"/>
                <a:cs typeface="Montserrat SemiBold"/>
                <a:sym typeface="Montserrat SemiBold"/>
              </a:defRPr>
            </a:lvl1pPr>
            <a:lvl2pPr lvl="1" rtl="0">
              <a:spcBef>
                <a:spcPts val="0"/>
              </a:spcBef>
              <a:spcAft>
                <a:spcPts val="0"/>
              </a:spcAft>
              <a:buClr>
                <a:srgbClr val="002A44"/>
              </a:buClr>
              <a:buSzPts val="1400"/>
              <a:buNone/>
              <a:defRPr>
                <a:solidFill>
                  <a:srgbClr val="002A44"/>
                </a:solidFill>
              </a:defRPr>
            </a:lvl2pPr>
            <a:lvl3pPr lvl="2" rtl="0">
              <a:spcBef>
                <a:spcPts val="0"/>
              </a:spcBef>
              <a:spcAft>
                <a:spcPts val="0"/>
              </a:spcAft>
              <a:buClr>
                <a:srgbClr val="002A44"/>
              </a:buClr>
              <a:buSzPts val="1400"/>
              <a:buNone/>
              <a:defRPr>
                <a:solidFill>
                  <a:srgbClr val="002A44"/>
                </a:solidFill>
              </a:defRPr>
            </a:lvl3pPr>
            <a:lvl4pPr lvl="3" rtl="0">
              <a:spcBef>
                <a:spcPts val="0"/>
              </a:spcBef>
              <a:spcAft>
                <a:spcPts val="0"/>
              </a:spcAft>
              <a:buClr>
                <a:srgbClr val="002A44"/>
              </a:buClr>
              <a:buSzPts val="1400"/>
              <a:buNone/>
              <a:defRPr>
                <a:solidFill>
                  <a:srgbClr val="002A44"/>
                </a:solidFill>
              </a:defRPr>
            </a:lvl4pPr>
            <a:lvl5pPr lvl="4" rtl="0">
              <a:spcBef>
                <a:spcPts val="0"/>
              </a:spcBef>
              <a:spcAft>
                <a:spcPts val="0"/>
              </a:spcAft>
              <a:buClr>
                <a:srgbClr val="002A44"/>
              </a:buClr>
              <a:buSzPts val="1400"/>
              <a:buNone/>
              <a:defRPr>
                <a:solidFill>
                  <a:srgbClr val="002A44"/>
                </a:solidFill>
              </a:defRPr>
            </a:lvl5pPr>
            <a:lvl6pPr lvl="5" rtl="0">
              <a:spcBef>
                <a:spcPts val="0"/>
              </a:spcBef>
              <a:spcAft>
                <a:spcPts val="0"/>
              </a:spcAft>
              <a:buClr>
                <a:srgbClr val="002A44"/>
              </a:buClr>
              <a:buSzPts val="1400"/>
              <a:buNone/>
              <a:defRPr>
                <a:solidFill>
                  <a:srgbClr val="002A44"/>
                </a:solidFill>
              </a:defRPr>
            </a:lvl6pPr>
            <a:lvl7pPr lvl="6" rtl="0">
              <a:spcBef>
                <a:spcPts val="0"/>
              </a:spcBef>
              <a:spcAft>
                <a:spcPts val="0"/>
              </a:spcAft>
              <a:buClr>
                <a:srgbClr val="002A44"/>
              </a:buClr>
              <a:buSzPts val="1400"/>
              <a:buNone/>
              <a:defRPr>
                <a:solidFill>
                  <a:srgbClr val="002A44"/>
                </a:solidFill>
              </a:defRPr>
            </a:lvl7pPr>
            <a:lvl8pPr lvl="7" rtl="0">
              <a:spcBef>
                <a:spcPts val="0"/>
              </a:spcBef>
              <a:spcAft>
                <a:spcPts val="0"/>
              </a:spcAft>
              <a:buClr>
                <a:srgbClr val="002A44"/>
              </a:buClr>
              <a:buSzPts val="1400"/>
              <a:buNone/>
              <a:defRPr>
                <a:solidFill>
                  <a:srgbClr val="002A44"/>
                </a:solidFill>
              </a:defRPr>
            </a:lvl8pPr>
            <a:lvl9pPr lvl="8" rtl="0">
              <a:spcBef>
                <a:spcPts val="0"/>
              </a:spcBef>
              <a:spcAft>
                <a:spcPts val="0"/>
              </a:spcAft>
              <a:buClr>
                <a:srgbClr val="002A44"/>
              </a:buClr>
              <a:buSzPts val="1400"/>
              <a:buNone/>
              <a:defRPr>
                <a:solidFill>
                  <a:srgbClr val="002A44"/>
                </a:solidFill>
              </a:defRPr>
            </a:lvl9pPr>
          </a:lstStyle>
          <a:p>
            <a:endParaRPr/>
          </a:p>
        </p:txBody>
      </p:sp>
      <p:sp>
        <p:nvSpPr>
          <p:cNvPr id="356" name="Google Shape;356;p27"/>
          <p:cNvSpPr txBox="1">
            <a:spLocks noGrp="1"/>
          </p:cNvSpPr>
          <p:nvPr>
            <p:ph type="title" idx="2"/>
          </p:nvPr>
        </p:nvSpPr>
        <p:spPr>
          <a:xfrm>
            <a:off x="13428825" y="2097650"/>
            <a:ext cx="7452600" cy="9291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3600"/>
              <a:buFont typeface="Montserrat Black"/>
              <a:buNone/>
              <a:defRPr sz="3600">
                <a:solidFill>
                  <a:srgbClr val="C1F400"/>
                </a:solidFill>
                <a:latin typeface="Montserrat Black"/>
                <a:ea typeface="Montserrat Black"/>
                <a:cs typeface="Montserrat Black"/>
                <a:sym typeface="Montserrat Black"/>
              </a:defRPr>
            </a:lvl1pPr>
            <a:lvl2pPr lvl="1" rtl="0">
              <a:spcBef>
                <a:spcPts val="0"/>
              </a:spcBef>
              <a:spcAft>
                <a:spcPts val="0"/>
              </a:spcAft>
              <a:buClr>
                <a:srgbClr val="C1F400"/>
              </a:buClr>
              <a:buSzPts val="3600"/>
              <a:buNone/>
              <a:defRPr sz="3600">
                <a:solidFill>
                  <a:srgbClr val="C1F400"/>
                </a:solidFill>
              </a:defRPr>
            </a:lvl2pPr>
            <a:lvl3pPr lvl="2" rtl="0">
              <a:spcBef>
                <a:spcPts val="0"/>
              </a:spcBef>
              <a:spcAft>
                <a:spcPts val="0"/>
              </a:spcAft>
              <a:buClr>
                <a:srgbClr val="C1F400"/>
              </a:buClr>
              <a:buSzPts val="3600"/>
              <a:buNone/>
              <a:defRPr sz="3600">
                <a:solidFill>
                  <a:srgbClr val="C1F400"/>
                </a:solidFill>
              </a:defRPr>
            </a:lvl3pPr>
            <a:lvl4pPr lvl="3" rtl="0">
              <a:spcBef>
                <a:spcPts val="0"/>
              </a:spcBef>
              <a:spcAft>
                <a:spcPts val="0"/>
              </a:spcAft>
              <a:buClr>
                <a:srgbClr val="C1F400"/>
              </a:buClr>
              <a:buSzPts val="3600"/>
              <a:buNone/>
              <a:defRPr sz="3600">
                <a:solidFill>
                  <a:srgbClr val="C1F400"/>
                </a:solidFill>
              </a:defRPr>
            </a:lvl4pPr>
            <a:lvl5pPr lvl="4" rtl="0">
              <a:spcBef>
                <a:spcPts val="0"/>
              </a:spcBef>
              <a:spcAft>
                <a:spcPts val="0"/>
              </a:spcAft>
              <a:buClr>
                <a:srgbClr val="C1F400"/>
              </a:buClr>
              <a:buSzPts val="3600"/>
              <a:buNone/>
              <a:defRPr sz="3600">
                <a:solidFill>
                  <a:srgbClr val="C1F400"/>
                </a:solidFill>
              </a:defRPr>
            </a:lvl5pPr>
            <a:lvl6pPr lvl="5" rtl="0">
              <a:spcBef>
                <a:spcPts val="0"/>
              </a:spcBef>
              <a:spcAft>
                <a:spcPts val="0"/>
              </a:spcAft>
              <a:buClr>
                <a:srgbClr val="C1F400"/>
              </a:buClr>
              <a:buSzPts val="3600"/>
              <a:buNone/>
              <a:defRPr sz="3600">
                <a:solidFill>
                  <a:srgbClr val="C1F400"/>
                </a:solidFill>
              </a:defRPr>
            </a:lvl6pPr>
            <a:lvl7pPr lvl="6" rtl="0">
              <a:spcBef>
                <a:spcPts val="0"/>
              </a:spcBef>
              <a:spcAft>
                <a:spcPts val="0"/>
              </a:spcAft>
              <a:buClr>
                <a:srgbClr val="C1F400"/>
              </a:buClr>
              <a:buSzPts val="3600"/>
              <a:buNone/>
              <a:defRPr sz="3600">
                <a:solidFill>
                  <a:srgbClr val="C1F400"/>
                </a:solidFill>
              </a:defRPr>
            </a:lvl7pPr>
            <a:lvl8pPr lvl="7" rtl="0">
              <a:spcBef>
                <a:spcPts val="0"/>
              </a:spcBef>
              <a:spcAft>
                <a:spcPts val="0"/>
              </a:spcAft>
              <a:buClr>
                <a:srgbClr val="C1F400"/>
              </a:buClr>
              <a:buSzPts val="3600"/>
              <a:buNone/>
              <a:defRPr sz="3600">
                <a:solidFill>
                  <a:srgbClr val="C1F400"/>
                </a:solidFill>
              </a:defRPr>
            </a:lvl8pPr>
            <a:lvl9pPr lvl="8" rtl="0">
              <a:spcBef>
                <a:spcPts val="0"/>
              </a:spcBef>
              <a:spcAft>
                <a:spcPts val="0"/>
              </a:spcAft>
              <a:buClr>
                <a:srgbClr val="C1F400"/>
              </a:buClr>
              <a:buSzPts val="3600"/>
              <a:buNone/>
              <a:defRPr sz="3600">
                <a:solidFill>
                  <a:srgbClr val="C1F400"/>
                </a:solidFill>
              </a:defRPr>
            </a:lvl9pPr>
          </a:lstStyle>
          <a:p>
            <a:endParaRPr/>
          </a:p>
        </p:txBody>
      </p:sp>
      <p:sp>
        <p:nvSpPr>
          <p:cNvPr id="357" name="Google Shape;357;p27"/>
          <p:cNvSpPr>
            <a:spLocks noGrp="1"/>
          </p:cNvSpPr>
          <p:nvPr>
            <p:ph type="pic" idx="3"/>
          </p:nvPr>
        </p:nvSpPr>
        <p:spPr>
          <a:xfrm>
            <a:off x="13428825" y="3081400"/>
            <a:ext cx="2376900" cy="2376900"/>
          </a:xfrm>
          <a:prstGeom prst="ellipse">
            <a:avLst/>
          </a:prstGeom>
          <a:noFill/>
          <a:ln>
            <a:noFill/>
          </a:ln>
        </p:spPr>
      </p:sp>
      <p:sp>
        <p:nvSpPr>
          <p:cNvPr id="358" name="Google Shape;358;p27"/>
          <p:cNvSpPr>
            <a:spLocks noGrp="1"/>
          </p:cNvSpPr>
          <p:nvPr>
            <p:ph type="pic" idx="4"/>
          </p:nvPr>
        </p:nvSpPr>
        <p:spPr>
          <a:xfrm>
            <a:off x="13428825" y="5801375"/>
            <a:ext cx="2376900" cy="2376900"/>
          </a:xfrm>
          <a:prstGeom prst="ellipse">
            <a:avLst/>
          </a:prstGeom>
          <a:noFill/>
          <a:ln>
            <a:noFill/>
          </a:ln>
        </p:spPr>
      </p:sp>
      <p:sp>
        <p:nvSpPr>
          <p:cNvPr id="359" name="Google Shape;359;p27"/>
          <p:cNvSpPr txBox="1">
            <a:spLocks noGrp="1"/>
          </p:cNvSpPr>
          <p:nvPr>
            <p:ph type="title" idx="5"/>
          </p:nvPr>
        </p:nvSpPr>
        <p:spPr>
          <a:xfrm>
            <a:off x="16234750" y="3349475"/>
            <a:ext cx="7452600" cy="5721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2400"/>
              <a:buFont typeface="Montserrat Black"/>
              <a:buNone/>
              <a:defRPr sz="2400">
                <a:solidFill>
                  <a:schemeClr val="lt1"/>
                </a:solidFill>
                <a:latin typeface="Montserrat Black"/>
                <a:ea typeface="Montserrat Black"/>
                <a:cs typeface="Montserrat Black"/>
                <a:sym typeface="Montserrat Black"/>
              </a:defRPr>
            </a:lvl1pPr>
            <a:lvl2pPr lvl="1" rtl="0">
              <a:spcBef>
                <a:spcPts val="0"/>
              </a:spcBef>
              <a:spcAft>
                <a:spcPts val="0"/>
              </a:spcAft>
              <a:buClr>
                <a:schemeClr val="lt1"/>
              </a:buClr>
              <a:buSzPts val="2400"/>
              <a:buNone/>
              <a:defRPr sz="2400">
                <a:solidFill>
                  <a:schemeClr val="lt1"/>
                </a:solidFill>
              </a:defRPr>
            </a:lvl2pPr>
            <a:lvl3pPr lvl="2" rtl="0">
              <a:spcBef>
                <a:spcPts val="0"/>
              </a:spcBef>
              <a:spcAft>
                <a:spcPts val="0"/>
              </a:spcAft>
              <a:buClr>
                <a:schemeClr val="lt1"/>
              </a:buClr>
              <a:buSzPts val="2400"/>
              <a:buNone/>
              <a:defRPr sz="2400">
                <a:solidFill>
                  <a:schemeClr val="lt1"/>
                </a:solidFill>
              </a:defRPr>
            </a:lvl3pPr>
            <a:lvl4pPr lvl="3" rtl="0">
              <a:spcBef>
                <a:spcPts val="0"/>
              </a:spcBef>
              <a:spcAft>
                <a:spcPts val="0"/>
              </a:spcAft>
              <a:buClr>
                <a:schemeClr val="lt1"/>
              </a:buClr>
              <a:buSzPts val="2400"/>
              <a:buNone/>
              <a:defRPr sz="2400">
                <a:solidFill>
                  <a:schemeClr val="lt1"/>
                </a:solidFill>
              </a:defRPr>
            </a:lvl4pPr>
            <a:lvl5pPr lvl="4" rtl="0">
              <a:spcBef>
                <a:spcPts val="0"/>
              </a:spcBef>
              <a:spcAft>
                <a:spcPts val="0"/>
              </a:spcAft>
              <a:buClr>
                <a:schemeClr val="lt1"/>
              </a:buClr>
              <a:buSzPts val="2400"/>
              <a:buNone/>
              <a:defRPr sz="2400">
                <a:solidFill>
                  <a:schemeClr val="lt1"/>
                </a:solidFill>
              </a:defRPr>
            </a:lvl5pPr>
            <a:lvl6pPr lvl="5" rtl="0">
              <a:spcBef>
                <a:spcPts val="0"/>
              </a:spcBef>
              <a:spcAft>
                <a:spcPts val="0"/>
              </a:spcAft>
              <a:buClr>
                <a:schemeClr val="lt1"/>
              </a:buClr>
              <a:buSzPts val="2400"/>
              <a:buNone/>
              <a:defRPr sz="2400">
                <a:solidFill>
                  <a:schemeClr val="lt1"/>
                </a:solidFill>
              </a:defRPr>
            </a:lvl6pPr>
            <a:lvl7pPr lvl="6" rtl="0">
              <a:spcBef>
                <a:spcPts val="0"/>
              </a:spcBef>
              <a:spcAft>
                <a:spcPts val="0"/>
              </a:spcAft>
              <a:buClr>
                <a:schemeClr val="lt1"/>
              </a:buClr>
              <a:buSzPts val="2400"/>
              <a:buNone/>
              <a:defRPr sz="2400">
                <a:solidFill>
                  <a:schemeClr val="lt1"/>
                </a:solidFill>
              </a:defRPr>
            </a:lvl7pPr>
            <a:lvl8pPr lvl="7" rtl="0">
              <a:spcBef>
                <a:spcPts val="0"/>
              </a:spcBef>
              <a:spcAft>
                <a:spcPts val="0"/>
              </a:spcAft>
              <a:buClr>
                <a:schemeClr val="lt1"/>
              </a:buClr>
              <a:buSzPts val="2400"/>
              <a:buNone/>
              <a:defRPr sz="2400">
                <a:solidFill>
                  <a:schemeClr val="lt1"/>
                </a:solidFill>
              </a:defRPr>
            </a:lvl8pPr>
            <a:lvl9pPr lvl="8" rtl="0">
              <a:spcBef>
                <a:spcPts val="0"/>
              </a:spcBef>
              <a:spcAft>
                <a:spcPts val="0"/>
              </a:spcAft>
              <a:buClr>
                <a:schemeClr val="lt1"/>
              </a:buClr>
              <a:buSzPts val="2400"/>
              <a:buNone/>
              <a:defRPr sz="2400">
                <a:solidFill>
                  <a:schemeClr val="lt1"/>
                </a:solidFill>
              </a:defRPr>
            </a:lvl9pPr>
          </a:lstStyle>
          <a:p>
            <a:endParaRPr/>
          </a:p>
        </p:txBody>
      </p:sp>
      <p:sp>
        <p:nvSpPr>
          <p:cNvPr id="360" name="Google Shape;360;p27"/>
          <p:cNvSpPr txBox="1">
            <a:spLocks noGrp="1"/>
          </p:cNvSpPr>
          <p:nvPr>
            <p:ph type="title" idx="6"/>
          </p:nvPr>
        </p:nvSpPr>
        <p:spPr>
          <a:xfrm>
            <a:off x="16234750" y="6138425"/>
            <a:ext cx="7452600" cy="5721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2400"/>
              <a:buFont typeface="Montserrat Black"/>
              <a:buNone/>
              <a:defRPr sz="2400">
                <a:solidFill>
                  <a:schemeClr val="lt1"/>
                </a:solidFill>
                <a:latin typeface="Montserrat Black"/>
                <a:ea typeface="Montserrat Black"/>
                <a:cs typeface="Montserrat Black"/>
                <a:sym typeface="Montserrat Black"/>
              </a:defRPr>
            </a:lvl1pPr>
            <a:lvl2pPr lvl="1" rtl="0">
              <a:spcBef>
                <a:spcPts val="0"/>
              </a:spcBef>
              <a:spcAft>
                <a:spcPts val="0"/>
              </a:spcAft>
              <a:buClr>
                <a:schemeClr val="lt1"/>
              </a:buClr>
              <a:buSzPts val="2400"/>
              <a:buNone/>
              <a:defRPr sz="2400">
                <a:solidFill>
                  <a:schemeClr val="lt1"/>
                </a:solidFill>
              </a:defRPr>
            </a:lvl2pPr>
            <a:lvl3pPr lvl="2" rtl="0">
              <a:spcBef>
                <a:spcPts val="0"/>
              </a:spcBef>
              <a:spcAft>
                <a:spcPts val="0"/>
              </a:spcAft>
              <a:buClr>
                <a:schemeClr val="lt1"/>
              </a:buClr>
              <a:buSzPts val="2400"/>
              <a:buNone/>
              <a:defRPr sz="2400">
                <a:solidFill>
                  <a:schemeClr val="lt1"/>
                </a:solidFill>
              </a:defRPr>
            </a:lvl3pPr>
            <a:lvl4pPr lvl="3" rtl="0">
              <a:spcBef>
                <a:spcPts val="0"/>
              </a:spcBef>
              <a:spcAft>
                <a:spcPts val="0"/>
              </a:spcAft>
              <a:buClr>
                <a:schemeClr val="lt1"/>
              </a:buClr>
              <a:buSzPts val="2400"/>
              <a:buNone/>
              <a:defRPr sz="2400">
                <a:solidFill>
                  <a:schemeClr val="lt1"/>
                </a:solidFill>
              </a:defRPr>
            </a:lvl4pPr>
            <a:lvl5pPr lvl="4" rtl="0">
              <a:spcBef>
                <a:spcPts val="0"/>
              </a:spcBef>
              <a:spcAft>
                <a:spcPts val="0"/>
              </a:spcAft>
              <a:buClr>
                <a:schemeClr val="lt1"/>
              </a:buClr>
              <a:buSzPts val="2400"/>
              <a:buNone/>
              <a:defRPr sz="2400">
                <a:solidFill>
                  <a:schemeClr val="lt1"/>
                </a:solidFill>
              </a:defRPr>
            </a:lvl5pPr>
            <a:lvl6pPr lvl="5" rtl="0">
              <a:spcBef>
                <a:spcPts val="0"/>
              </a:spcBef>
              <a:spcAft>
                <a:spcPts val="0"/>
              </a:spcAft>
              <a:buClr>
                <a:schemeClr val="lt1"/>
              </a:buClr>
              <a:buSzPts val="2400"/>
              <a:buNone/>
              <a:defRPr sz="2400">
                <a:solidFill>
                  <a:schemeClr val="lt1"/>
                </a:solidFill>
              </a:defRPr>
            </a:lvl6pPr>
            <a:lvl7pPr lvl="6" rtl="0">
              <a:spcBef>
                <a:spcPts val="0"/>
              </a:spcBef>
              <a:spcAft>
                <a:spcPts val="0"/>
              </a:spcAft>
              <a:buClr>
                <a:schemeClr val="lt1"/>
              </a:buClr>
              <a:buSzPts val="2400"/>
              <a:buNone/>
              <a:defRPr sz="2400">
                <a:solidFill>
                  <a:schemeClr val="lt1"/>
                </a:solidFill>
              </a:defRPr>
            </a:lvl7pPr>
            <a:lvl8pPr lvl="7" rtl="0">
              <a:spcBef>
                <a:spcPts val="0"/>
              </a:spcBef>
              <a:spcAft>
                <a:spcPts val="0"/>
              </a:spcAft>
              <a:buClr>
                <a:schemeClr val="lt1"/>
              </a:buClr>
              <a:buSzPts val="2400"/>
              <a:buNone/>
              <a:defRPr sz="2400">
                <a:solidFill>
                  <a:schemeClr val="lt1"/>
                </a:solidFill>
              </a:defRPr>
            </a:lvl8pPr>
            <a:lvl9pPr lvl="8" rtl="0">
              <a:spcBef>
                <a:spcPts val="0"/>
              </a:spcBef>
              <a:spcAft>
                <a:spcPts val="0"/>
              </a:spcAft>
              <a:buClr>
                <a:schemeClr val="lt1"/>
              </a:buClr>
              <a:buSzPts val="2400"/>
              <a:buNone/>
              <a:defRPr sz="2400">
                <a:solidFill>
                  <a:schemeClr val="lt1"/>
                </a:solidFill>
              </a:defRPr>
            </a:lvl9pPr>
          </a:lstStyle>
          <a:p>
            <a:endParaRPr/>
          </a:p>
        </p:txBody>
      </p:sp>
      <p:sp>
        <p:nvSpPr>
          <p:cNvPr id="361" name="Google Shape;361;p27"/>
          <p:cNvSpPr txBox="1">
            <a:spLocks noGrp="1"/>
          </p:cNvSpPr>
          <p:nvPr>
            <p:ph type="subTitle" idx="7"/>
          </p:nvPr>
        </p:nvSpPr>
        <p:spPr>
          <a:xfrm>
            <a:off x="16271350" y="3896050"/>
            <a:ext cx="6374700" cy="13338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1pPr>
            <a:lvl2pPr lvl="1"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2pPr>
            <a:lvl3pPr lvl="2"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3pPr>
            <a:lvl4pPr lvl="3"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4pPr>
            <a:lvl5pPr lvl="4"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5pPr>
            <a:lvl6pPr lvl="5"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6pPr>
            <a:lvl7pPr lvl="6"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7pPr>
            <a:lvl8pPr lvl="7"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8pPr>
            <a:lvl9pPr lvl="8"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9pPr>
          </a:lstStyle>
          <a:p>
            <a:endParaRPr/>
          </a:p>
        </p:txBody>
      </p:sp>
      <p:sp>
        <p:nvSpPr>
          <p:cNvPr id="362" name="Google Shape;362;p27"/>
          <p:cNvSpPr txBox="1">
            <a:spLocks noGrp="1"/>
          </p:cNvSpPr>
          <p:nvPr>
            <p:ph type="subTitle" idx="8"/>
          </p:nvPr>
        </p:nvSpPr>
        <p:spPr>
          <a:xfrm>
            <a:off x="16271350" y="6692075"/>
            <a:ext cx="6374700" cy="13338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1pPr>
            <a:lvl2pPr lvl="1"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2pPr>
            <a:lvl3pPr lvl="2"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3pPr>
            <a:lvl4pPr lvl="3"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4pPr>
            <a:lvl5pPr lvl="4"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5pPr>
            <a:lvl6pPr lvl="5"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6pPr>
            <a:lvl7pPr lvl="6"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7pPr>
            <a:lvl8pPr lvl="7"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8pPr>
            <a:lvl9pPr lvl="8"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9pPr>
          </a:lstStyle>
          <a:p>
            <a:endParaRPr/>
          </a:p>
        </p:txBody>
      </p:sp>
      <p:sp>
        <p:nvSpPr>
          <p:cNvPr id="363" name="Google Shape;363;p27"/>
          <p:cNvSpPr txBox="1">
            <a:spLocks noGrp="1"/>
          </p:cNvSpPr>
          <p:nvPr>
            <p:ph type="title" idx="9"/>
          </p:nvPr>
        </p:nvSpPr>
        <p:spPr>
          <a:xfrm>
            <a:off x="13428826" y="8681288"/>
            <a:ext cx="7633800" cy="737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400"/>
              <a:buFont typeface="Montserrat Black"/>
              <a:buNone/>
              <a:defRPr sz="2400">
                <a:solidFill>
                  <a:srgbClr val="C1F400"/>
                </a:solidFill>
                <a:latin typeface="Montserrat Black"/>
                <a:ea typeface="Montserrat Black"/>
                <a:cs typeface="Montserrat Black"/>
                <a:sym typeface="Montserrat Black"/>
              </a:defRPr>
            </a:lvl1pPr>
            <a:lvl2pPr lvl="1" rtl="0">
              <a:spcBef>
                <a:spcPts val="0"/>
              </a:spcBef>
              <a:spcAft>
                <a:spcPts val="0"/>
              </a:spcAft>
              <a:buSzPts val="2400"/>
              <a:buNone/>
              <a:defRPr sz="2400"/>
            </a:lvl2pPr>
            <a:lvl3pPr lvl="2" rtl="0">
              <a:spcBef>
                <a:spcPts val="0"/>
              </a:spcBef>
              <a:spcAft>
                <a:spcPts val="0"/>
              </a:spcAft>
              <a:buSzPts val="2400"/>
              <a:buNone/>
              <a:defRPr sz="2400"/>
            </a:lvl3pPr>
            <a:lvl4pPr lvl="3" rtl="0">
              <a:spcBef>
                <a:spcPts val="0"/>
              </a:spcBef>
              <a:spcAft>
                <a:spcPts val="0"/>
              </a:spcAft>
              <a:buSzPts val="2400"/>
              <a:buNone/>
              <a:defRPr sz="2400"/>
            </a:lvl4pPr>
            <a:lvl5pPr lvl="4" rtl="0">
              <a:spcBef>
                <a:spcPts val="0"/>
              </a:spcBef>
              <a:spcAft>
                <a:spcPts val="0"/>
              </a:spcAft>
              <a:buSzPts val="2400"/>
              <a:buNone/>
              <a:defRPr sz="2400"/>
            </a:lvl5pPr>
            <a:lvl6pPr lvl="5" rtl="0">
              <a:spcBef>
                <a:spcPts val="0"/>
              </a:spcBef>
              <a:spcAft>
                <a:spcPts val="0"/>
              </a:spcAft>
              <a:buSzPts val="2400"/>
              <a:buNone/>
              <a:defRPr sz="2400"/>
            </a:lvl6pPr>
            <a:lvl7pPr lvl="6" rtl="0">
              <a:spcBef>
                <a:spcPts val="0"/>
              </a:spcBef>
              <a:spcAft>
                <a:spcPts val="0"/>
              </a:spcAft>
              <a:buSzPts val="2400"/>
              <a:buNone/>
              <a:defRPr sz="2400"/>
            </a:lvl7pPr>
            <a:lvl8pPr lvl="7" rtl="0">
              <a:spcBef>
                <a:spcPts val="0"/>
              </a:spcBef>
              <a:spcAft>
                <a:spcPts val="0"/>
              </a:spcAft>
              <a:buSzPts val="2400"/>
              <a:buNone/>
              <a:defRPr sz="2400"/>
            </a:lvl8pPr>
            <a:lvl9pPr lvl="8" rtl="0">
              <a:spcBef>
                <a:spcPts val="0"/>
              </a:spcBef>
              <a:spcAft>
                <a:spcPts val="0"/>
              </a:spcAft>
              <a:buSzPts val="2400"/>
              <a:buNone/>
              <a:defRPr sz="2400"/>
            </a:lvl9pPr>
          </a:lstStyle>
          <a:p>
            <a:endParaRPr/>
          </a:p>
        </p:txBody>
      </p:sp>
      <p:sp>
        <p:nvSpPr>
          <p:cNvPr id="364" name="Google Shape;364;p27"/>
          <p:cNvSpPr/>
          <p:nvPr/>
        </p:nvSpPr>
        <p:spPr>
          <a:xfrm>
            <a:off x="13428825" y="9348913"/>
            <a:ext cx="1240500" cy="1240500"/>
          </a:xfrm>
          <a:prstGeom prst="ellipse">
            <a:avLst/>
          </a:prstGeom>
          <a:noFill/>
          <a:ln w="38100" cap="flat" cmpd="sng">
            <a:solidFill>
              <a:srgbClr val="C1F4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365" name="Google Shape;365;p27"/>
          <p:cNvSpPr>
            <a:spLocks noGrp="1"/>
          </p:cNvSpPr>
          <p:nvPr>
            <p:ph type="pic" idx="13"/>
          </p:nvPr>
        </p:nvSpPr>
        <p:spPr>
          <a:xfrm>
            <a:off x="13725675" y="9645763"/>
            <a:ext cx="646800" cy="646800"/>
          </a:xfrm>
          <a:prstGeom prst="ellipse">
            <a:avLst/>
          </a:prstGeom>
          <a:noFill/>
          <a:ln>
            <a:noFill/>
          </a:ln>
        </p:spPr>
      </p:sp>
      <p:sp>
        <p:nvSpPr>
          <p:cNvPr id="366" name="Google Shape;366;p27"/>
          <p:cNvSpPr/>
          <p:nvPr/>
        </p:nvSpPr>
        <p:spPr>
          <a:xfrm>
            <a:off x="15129725" y="9348913"/>
            <a:ext cx="1240500" cy="1240500"/>
          </a:xfrm>
          <a:prstGeom prst="ellipse">
            <a:avLst/>
          </a:prstGeom>
          <a:noFill/>
          <a:ln w="38100" cap="flat" cmpd="sng">
            <a:solidFill>
              <a:srgbClr val="C1F4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367" name="Google Shape;367;p27"/>
          <p:cNvSpPr>
            <a:spLocks noGrp="1"/>
          </p:cNvSpPr>
          <p:nvPr>
            <p:ph type="pic" idx="14"/>
          </p:nvPr>
        </p:nvSpPr>
        <p:spPr>
          <a:xfrm>
            <a:off x="15426575" y="9645763"/>
            <a:ext cx="646800" cy="646800"/>
          </a:xfrm>
          <a:prstGeom prst="ellipse">
            <a:avLst/>
          </a:prstGeom>
          <a:noFill/>
          <a:ln>
            <a:noFill/>
          </a:ln>
        </p:spPr>
      </p:sp>
      <p:sp>
        <p:nvSpPr>
          <p:cNvPr id="368" name="Google Shape;368;p27"/>
          <p:cNvSpPr/>
          <p:nvPr/>
        </p:nvSpPr>
        <p:spPr>
          <a:xfrm>
            <a:off x="16830625" y="9348913"/>
            <a:ext cx="1240500" cy="1240500"/>
          </a:xfrm>
          <a:prstGeom prst="ellipse">
            <a:avLst/>
          </a:prstGeom>
          <a:noFill/>
          <a:ln w="38100" cap="flat" cmpd="sng">
            <a:solidFill>
              <a:srgbClr val="C1F4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369" name="Google Shape;369;p27"/>
          <p:cNvSpPr>
            <a:spLocks noGrp="1"/>
          </p:cNvSpPr>
          <p:nvPr>
            <p:ph type="pic" idx="15"/>
          </p:nvPr>
        </p:nvSpPr>
        <p:spPr>
          <a:xfrm>
            <a:off x="17127475" y="9645763"/>
            <a:ext cx="646800" cy="646800"/>
          </a:xfrm>
          <a:prstGeom prst="ellipse">
            <a:avLst/>
          </a:prstGeom>
          <a:noFill/>
          <a:ln>
            <a:noFill/>
          </a:ln>
        </p:spPr>
      </p:sp>
      <p:sp>
        <p:nvSpPr>
          <p:cNvPr id="370" name="Google Shape;370;p27"/>
          <p:cNvSpPr/>
          <p:nvPr/>
        </p:nvSpPr>
        <p:spPr>
          <a:xfrm>
            <a:off x="18531525" y="9348913"/>
            <a:ext cx="1240500" cy="1240500"/>
          </a:xfrm>
          <a:prstGeom prst="ellipse">
            <a:avLst/>
          </a:prstGeom>
          <a:noFill/>
          <a:ln w="38100" cap="flat" cmpd="sng">
            <a:solidFill>
              <a:srgbClr val="C1F4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371" name="Google Shape;371;p27"/>
          <p:cNvSpPr>
            <a:spLocks noGrp="1"/>
          </p:cNvSpPr>
          <p:nvPr>
            <p:ph type="pic" idx="16"/>
          </p:nvPr>
        </p:nvSpPr>
        <p:spPr>
          <a:xfrm>
            <a:off x="18828375" y="9645763"/>
            <a:ext cx="646800" cy="646800"/>
          </a:xfrm>
          <a:prstGeom prst="ellipse">
            <a:avLst/>
          </a:prstGeom>
          <a:noFill/>
          <a:ln>
            <a:noFill/>
          </a:ln>
        </p:spPr>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Blank Slide 2">
  <p:cSld name="Blank Slide 2">
    <p:spTree>
      <p:nvGrpSpPr>
        <p:cNvPr id="1" name="Shape 372"/>
        <p:cNvGrpSpPr/>
        <p:nvPr/>
      </p:nvGrpSpPr>
      <p:grpSpPr>
        <a:xfrm>
          <a:off x="0" y="0"/>
          <a:ext cx="0" cy="0"/>
          <a:chOff x="0" y="0"/>
          <a:chExt cx="0" cy="0"/>
        </a:xfrm>
      </p:grpSpPr>
      <p:sp>
        <p:nvSpPr>
          <p:cNvPr id="373" name="Google Shape;373;p28"/>
          <p:cNvSpPr>
            <a:spLocks noGrp="1"/>
          </p:cNvSpPr>
          <p:nvPr>
            <p:ph type="sldNum" idx="12"/>
          </p:nvPr>
        </p:nvSpPr>
        <p:spPr>
          <a:xfrm>
            <a:off x="23009225" y="12420600"/>
            <a:ext cx="1006200" cy="1005600"/>
          </a:xfrm>
          <a:prstGeom prst="ellipse">
            <a:avLst/>
          </a:prstGeom>
          <a:solidFill>
            <a:schemeClr val="lt1"/>
          </a:solidFill>
          <a:ln>
            <a:noFill/>
          </a:ln>
        </p:spPr>
        <p:txBody>
          <a:bodyPr spcFirstLastPara="1" wrap="square" lIns="91450" tIns="45725" rIns="91450" bIns="45725" anchor="ctr" anchorCtr="0">
            <a:noAutofit/>
          </a:bodyPr>
          <a:lstStyle>
            <a:lvl1pPr marL="0" lvl="0" indent="0" algn="ctr" rtl="0">
              <a:spcBef>
                <a:spcPts val="0"/>
              </a:spcBef>
              <a:buNone/>
              <a:defRPr sz="2400" b="0" i="0" u="none" strike="noStrike" cap="none">
                <a:solidFill>
                  <a:srgbClr val="888888"/>
                </a:solidFill>
                <a:latin typeface="Century Gothic"/>
                <a:ea typeface="Century Gothic"/>
                <a:cs typeface="Century Gothic"/>
                <a:sym typeface="Century Gothic"/>
              </a:defRPr>
            </a:lvl1pPr>
            <a:lvl2pPr marL="0" lvl="1" indent="0" algn="ctr" rtl="0">
              <a:spcBef>
                <a:spcPts val="0"/>
              </a:spcBef>
              <a:buNone/>
              <a:defRPr sz="2400" b="0" i="0" u="none" strike="noStrike" cap="none">
                <a:solidFill>
                  <a:srgbClr val="888888"/>
                </a:solidFill>
                <a:latin typeface="Century Gothic"/>
                <a:ea typeface="Century Gothic"/>
                <a:cs typeface="Century Gothic"/>
                <a:sym typeface="Century Gothic"/>
              </a:defRPr>
            </a:lvl2pPr>
            <a:lvl3pPr marL="0" lvl="2" indent="0" algn="ctr" rtl="0">
              <a:spcBef>
                <a:spcPts val="0"/>
              </a:spcBef>
              <a:buNone/>
              <a:defRPr sz="2400" b="0" i="0" u="none" strike="noStrike" cap="none">
                <a:solidFill>
                  <a:srgbClr val="888888"/>
                </a:solidFill>
                <a:latin typeface="Century Gothic"/>
                <a:ea typeface="Century Gothic"/>
                <a:cs typeface="Century Gothic"/>
                <a:sym typeface="Century Gothic"/>
              </a:defRPr>
            </a:lvl3pPr>
            <a:lvl4pPr marL="0" lvl="3" indent="0" algn="ctr" rtl="0">
              <a:spcBef>
                <a:spcPts val="0"/>
              </a:spcBef>
              <a:buNone/>
              <a:defRPr sz="2400" b="0" i="0" u="none" strike="noStrike" cap="none">
                <a:solidFill>
                  <a:srgbClr val="888888"/>
                </a:solidFill>
                <a:latin typeface="Century Gothic"/>
                <a:ea typeface="Century Gothic"/>
                <a:cs typeface="Century Gothic"/>
                <a:sym typeface="Century Gothic"/>
              </a:defRPr>
            </a:lvl4pPr>
            <a:lvl5pPr marL="0" lvl="4" indent="0" algn="ctr" rtl="0">
              <a:spcBef>
                <a:spcPts val="0"/>
              </a:spcBef>
              <a:buNone/>
              <a:defRPr sz="2400" b="0" i="0" u="none" strike="noStrike" cap="none">
                <a:solidFill>
                  <a:srgbClr val="888888"/>
                </a:solidFill>
                <a:latin typeface="Century Gothic"/>
                <a:ea typeface="Century Gothic"/>
                <a:cs typeface="Century Gothic"/>
                <a:sym typeface="Century Gothic"/>
              </a:defRPr>
            </a:lvl5pPr>
            <a:lvl6pPr marL="0" lvl="5" indent="0" algn="ctr" rtl="0">
              <a:spcBef>
                <a:spcPts val="0"/>
              </a:spcBef>
              <a:buNone/>
              <a:defRPr sz="2400" b="0" i="0" u="none" strike="noStrike" cap="none">
                <a:solidFill>
                  <a:srgbClr val="888888"/>
                </a:solidFill>
                <a:latin typeface="Century Gothic"/>
                <a:ea typeface="Century Gothic"/>
                <a:cs typeface="Century Gothic"/>
                <a:sym typeface="Century Gothic"/>
              </a:defRPr>
            </a:lvl6pPr>
            <a:lvl7pPr marL="0" lvl="6" indent="0" algn="ctr" rtl="0">
              <a:spcBef>
                <a:spcPts val="0"/>
              </a:spcBef>
              <a:buNone/>
              <a:defRPr sz="2400" b="0" i="0" u="none" strike="noStrike" cap="none">
                <a:solidFill>
                  <a:srgbClr val="888888"/>
                </a:solidFill>
                <a:latin typeface="Century Gothic"/>
                <a:ea typeface="Century Gothic"/>
                <a:cs typeface="Century Gothic"/>
                <a:sym typeface="Century Gothic"/>
              </a:defRPr>
            </a:lvl7pPr>
            <a:lvl8pPr marL="0" lvl="7" indent="0" algn="ctr" rtl="0">
              <a:spcBef>
                <a:spcPts val="0"/>
              </a:spcBef>
              <a:buNone/>
              <a:defRPr sz="2400" b="0" i="0" u="none" strike="noStrike" cap="none">
                <a:solidFill>
                  <a:srgbClr val="888888"/>
                </a:solidFill>
                <a:latin typeface="Century Gothic"/>
                <a:ea typeface="Century Gothic"/>
                <a:cs typeface="Century Gothic"/>
                <a:sym typeface="Century Gothic"/>
              </a:defRPr>
            </a:lvl8pPr>
            <a:lvl9pPr marL="0" lvl="8" indent="0" algn="ctr" rtl="0">
              <a:spcBef>
                <a:spcPts val="0"/>
              </a:spcBef>
              <a:buNone/>
              <a:defRPr sz="2400" b="0" i="0" u="none" strike="noStrike" cap="none">
                <a:solidFill>
                  <a:srgbClr val="888888"/>
                </a:solidFill>
                <a:latin typeface="Century Gothic"/>
                <a:ea typeface="Century Gothic"/>
                <a:cs typeface="Century Gothic"/>
                <a:sym typeface="Century Gothic"/>
              </a:defRPr>
            </a:lvl9pPr>
          </a:lstStyle>
          <a:p>
            <a:pPr marL="0" lvl="0" indent="0" algn="ctr" rtl="0">
              <a:spcBef>
                <a:spcPts val="0"/>
              </a:spcBef>
              <a:spcAft>
                <a:spcPts val="0"/>
              </a:spcAft>
              <a:buNone/>
            </a:pPr>
            <a:fld id="{00000000-1234-1234-1234-123412341234}" type="slidenum">
              <a:rPr lang="en-US"/>
              <a:t>‹#›</a:t>
            </a:fld>
            <a:endParaRPr/>
          </a:p>
        </p:txBody>
      </p:sp>
      <p:sp>
        <p:nvSpPr>
          <p:cNvPr id="374" name="Google Shape;374;p28"/>
          <p:cNvSpPr txBox="1">
            <a:spLocks noGrp="1"/>
          </p:cNvSpPr>
          <p:nvPr>
            <p:ph type="dt" idx="10"/>
          </p:nvPr>
        </p:nvSpPr>
        <p:spPr>
          <a:xfrm>
            <a:off x="454025" y="12512040"/>
            <a:ext cx="1981200" cy="730500"/>
          </a:xfrm>
          <a:prstGeom prst="rect">
            <a:avLst/>
          </a:prstGeom>
          <a:noFill/>
          <a:ln>
            <a:noFill/>
          </a:ln>
        </p:spPr>
        <p:txBody>
          <a:bodyPr spcFirstLastPara="1" wrap="square" lIns="91450" tIns="45725" rIns="91450" bIns="45725" anchor="ctr" anchorCtr="0">
            <a:noAutofit/>
          </a:bodyPr>
          <a:lstStyle>
            <a:lvl1pPr lvl="0" algn="l" rtl="0">
              <a:spcBef>
                <a:spcPts val="0"/>
              </a:spcBef>
              <a:spcAft>
                <a:spcPts val="0"/>
              </a:spcAft>
              <a:buSzPts val="1300"/>
              <a:buNone/>
              <a:defRPr sz="2400">
                <a:solidFill>
                  <a:srgbClr val="888888"/>
                </a:solidFill>
                <a:latin typeface="Century Gothic"/>
                <a:ea typeface="Century Gothic"/>
                <a:cs typeface="Century Gothic"/>
                <a:sym typeface="Century Gothic"/>
              </a:defRPr>
            </a:lvl1pPr>
            <a:lvl2pPr lvl="1" algn="l" rtl="0">
              <a:spcBef>
                <a:spcPts val="0"/>
              </a:spcBef>
              <a:spcAft>
                <a:spcPts val="0"/>
              </a:spcAft>
              <a:buSzPts val="1300"/>
              <a:buNone/>
              <a:defRPr sz="1300"/>
            </a:lvl2pPr>
            <a:lvl3pPr lvl="2" algn="l" rtl="0">
              <a:spcBef>
                <a:spcPts val="0"/>
              </a:spcBef>
              <a:spcAft>
                <a:spcPts val="0"/>
              </a:spcAft>
              <a:buSzPts val="1300"/>
              <a:buNone/>
              <a:defRPr sz="1300"/>
            </a:lvl3pPr>
            <a:lvl4pPr lvl="3" algn="l" rtl="0">
              <a:spcBef>
                <a:spcPts val="0"/>
              </a:spcBef>
              <a:spcAft>
                <a:spcPts val="0"/>
              </a:spcAft>
              <a:buSzPts val="1300"/>
              <a:buNone/>
              <a:defRPr sz="1300"/>
            </a:lvl4pPr>
            <a:lvl5pPr lvl="4" algn="l" rtl="0">
              <a:spcBef>
                <a:spcPts val="0"/>
              </a:spcBef>
              <a:spcAft>
                <a:spcPts val="0"/>
              </a:spcAft>
              <a:buSzPts val="1300"/>
              <a:buNone/>
              <a:defRPr sz="1300"/>
            </a:lvl5pPr>
            <a:lvl6pPr lvl="5" algn="l" rtl="0">
              <a:spcBef>
                <a:spcPts val="0"/>
              </a:spcBef>
              <a:spcAft>
                <a:spcPts val="0"/>
              </a:spcAft>
              <a:buSzPts val="1300"/>
              <a:buNone/>
              <a:defRPr sz="1300"/>
            </a:lvl6pPr>
            <a:lvl7pPr lvl="6" algn="l" rtl="0">
              <a:spcBef>
                <a:spcPts val="0"/>
              </a:spcBef>
              <a:spcAft>
                <a:spcPts val="0"/>
              </a:spcAft>
              <a:buSzPts val="1300"/>
              <a:buNone/>
              <a:defRPr sz="1300"/>
            </a:lvl7pPr>
            <a:lvl8pPr lvl="7" algn="l" rtl="0">
              <a:spcBef>
                <a:spcPts val="0"/>
              </a:spcBef>
              <a:spcAft>
                <a:spcPts val="0"/>
              </a:spcAft>
              <a:buSzPts val="1300"/>
              <a:buNone/>
              <a:defRPr sz="1300"/>
            </a:lvl8pPr>
            <a:lvl9pPr lvl="8" algn="l" rtl="0">
              <a:spcBef>
                <a:spcPts val="0"/>
              </a:spcBef>
              <a:spcAft>
                <a:spcPts val="0"/>
              </a:spcAft>
              <a:buSzPts val="1300"/>
              <a:buNone/>
              <a:defRPr sz="1300"/>
            </a:lvl9pPr>
          </a:lstStyle>
          <a:p>
            <a:endParaRPr/>
          </a:p>
        </p:txBody>
      </p:sp>
      <p:sp>
        <p:nvSpPr>
          <p:cNvPr id="375" name="Google Shape;375;p28"/>
          <p:cNvSpPr txBox="1">
            <a:spLocks noGrp="1"/>
          </p:cNvSpPr>
          <p:nvPr>
            <p:ph type="ftr" idx="11"/>
          </p:nvPr>
        </p:nvSpPr>
        <p:spPr>
          <a:xfrm>
            <a:off x="3044825" y="12512040"/>
            <a:ext cx="19559700" cy="730500"/>
          </a:xfrm>
          <a:prstGeom prst="rect">
            <a:avLst/>
          </a:prstGeom>
          <a:noFill/>
          <a:ln>
            <a:noFill/>
          </a:ln>
        </p:spPr>
        <p:txBody>
          <a:bodyPr spcFirstLastPara="1" wrap="square" lIns="91450" tIns="45725" rIns="91450" bIns="45725" anchor="ctr" anchorCtr="0">
            <a:noAutofit/>
          </a:bodyPr>
          <a:lstStyle>
            <a:lvl1pPr lvl="0" algn="ctr" rtl="0">
              <a:spcBef>
                <a:spcPts val="0"/>
              </a:spcBef>
              <a:spcAft>
                <a:spcPts val="0"/>
              </a:spcAft>
              <a:buSzPts val="1300"/>
              <a:buNone/>
              <a:defRPr sz="2400">
                <a:solidFill>
                  <a:srgbClr val="888888"/>
                </a:solidFill>
                <a:latin typeface="Century Gothic"/>
                <a:ea typeface="Century Gothic"/>
                <a:cs typeface="Century Gothic"/>
                <a:sym typeface="Century Gothic"/>
              </a:defRPr>
            </a:lvl1pPr>
            <a:lvl2pPr lvl="1" algn="l" rtl="0">
              <a:spcBef>
                <a:spcPts val="0"/>
              </a:spcBef>
              <a:spcAft>
                <a:spcPts val="0"/>
              </a:spcAft>
              <a:buSzPts val="1300"/>
              <a:buNone/>
              <a:defRPr sz="1300"/>
            </a:lvl2pPr>
            <a:lvl3pPr lvl="2" algn="l" rtl="0">
              <a:spcBef>
                <a:spcPts val="0"/>
              </a:spcBef>
              <a:spcAft>
                <a:spcPts val="0"/>
              </a:spcAft>
              <a:buSzPts val="1300"/>
              <a:buNone/>
              <a:defRPr sz="1300"/>
            </a:lvl3pPr>
            <a:lvl4pPr lvl="3" algn="l" rtl="0">
              <a:spcBef>
                <a:spcPts val="0"/>
              </a:spcBef>
              <a:spcAft>
                <a:spcPts val="0"/>
              </a:spcAft>
              <a:buSzPts val="1300"/>
              <a:buNone/>
              <a:defRPr sz="1300"/>
            </a:lvl4pPr>
            <a:lvl5pPr lvl="4" algn="l" rtl="0">
              <a:spcBef>
                <a:spcPts val="0"/>
              </a:spcBef>
              <a:spcAft>
                <a:spcPts val="0"/>
              </a:spcAft>
              <a:buSzPts val="1300"/>
              <a:buNone/>
              <a:defRPr sz="1300"/>
            </a:lvl5pPr>
            <a:lvl6pPr lvl="5" algn="l" rtl="0">
              <a:spcBef>
                <a:spcPts val="0"/>
              </a:spcBef>
              <a:spcAft>
                <a:spcPts val="0"/>
              </a:spcAft>
              <a:buSzPts val="1300"/>
              <a:buNone/>
              <a:defRPr sz="1300"/>
            </a:lvl6pPr>
            <a:lvl7pPr lvl="6" algn="l" rtl="0">
              <a:spcBef>
                <a:spcPts val="0"/>
              </a:spcBef>
              <a:spcAft>
                <a:spcPts val="0"/>
              </a:spcAft>
              <a:buSzPts val="1300"/>
              <a:buNone/>
              <a:defRPr sz="1300"/>
            </a:lvl7pPr>
            <a:lvl8pPr lvl="7" algn="l" rtl="0">
              <a:spcBef>
                <a:spcPts val="0"/>
              </a:spcBef>
              <a:spcAft>
                <a:spcPts val="0"/>
              </a:spcAft>
              <a:buSzPts val="1300"/>
              <a:buNone/>
              <a:defRPr sz="1300"/>
            </a:lvl8pPr>
            <a:lvl9pPr lvl="8" algn="l" rtl="0">
              <a:spcBef>
                <a:spcPts val="0"/>
              </a:spcBef>
              <a:spcAft>
                <a:spcPts val="0"/>
              </a:spcAft>
              <a:buSzPts val="1300"/>
              <a:buNone/>
              <a:defRPr sz="1300"/>
            </a:lvl9pPr>
          </a:lstStyle>
          <a:p>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Icon Stats - 4">
  <p:cSld name="Icon Stats - 4">
    <p:spTree>
      <p:nvGrpSpPr>
        <p:cNvPr id="1" name="Shape 376"/>
        <p:cNvGrpSpPr/>
        <p:nvPr/>
      </p:nvGrpSpPr>
      <p:grpSpPr>
        <a:xfrm>
          <a:off x="0" y="0"/>
          <a:ext cx="0" cy="0"/>
          <a:chOff x="0" y="0"/>
          <a:chExt cx="0" cy="0"/>
        </a:xfrm>
      </p:grpSpPr>
      <p:sp>
        <p:nvSpPr>
          <p:cNvPr id="377" name="Google Shape;377;p29"/>
          <p:cNvSpPr txBox="1">
            <a:spLocks noGrp="1"/>
          </p:cNvSpPr>
          <p:nvPr>
            <p:ph type="sldNum" idx="12"/>
          </p:nvPr>
        </p:nvSpPr>
        <p:spPr>
          <a:xfrm>
            <a:off x="22587337" y="12435245"/>
            <a:ext cx="1462800" cy="1049700"/>
          </a:xfrm>
          <a:prstGeom prst="rect">
            <a:avLst/>
          </a:prstGeom>
        </p:spPr>
        <p:txBody>
          <a:bodyPr spcFirstLastPara="1" wrap="square" lIns="91425" tIns="45700" rIns="91425" bIns="4570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ctr" rtl="0">
              <a:spcBef>
                <a:spcPts val="0"/>
              </a:spcBef>
              <a:spcAft>
                <a:spcPts val="0"/>
              </a:spcAft>
              <a:buNone/>
            </a:pPr>
            <a:fld id="{00000000-1234-1234-1234-123412341234}" type="slidenum">
              <a:rPr lang="en-US"/>
              <a:t>‹#›</a:t>
            </a:fld>
            <a:endParaRPr/>
          </a:p>
        </p:txBody>
      </p:sp>
      <p:pic>
        <p:nvPicPr>
          <p:cNvPr id="378" name="Google Shape;378;p29"/>
          <p:cNvPicPr preferRelativeResize="0"/>
          <p:nvPr/>
        </p:nvPicPr>
        <p:blipFill>
          <a:blip r:embed="rId2">
            <a:alphaModFix/>
          </a:blip>
          <a:stretch>
            <a:fillRect/>
          </a:stretch>
        </p:blipFill>
        <p:spPr>
          <a:xfrm>
            <a:off x="0" y="-7685775"/>
            <a:ext cx="24371308" cy="9377241"/>
          </a:xfrm>
          <a:prstGeom prst="rect">
            <a:avLst/>
          </a:prstGeom>
          <a:noFill/>
          <a:ln>
            <a:noFill/>
          </a:ln>
        </p:spPr>
      </p:pic>
      <p:pic>
        <p:nvPicPr>
          <p:cNvPr id="379" name="Google Shape;379;p29"/>
          <p:cNvPicPr preferRelativeResize="0"/>
          <p:nvPr/>
        </p:nvPicPr>
        <p:blipFill>
          <a:blip r:embed="rId2">
            <a:alphaModFix/>
          </a:blip>
          <a:stretch>
            <a:fillRect/>
          </a:stretch>
        </p:blipFill>
        <p:spPr>
          <a:xfrm>
            <a:off x="0" y="12465400"/>
            <a:ext cx="24371308" cy="9377241"/>
          </a:xfrm>
          <a:prstGeom prst="rect">
            <a:avLst/>
          </a:prstGeom>
          <a:noFill/>
          <a:ln>
            <a:noFill/>
          </a:ln>
        </p:spPr>
      </p:pic>
      <p:sp>
        <p:nvSpPr>
          <p:cNvPr id="380" name="Google Shape;380;p29"/>
          <p:cNvSpPr/>
          <p:nvPr/>
        </p:nvSpPr>
        <p:spPr>
          <a:xfrm>
            <a:off x="9107125" y="3160525"/>
            <a:ext cx="1776300" cy="1776000"/>
          </a:xfrm>
          <a:prstGeom prst="ellipse">
            <a:avLst/>
          </a:prstGeom>
          <a:solidFill>
            <a:srgbClr val="C1F400"/>
          </a:solidFill>
          <a:ln>
            <a:noFill/>
          </a:ln>
        </p:spPr>
        <p:txBody>
          <a:bodyPr spcFirstLastPara="1" wrap="square" lIns="91450" tIns="91450" rIns="91450" bIns="91450" anchor="ctr" anchorCtr="0">
            <a:noAutofit/>
          </a:bodyPr>
          <a:lstStyle/>
          <a:p>
            <a:pPr marL="0" lvl="0" indent="0" algn="ctr" rtl="0">
              <a:spcBef>
                <a:spcPts val="0"/>
              </a:spcBef>
              <a:spcAft>
                <a:spcPts val="0"/>
              </a:spcAft>
              <a:buNone/>
            </a:pPr>
            <a:endParaRPr sz="1300"/>
          </a:p>
        </p:txBody>
      </p:sp>
      <p:sp>
        <p:nvSpPr>
          <p:cNvPr id="381" name="Google Shape;381;p29"/>
          <p:cNvSpPr/>
          <p:nvPr/>
        </p:nvSpPr>
        <p:spPr>
          <a:xfrm>
            <a:off x="9107125" y="7351525"/>
            <a:ext cx="1776300" cy="1776000"/>
          </a:xfrm>
          <a:prstGeom prst="ellipse">
            <a:avLst/>
          </a:prstGeom>
          <a:solidFill>
            <a:srgbClr val="C1F400"/>
          </a:solidFill>
          <a:ln>
            <a:noFill/>
          </a:ln>
        </p:spPr>
        <p:txBody>
          <a:bodyPr spcFirstLastPara="1" wrap="square" lIns="91450" tIns="91450" rIns="91450" bIns="91450" anchor="ctr" anchorCtr="0">
            <a:noAutofit/>
          </a:bodyPr>
          <a:lstStyle/>
          <a:p>
            <a:pPr marL="0" lvl="0" indent="0" algn="ctr" rtl="0">
              <a:spcBef>
                <a:spcPts val="0"/>
              </a:spcBef>
              <a:spcAft>
                <a:spcPts val="0"/>
              </a:spcAft>
              <a:buNone/>
            </a:pPr>
            <a:endParaRPr sz="1300"/>
          </a:p>
        </p:txBody>
      </p:sp>
      <p:sp>
        <p:nvSpPr>
          <p:cNvPr id="382" name="Google Shape;382;p29"/>
          <p:cNvSpPr/>
          <p:nvPr/>
        </p:nvSpPr>
        <p:spPr>
          <a:xfrm>
            <a:off x="15865125" y="3160525"/>
            <a:ext cx="1776300" cy="1776000"/>
          </a:xfrm>
          <a:prstGeom prst="ellipse">
            <a:avLst/>
          </a:prstGeom>
          <a:solidFill>
            <a:srgbClr val="C1F400"/>
          </a:solidFill>
          <a:ln>
            <a:noFill/>
          </a:ln>
        </p:spPr>
        <p:txBody>
          <a:bodyPr spcFirstLastPara="1" wrap="square" lIns="91450" tIns="91450" rIns="91450" bIns="91450" anchor="ctr" anchorCtr="0">
            <a:noAutofit/>
          </a:bodyPr>
          <a:lstStyle/>
          <a:p>
            <a:pPr marL="0" lvl="0" indent="0" algn="ctr" rtl="0">
              <a:spcBef>
                <a:spcPts val="0"/>
              </a:spcBef>
              <a:spcAft>
                <a:spcPts val="0"/>
              </a:spcAft>
              <a:buNone/>
            </a:pPr>
            <a:endParaRPr sz="1300"/>
          </a:p>
        </p:txBody>
      </p:sp>
      <p:sp>
        <p:nvSpPr>
          <p:cNvPr id="383" name="Google Shape;383;p29"/>
          <p:cNvSpPr/>
          <p:nvPr/>
        </p:nvSpPr>
        <p:spPr>
          <a:xfrm>
            <a:off x="15865125" y="7351525"/>
            <a:ext cx="1776300" cy="1776000"/>
          </a:xfrm>
          <a:prstGeom prst="ellipse">
            <a:avLst/>
          </a:prstGeom>
          <a:solidFill>
            <a:srgbClr val="C1F400"/>
          </a:solidFill>
          <a:ln>
            <a:noFill/>
          </a:ln>
        </p:spPr>
        <p:txBody>
          <a:bodyPr spcFirstLastPara="1" wrap="square" lIns="91450" tIns="91450" rIns="91450" bIns="91450" anchor="ctr" anchorCtr="0">
            <a:noAutofit/>
          </a:bodyPr>
          <a:lstStyle/>
          <a:p>
            <a:pPr marL="0" lvl="0" indent="0" algn="ctr" rtl="0">
              <a:spcBef>
                <a:spcPts val="0"/>
              </a:spcBef>
              <a:spcAft>
                <a:spcPts val="0"/>
              </a:spcAft>
              <a:buNone/>
            </a:pPr>
            <a:endParaRPr sz="1300"/>
          </a:p>
        </p:txBody>
      </p:sp>
      <p:sp>
        <p:nvSpPr>
          <p:cNvPr id="384" name="Google Shape;384;p29"/>
          <p:cNvSpPr txBox="1">
            <a:spLocks noGrp="1"/>
          </p:cNvSpPr>
          <p:nvPr>
            <p:ph type="title"/>
          </p:nvPr>
        </p:nvSpPr>
        <p:spPr>
          <a:xfrm>
            <a:off x="1948425" y="2855725"/>
            <a:ext cx="6875100" cy="2650500"/>
          </a:xfrm>
          <a:prstGeom prst="rect">
            <a:avLst/>
          </a:prstGeom>
          <a:noFill/>
          <a:ln>
            <a:noFill/>
          </a:ln>
        </p:spPr>
        <p:txBody>
          <a:bodyPr spcFirstLastPara="1" wrap="square" lIns="91450" tIns="91450" rIns="91450" bIns="91450" anchor="t" anchorCtr="0">
            <a:noAutofit/>
          </a:bodyPr>
          <a:lstStyle>
            <a:lvl1pPr lvl="0" rtl="0">
              <a:spcBef>
                <a:spcPts val="0"/>
              </a:spcBef>
              <a:spcAft>
                <a:spcPts val="0"/>
              </a:spcAft>
              <a:buClr>
                <a:srgbClr val="002A44"/>
              </a:buClr>
              <a:buSzPts val="7200"/>
              <a:buFont typeface="Montserrat Black"/>
              <a:buNone/>
              <a:defRPr sz="7200">
                <a:solidFill>
                  <a:srgbClr val="002A44"/>
                </a:solidFill>
                <a:latin typeface="Montserrat Black"/>
                <a:ea typeface="Montserrat Black"/>
                <a:cs typeface="Montserrat Black"/>
                <a:sym typeface="Montserrat Black"/>
              </a:defRPr>
            </a:lvl1pPr>
            <a:lvl2pPr lvl="1" rtl="0">
              <a:spcBef>
                <a:spcPts val="0"/>
              </a:spcBef>
              <a:spcAft>
                <a:spcPts val="0"/>
              </a:spcAft>
              <a:buSzPts val="7200"/>
              <a:buNone/>
              <a:defRPr sz="7200"/>
            </a:lvl2pPr>
            <a:lvl3pPr lvl="2" rtl="0">
              <a:spcBef>
                <a:spcPts val="0"/>
              </a:spcBef>
              <a:spcAft>
                <a:spcPts val="0"/>
              </a:spcAft>
              <a:buSzPts val="7200"/>
              <a:buNone/>
              <a:defRPr sz="7200"/>
            </a:lvl3pPr>
            <a:lvl4pPr lvl="3" rtl="0">
              <a:spcBef>
                <a:spcPts val="0"/>
              </a:spcBef>
              <a:spcAft>
                <a:spcPts val="0"/>
              </a:spcAft>
              <a:buSzPts val="7200"/>
              <a:buNone/>
              <a:defRPr sz="7200"/>
            </a:lvl4pPr>
            <a:lvl5pPr lvl="4" rtl="0">
              <a:spcBef>
                <a:spcPts val="0"/>
              </a:spcBef>
              <a:spcAft>
                <a:spcPts val="0"/>
              </a:spcAft>
              <a:buSzPts val="7200"/>
              <a:buNone/>
              <a:defRPr sz="7200"/>
            </a:lvl5pPr>
            <a:lvl6pPr lvl="5" rtl="0">
              <a:spcBef>
                <a:spcPts val="0"/>
              </a:spcBef>
              <a:spcAft>
                <a:spcPts val="0"/>
              </a:spcAft>
              <a:buSzPts val="7200"/>
              <a:buNone/>
              <a:defRPr sz="7200"/>
            </a:lvl6pPr>
            <a:lvl7pPr lvl="6" rtl="0">
              <a:spcBef>
                <a:spcPts val="0"/>
              </a:spcBef>
              <a:spcAft>
                <a:spcPts val="0"/>
              </a:spcAft>
              <a:buSzPts val="7200"/>
              <a:buNone/>
              <a:defRPr sz="7200"/>
            </a:lvl7pPr>
            <a:lvl8pPr lvl="7" rtl="0">
              <a:spcBef>
                <a:spcPts val="0"/>
              </a:spcBef>
              <a:spcAft>
                <a:spcPts val="0"/>
              </a:spcAft>
              <a:buSzPts val="7200"/>
              <a:buNone/>
              <a:defRPr sz="7200"/>
            </a:lvl8pPr>
            <a:lvl9pPr lvl="8" rtl="0">
              <a:spcBef>
                <a:spcPts val="0"/>
              </a:spcBef>
              <a:spcAft>
                <a:spcPts val="0"/>
              </a:spcAft>
              <a:buSzPts val="7200"/>
              <a:buNone/>
              <a:defRPr sz="7200"/>
            </a:lvl9pPr>
          </a:lstStyle>
          <a:p>
            <a:endParaRPr/>
          </a:p>
        </p:txBody>
      </p:sp>
      <p:sp>
        <p:nvSpPr>
          <p:cNvPr id="385" name="Google Shape;385;p29"/>
          <p:cNvSpPr txBox="1">
            <a:spLocks noGrp="1"/>
          </p:cNvSpPr>
          <p:nvPr>
            <p:ph type="subTitle" idx="1"/>
          </p:nvPr>
        </p:nvSpPr>
        <p:spPr>
          <a:xfrm>
            <a:off x="2026525" y="6668050"/>
            <a:ext cx="6080100" cy="2438400"/>
          </a:xfrm>
          <a:prstGeom prst="rect">
            <a:avLst/>
          </a:prstGeom>
          <a:noFill/>
          <a:ln>
            <a:noFill/>
          </a:ln>
        </p:spPr>
        <p:txBody>
          <a:bodyPr spcFirstLastPara="1" wrap="square" lIns="91450" tIns="91450" rIns="91450" bIns="91450" anchor="t" anchorCtr="0">
            <a:noAutofit/>
          </a:bodyPr>
          <a:lstStyle>
            <a:lvl1pPr lvl="0" rtl="0">
              <a:spcBef>
                <a:spcPts val="0"/>
              </a:spcBef>
              <a:spcAft>
                <a:spcPts val="0"/>
              </a:spcAft>
              <a:buClr>
                <a:srgbClr val="002A44"/>
              </a:buClr>
              <a:buSzPts val="3700"/>
              <a:buFont typeface="Montserrat"/>
              <a:buNone/>
              <a:defRPr sz="3700">
                <a:solidFill>
                  <a:srgbClr val="002A44"/>
                </a:solidFill>
                <a:latin typeface="Montserrat"/>
                <a:ea typeface="Montserrat"/>
                <a:cs typeface="Montserrat"/>
                <a:sym typeface="Montserrat"/>
              </a:defRPr>
            </a:lvl1pPr>
            <a:lvl2pPr lvl="1" rtl="0">
              <a:spcBef>
                <a:spcPts val="0"/>
              </a:spcBef>
              <a:spcAft>
                <a:spcPts val="0"/>
              </a:spcAft>
              <a:buSzPts val="3700"/>
              <a:buNone/>
              <a:defRPr sz="3700"/>
            </a:lvl2pPr>
            <a:lvl3pPr lvl="2" rtl="0">
              <a:spcBef>
                <a:spcPts val="0"/>
              </a:spcBef>
              <a:spcAft>
                <a:spcPts val="0"/>
              </a:spcAft>
              <a:buSzPts val="3700"/>
              <a:buNone/>
              <a:defRPr sz="3700"/>
            </a:lvl3pPr>
            <a:lvl4pPr lvl="3" rtl="0">
              <a:spcBef>
                <a:spcPts val="0"/>
              </a:spcBef>
              <a:spcAft>
                <a:spcPts val="0"/>
              </a:spcAft>
              <a:buSzPts val="3700"/>
              <a:buNone/>
              <a:defRPr sz="3700"/>
            </a:lvl4pPr>
            <a:lvl5pPr lvl="4" rtl="0">
              <a:spcBef>
                <a:spcPts val="0"/>
              </a:spcBef>
              <a:spcAft>
                <a:spcPts val="0"/>
              </a:spcAft>
              <a:buSzPts val="3700"/>
              <a:buNone/>
              <a:defRPr sz="3700"/>
            </a:lvl5pPr>
            <a:lvl6pPr lvl="5" rtl="0">
              <a:spcBef>
                <a:spcPts val="0"/>
              </a:spcBef>
              <a:spcAft>
                <a:spcPts val="0"/>
              </a:spcAft>
              <a:buSzPts val="3700"/>
              <a:buNone/>
              <a:defRPr sz="3700"/>
            </a:lvl6pPr>
            <a:lvl7pPr lvl="6" rtl="0">
              <a:spcBef>
                <a:spcPts val="0"/>
              </a:spcBef>
              <a:spcAft>
                <a:spcPts val="0"/>
              </a:spcAft>
              <a:buSzPts val="3700"/>
              <a:buNone/>
              <a:defRPr sz="3700"/>
            </a:lvl7pPr>
            <a:lvl8pPr lvl="7" rtl="0">
              <a:spcBef>
                <a:spcPts val="0"/>
              </a:spcBef>
              <a:spcAft>
                <a:spcPts val="0"/>
              </a:spcAft>
              <a:buSzPts val="3700"/>
              <a:buNone/>
              <a:defRPr sz="3700"/>
            </a:lvl8pPr>
            <a:lvl9pPr lvl="8" rtl="0">
              <a:spcBef>
                <a:spcPts val="0"/>
              </a:spcBef>
              <a:spcAft>
                <a:spcPts val="0"/>
              </a:spcAft>
              <a:buSzPts val="3700"/>
              <a:buNone/>
              <a:defRPr sz="3700"/>
            </a:lvl9pPr>
          </a:lstStyle>
          <a:p>
            <a:endParaRPr/>
          </a:p>
        </p:txBody>
      </p:sp>
      <p:sp>
        <p:nvSpPr>
          <p:cNvPr id="386" name="Google Shape;386;p29"/>
          <p:cNvSpPr txBox="1">
            <a:spLocks noGrp="1"/>
          </p:cNvSpPr>
          <p:nvPr>
            <p:ph type="title" idx="2"/>
          </p:nvPr>
        </p:nvSpPr>
        <p:spPr>
          <a:xfrm>
            <a:off x="11325025" y="3160525"/>
            <a:ext cx="3922200" cy="737700"/>
          </a:xfrm>
          <a:prstGeom prst="rect">
            <a:avLst/>
          </a:prstGeom>
          <a:noFill/>
          <a:ln>
            <a:noFill/>
          </a:ln>
        </p:spPr>
        <p:txBody>
          <a:bodyPr spcFirstLastPara="1" wrap="square" lIns="91450" tIns="91450" rIns="91450" bIns="91450" anchor="t" anchorCtr="0">
            <a:noAutofit/>
          </a:bodyPr>
          <a:lstStyle>
            <a:lvl1pPr lvl="0" rtl="0">
              <a:spcBef>
                <a:spcPts val="0"/>
              </a:spcBef>
              <a:spcAft>
                <a:spcPts val="0"/>
              </a:spcAft>
              <a:buClr>
                <a:srgbClr val="002A44"/>
              </a:buClr>
              <a:buSzPts val="3700"/>
              <a:buFont typeface="Montserrat Black"/>
              <a:buNone/>
              <a:defRPr sz="3700">
                <a:solidFill>
                  <a:srgbClr val="002A44"/>
                </a:solidFill>
                <a:latin typeface="Montserrat Black"/>
                <a:ea typeface="Montserrat Black"/>
                <a:cs typeface="Montserrat Black"/>
                <a:sym typeface="Montserrat Black"/>
              </a:defRPr>
            </a:lvl1pPr>
            <a:lvl2pPr lvl="1" rtl="0">
              <a:spcBef>
                <a:spcPts val="0"/>
              </a:spcBef>
              <a:spcAft>
                <a:spcPts val="0"/>
              </a:spcAft>
              <a:buSzPts val="3700"/>
              <a:buNone/>
              <a:defRPr sz="3700"/>
            </a:lvl2pPr>
            <a:lvl3pPr lvl="2" rtl="0">
              <a:spcBef>
                <a:spcPts val="0"/>
              </a:spcBef>
              <a:spcAft>
                <a:spcPts val="0"/>
              </a:spcAft>
              <a:buSzPts val="3700"/>
              <a:buNone/>
              <a:defRPr sz="3700"/>
            </a:lvl3pPr>
            <a:lvl4pPr lvl="3" rtl="0">
              <a:spcBef>
                <a:spcPts val="0"/>
              </a:spcBef>
              <a:spcAft>
                <a:spcPts val="0"/>
              </a:spcAft>
              <a:buSzPts val="3700"/>
              <a:buNone/>
              <a:defRPr sz="3700"/>
            </a:lvl4pPr>
            <a:lvl5pPr lvl="4" rtl="0">
              <a:spcBef>
                <a:spcPts val="0"/>
              </a:spcBef>
              <a:spcAft>
                <a:spcPts val="0"/>
              </a:spcAft>
              <a:buSzPts val="3700"/>
              <a:buNone/>
              <a:defRPr sz="3700"/>
            </a:lvl5pPr>
            <a:lvl6pPr lvl="5" rtl="0">
              <a:spcBef>
                <a:spcPts val="0"/>
              </a:spcBef>
              <a:spcAft>
                <a:spcPts val="0"/>
              </a:spcAft>
              <a:buSzPts val="3700"/>
              <a:buNone/>
              <a:defRPr sz="3700"/>
            </a:lvl6pPr>
            <a:lvl7pPr lvl="6" rtl="0">
              <a:spcBef>
                <a:spcPts val="0"/>
              </a:spcBef>
              <a:spcAft>
                <a:spcPts val="0"/>
              </a:spcAft>
              <a:buSzPts val="3700"/>
              <a:buNone/>
              <a:defRPr sz="3700"/>
            </a:lvl7pPr>
            <a:lvl8pPr lvl="7" rtl="0">
              <a:spcBef>
                <a:spcPts val="0"/>
              </a:spcBef>
              <a:spcAft>
                <a:spcPts val="0"/>
              </a:spcAft>
              <a:buSzPts val="3700"/>
              <a:buNone/>
              <a:defRPr sz="3700"/>
            </a:lvl8pPr>
            <a:lvl9pPr lvl="8" rtl="0">
              <a:spcBef>
                <a:spcPts val="0"/>
              </a:spcBef>
              <a:spcAft>
                <a:spcPts val="0"/>
              </a:spcAft>
              <a:buSzPts val="3700"/>
              <a:buNone/>
              <a:defRPr sz="3700"/>
            </a:lvl9pPr>
          </a:lstStyle>
          <a:p>
            <a:endParaRPr/>
          </a:p>
        </p:txBody>
      </p:sp>
      <p:sp>
        <p:nvSpPr>
          <p:cNvPr id="387" name="Google Shape;387;p29"/>
          <p:cNvSpPr txBox="1">
            <a:spLocks noGrp="1"/>
          </p:cNvSpPr>
          <p:nvPr>
            <p:ph type="subTitle" idx="3"/>
          </p:nvPr>
        </p:nvSpPr>
        <p:spPr>
          <a:xfrm>
            <a:off x="11343900" y="5013025"/>
            <a:ext cx="3541500" cy="1643100"/>
          </a:xfrm>
          <a:prstGeom prst="rect">
            <a:avLst/>
          </a:prstGeom>
          <a:noFill/>
          <a:ln>
            <a:noFill/>
          </a:ln>
        </p:spPr>
        <p:txBody>
          <a:bodyPr spcFirstLastPara="1" wrap="square" lIns="91450" tIns="91450" rIns="91450" bIns="91450" anchor="t" anchorCtr="0">
            <a:noAutofit/>
          </a:bodyPr>
          <a:lstStyle>
            <a:lvl1pPr lvl="0" rtl="0">
              <a:spcBef>
                <a:spcPts val="0"/>
              </a:spcBef>
              <a:spcAft>
                <a:spcPts val="0"/>
              </a:spcAft>
              <a:buClr>
                <a:srgbClr val="002A44"/>
              </a:buClr>
              <a:buSzPts val="2400"/>
              <a:buFont typeface="Open Sans"/>
              <a:buNone/>
              <a:defRPr sz="2400">
                <a:solidFill>
                  <a:srgbClr val="002A44"/>
                </a:solidFill>
                <a:latin typeface="Open Sans"/>
                <a:ea typeface="Open Sans"/>
                <a:cs typeface="Open Sans"/>
                <a:sym typeface="Open Sans"/>
              </a:defRPr>
            </a:lvl1pPr>
            <a:lvl2pPr lvl="1" rtl="0">
              <a:spcBef>
                <a:spcPts val="0"/>
              </a:spcBef>
              <a:spcAft>
                <a:spcPts val="0"/>
              </a:spcAft>
              <a:buSzPts val="2400"/>
              <a:buFont typeface="Open Sans"/>
              <a:buNone/>
              <a:defRPr sz="2400">
                <a:latin typeface="Open Sans"/>
                <a:ea typeface="Open Sans"/>
                <a:cs typeface="Open Sans"/>
                <a:sym typeface="Open Sans"/>
              </a:defRPr>
            </a:lvl2pPr>
            <a:lvl3pPr lvl="2" rtl="0">
              <a:spcBef>
                <a:spcPts val="0"/>
              </a:spcBef>
              <a:spcAft>
                <a:spcPts val="0"/>
              </a:spcAft>
              <a:buSzPts val="2400"/>
              <a:buFont typeface="Open Sans"/>
              <a:buNone/>
              <a:defRPr sz="2400">
                <a:latin typeface="Open Sans"/>
                <a:ea typeface="Open Sans"/>
                <a:cs typeface="Open Sans"/>
                <a:sym typeface="Open Sans"/>
              </a:defRPr>
            </a:lvl3pPr>
            <a:lvl4pPr lvl="3" rtl="0">
              <a:spcBef>
                <a:spcPts val="0"/>
              </a:spcBef>
              <a:spcAft>
                <a:spcPts val="0"/>
              </a:spcAft>
              <a:buSzPts val="2400"/>
              <a:buFont typeface="Open Sans"/>
              <a:buNone/>
              <a:defRPr sz="2400">
                <a:latin typeface="Open Sans"/>
                <a:ea typeface="Open Sans"/>
                <a:cs typeface="Open Sans"/>
                <a:sym typeface="Open Sans"/>
              </a:defRPr>
            </a:lvl4pPr>
            <a:lvl5pPr lvl="4" rtl="0">
              <a:spcBef>
                <a:spcPts val="0"/>
              </a:spcBef>
              <a:spcAft>
                <a:spcPts val="0"/>
              </a:spcAft>
              <a:buSzPts val="2400"/>
              <a:buFont typeface="Open Sans"/>
              <a:buNone/>
              <a:defRPr sz="2400">
                <a:latin typeface="Open Sans"/>
                <a:ea typeface="Open Sans"/>
                <a:cs typeface="Open Sans"/>
                <a:sym typeface="Open Sans"/>
              </a:defRPr>
            </a:lvl5pPr>
            <a:lvl6pPr lvl="5" rtl="0">
              <a:spcBef>
                <a:spcPts val="0"/>
              </a:spcBef>
              <a:spcAft>
                <a:spcPts val="0"/>
              </a:spcAft>
              <a:buSzPts val="2400"/>
              <a:buFont typeface="Open Sans"/>
              <a:buNone/>
              <a:defRPr sz="2400">
                <a:latin typeface="Open Sans"/>
                <a:ea typeface="Open Sans"/>
                <a:cs typeface="Open Sans"/>
                <a:sym typeface="Open Sans"/>
              </a:defRPr>
            </a:lvl6pPr>
            <a:lvl7pPr lvl="6" rtl="0">
              <a:spcBef>
                <a:spcPts val="0"/>
              </a:spcBef>
              <a:spcAft>
                <a:spcPts val="0"/>
              </a:spcAft>
              <a:buSzPts val="2400"/>
              <a:buFont typeface="Open Sans"/>
              <a:buNone/>
              <a:defRPr sz="2400">
                <a:latin typeface="Open Sans"/>
                <a:ea typeface="Open Sans"/>
                <a:cs typeface="Open Sans"/>
                <a:sym typeface="Open Sans"/>
              </a:defRPr>
            </a:lvl7pPr>
            <a:lvl8pPr lvl="7" rtl="0">
              <a:spcBef>
                <a:spcPts val="0"/>
              </a:spcBef>
              <a:spcAft>
                <a:spcPts val="0"/>
              </a:spcAft>
              <a:buSzPts val="2400"/>
              <a:buFont typeface="Open Sans"/>
              <a:buNone/>
              <a:defRPr sz="2400">
                <a:latin typeface="Open Sans"/>
                <a:ea typeface="Open Sans"/>
                <a:cs typeface="Open Sans"/>
                <a:sym typeface="Open Sans"/>
              </a:defRPr>
            </a:lvl8pPr>
            <a:lvl9pPr lvl="8" rtl="0">
              <a:spcBef>
                <a:spcPts val="0"/>
              </a:spcBef>
              <a:spcAft>
                <a:spcPts val="0"/>
              </a:spcAft>
              <a:buSzPts val="2400"/>
              <a:buFont typeface="Open Sans"/>
              <a:buNone/>
              <a:defRPr sz="2400">
                <a:latin typeface="Open Sans"/>
                <a:ea typeface="Open Sans"/>
                <a:cs typeface="Open Sans"/>
                <a:sym typeface="Open Sans"/>
              </a:defRPr>
            </a:lvl9pPr>
          </a:lstStyle>
          <a:p>
            <a:endParaRPr/>
          </a:p>
        </p:txBody>
      </p:sp>
      <p:sp>
        <p:nvSpPr>
          <p:cNvPr id="388" name="Google Shape;388;p29"/>
          <p:cNvSpPr txBox="1">
            <a:spLocks noGrp="1"/>
          </p:cNvSpPr>
          <p:nvPr>
            <p:ph type="title" idx="4"/>
          </p:nvPr>
        </p:nvSpPr>
        <p:spPr>
          <a:xfrm>
            <a:off x="11325025" y="7350463"/>
            <a:ext cx="3922200" cy="737700"/>
          </a:xfrm>
          <a:prstGeom prst="rect">
            <a:avLst/>
          </a:prstGeom>
          <a:noFill/>
          <a:ln>
            <a:noFill/>
          </a:ln>
        </p:spPr>
        <p:txBody>
          <a:bodyPr spcFirstLastPara="1" wrap="square" lIns="91450" tIns="91450" rIns="91450" bIns="91450" anchor="t" anchorCtr="0">
            <a:noAutofit/>
          </a:bodyPr>
          <a:lstStyle>
            <a:lvl1pPr lvl="0" rtl="0">
              <a:spcBef>
                <a:spcPts val="0"/>
              </a:spcBef>
              <a:spcAft>
                <a:spcPts val="0"/>
              </a:spcAft>
              <a:buClr>
                <a:srgbClr val="002A44"/>
              </a:buClr>
              <a:buSzPts val="3700"/>
              <a:buFont typeface="Montserrat Black"/>
              <a:buNone/>
              <a:defRPr sz="3700">
                <a:solidFill>
                  <a:srgbClr val="002A44"/>
                </a:solidFill>
                <a:latin typeface="Montserrat Black"/>
                <a:ea typeface="Montserrat Black"/>
                <a:cs typeface="Montserrat Black"/>
                <a:sym typeface="Montserrat Black"/>
              </a:defRPr>
            </a:lvl1pPr>
            <a:lvl2pPr lvl="1" rtl="0">
              <a:spcBef>
                <a:spcPts val="0"/>
              </a:spcBef>
              <a:spcAft>
                <a:spcPts val="0"/>
              </a:spcAft>
              <a:buSzPts val="3700"/>
              <a:buNone/>
              <a:defRPr sz="3700"/>
            </a:lvl2pPr>
            <a:lvl3pPr lvl="2" rtl="0">
              <a:spcBef>
                <a:spcPts val="0"/>
              </a:spcBef>
              <a:spcAft>
                <a:spcPts val="0"/>
              </a:spcAft>
              <a:buSzPts val="3700"/>
              <a:buNone/>
              <a:defRPr sz="3700"/>
            </a:lvl3pPr>
            <a:lvl4pPr lvl="3" rtl="0">
              <a:spcBef>
                <a:spcPts val="0"/>
              </a:spcBef>
              <a:spcAft>
                <a:spcPts val="0"/>
              </a:spcAft>
              <a:buSzPts val="3700"/>
              <a:buNone/>
              <a:defRPr sz="3700"/>
            </a:lvl4pPr>
            <a:lvl5pPr lvl="4" rtl="0">
              <a:spcBef>
                <a:spcPts val="0"/>
              </a:spcBef>
              <a:spcAft>
                <a:spcPts val="0"/>
              </a:spcAft>
              <a:buSzPts val="3700"/>
              <a:buNone/>
              <a:defRPr sz="3700"/>
            </a:lvl5pPr>
            <a:lvl6pPr lvl="5" rtl="0">
              <a:spcBef>
                <a:spcPts val="0"/>
              </a:spcBef>
              <a:spcAft>
                <a:spcPts val="0"/>
              </a:spcAft>
              <a:buSzPts val="3700"/>
              <a:buNone/>
              <a:defRPr sz="3700"/>
            </a:lvl6pPr>
            <a:lvl7pPr lvl="6" rtl="0">
              <a:spcBef>
                <a:spcPts val="0"/>
              </a:spcBef>
              <a:spcAft>
                <a:spcPts val="0"/>
              </a:spcAft>
              <a:buSzPts val="3700"/>
              <a:buNone/>
              <a:defRPr sz="3700"/>
            </a:lvl7pPr>
            <a:lvl8pPr lvl="7" rtl="0">
              <a:spcBef>
                <a:spcPts val="0"/>
              </a:spcBef>
              <a:spcAft>
                <a:spcPts val="0"/>
              </a:spcAft>
              <a:buSzPts val="3700"/>
              <a:buNone/>
              <a:defRPr sz="3700"/>
            </a:lvl8pPr>
            <a:lvl9pPr lvl="8" rtl="0">
              <a:spcBef>
                <a:spcPts val="0"/>
              </a:spcBef>
              <a:spcAft>
                <a:spcPts val="0"/>
              </a:spcAft>
              <a:buSzPts val="3700"/>
              <a:buNone/>
              <a:defRPr sz="3700"/>
            </a:lvl9pPr>
          </a:lstStyle>
          <a:p>
            <a:endParaRPr/>
          </a:p>
        </p:txBody>
      </p:sp>
      <p:sp>
        <p:nvSpPr>
          <p:cNvPr id="389" name="Google Shape;389;p29"/>
          <p:cNvSpPr txBox="1">
            <a:spLocks noGrp="1"/>
          </p:cNvSpPr>
          <p:nvPr>
            <p:ph type="subTitle" idx="5"/>
          </p:nvPr>
        </p:nvSpPr>
        <p:spPr>
          <a:xfrm>
            <a:off x="11343900" y="9202963"/>
            <a:ext cx="3541500" cy="1643100"/>
          </a:xfrm>
          <a:prstGeom prst="rect">
            <a:avLst/>
          </a:prstGeom>
          <a:noFill/>
          <a:ln>
            <a:noFill/>
          </a:ln>
        </p:spPr>
        <p:txBody>
          <a:bodyPr spcFirstLastPara="1" wrap="square" lIns="91450" tIns="91450" rIns="91450" bIns="91450" anchor="t" anchorCtr="0">
            <a:noAutofit/>
          </a:bodyPr>
          <a:lstStyle>
            <a:lvl1pPr lvl="0" rtl="0">
              <a:spcBef>
                <a:spcPts val="0"/>
              </a:spcBef>
              <a:spcAft>
                <a:spcPts val="0"/>
              </a:spcAft>
              <a:buClr>
                <a:srgbClr val="002A44"/>
              </a:buClr>
              <a:buSzPts val="2400"/>
              <a:buFont typeface="Open Sans"/>
              <a:buNone/>
              <a:defRPr sz="2400">
                <a:solidFill>
                  <a:srgbClr val="002A44"/>
                </a:solidFill>
                <a:latin typeface="Open Sans"/>
                <a:ea typeface="Open Sans"/>
                <a:cs typeface="Open Sans"/>
                <a:sym typeface="Open Sans"/>
              </a:defRPr>
            </a:lvl1pPr>
            <a:lvl2pPr lvl="1" rtl="0">
              <a:spcBef>
                <a:spcPts val="0"/>
              </a:spcBef>
              <a:spcAft>
                <a:spcPts val="0"/>
              </a:spcAft>
              <a:buSzPts val="2400"/>
              <a:buFont typeface="Open Sans"/>
              <a:buNone/>
              <a:defRPr sz="2400">
                <a:latin typeface="Open Sans"/>
                <a:ea typeface="Open Sans"/>
                <a:cs typeface="Open Sans"/>
                <a:sym typeface="Open Sans"/>
              </a:defRPr>
            </a:lvl2pPr>
            <a:lvl3pPr lvl="2" rtl="0">
              <a:spcBef>
                <a:spcPts val="0"/>
              </a:spcBef>
              <a:spcAft>
                <a:spcPts val="0"/>
              </a:spcAft>
              <a:buSzPts val="2400"/>
              <a:buFont typeface="Open Sans"/>
              <a:buNone/>
              <a:defRPr sz="2400">
                <a:latin typeface="Open Sans"/>
                <a:ea typeface="Open Sans"/>
                <a:cs typeface="Open Sans"/>
                <a:sym typeface="Open Sans"/>
              </a:defRPr>
            </a:lvl3pPr>
            <a:lvl4pPr lvl="3" rtl="0">
              <a:spcBef>
                <a:spcPts val="0"/>
              </a:spcBef>
              <a:spcAft>
                <a:spcPts val="0"/>
              </a:spcAft>
              <a:buSzPts val="2400"/>
              <a:buFont typeface="Open Sans"/>
              <a:buNone/>
              <a:defRPr sz="2400">
                <a:latin typeface="Open Sans"/>
                <a:ea typeface="Open Sans"/>
                <a:cs typeface="Open Sans"/>
                <a:sym typeface="Open Sans"/>
              </a:defRPr>
            </a:lvl4pPr>
            <a:lvl5pPr lvl="4" rtl="0">
              <a:spcBef>
                <a:spcPts val="0"/>
              </a:spcBef>
              <a:spcAft>
                <a:spcPts val="0"/>
              </a:spcAft>
              <a:buSzPts val="2400"/>
              <a:buFont typeface="Open Sans"/>
              <a:buNone/>
              <a:defRPr sz="2400">
                <a:latin typeface="Open Sans"/>
                <a:ea typeface="Open Sans"/>
                <a:cs typeface="Open Sans"/>
                <a:sym typeface="Open Sans"/>
              </a:defRPr>
            </a:lvl5pPr>
            <a:lvl6pPr lvl="5" rtl="0">
              <a:spcBef>
                <a:spcPts val="0"/>
              </a:spcBef>
              <a:spcAft>
                <a:spcPts val="0"/>
              </a:spcAft>
              <a:buSzPts val="2400"/>
              <a:buFont typeface="Open Sans"/>
              <a:buNone/>
              <a:defRPr sz="2400">
                <a:latin typeface="Open Sans"/>
                <a:ea typeface="Open Sans"/>
                <a:cs typeface="Open Sans"/>
                <a:sym typeface="Open Sans"/>
              </a:defRPr>
            </a:lvl6pPr>
            <a:lvl7pPr lvl="6" rtl="0">
              <a:spcBef>
                <a:spcPts val="0"/>
              </a:spcBef>
              <a:spcAft>
                <a:spcPts val="0"/>
              </a:spcAft>
              <a:buSzPts val="2400"/>
              <a:buFont typeface="Open Sans"/>
              <a:buNone/>
              <a:defRPr sz="2400">
                <a:latin typeface="Open Sans"/>
                <a:ea typeface="Open Sans"/>
                <a:cs typeface="Open Sans"/>
                <a:sym typeface="Open Sans"/>
              </a:defRPr>
            </a:lvl7pPr>
            <a:lvl8pPr lvl="7" rtl="0">
              <a:spcBef>
                <a:spcPts val="0"/>
              </a:spcBef>
              <a:spcAft>
                <a:spcPts val="0"/>
              </a:spcAft>
              <a:buSzPts val="2400"/>
              <a:buFont typeface="Open Sans"/>
              <a:buNone/>
              <a:defRPr sz="2400">
                <a:latin typeface="Open Sans"/>
                <a:ea typeface="Open Sans"/>
                <a:cs typeface="Open Sans"/>
                <a:sym typeface="Open Sans"/>
              </a:defRPr>
            </a:lvl8pPr>
            <a:lvl9pPr lvl="8" rtl="0">
              <a:spcBef>
                <a:spcPts val="0"/>
              </a:spcBef>
              <a:spcAft>
                <a:spcPts val="0"/>
              </a:spcAft>
              <a:buSzPts val="2400"/>
              <a:buFont typeface="Open Sans"/>
              <a:buNone/>
              <a:defRPr sz="2400">
                <a:latin typeface="Open Sans"/>
                <a:ea typeface="Open Sans"/>
                <a:cs typeface="Open Sans"/>
                <a:sym typeface="Open Sans"/>
              </a:defRPr>
            </a:lvl9pPr>
          </a:lstStyle>
          <a:p>
            <a:endParaRPr/>
          </a:p>
        </p:txBody>
      </p:sp>
      <p:sp>
        <p:nvSpPr>
          <p:cNvPr id="390" name="Google Shape;390;p29"/>
          <p:cNvSpPr txBox="1">
            <a:spLocks noGrp="1"/>
          </p:cNvSpPr>
          <p:nvPr>
            <p:ph type="title" idx="6"/>
          </p:nvPr>
        </p:nvSpPr>
        <p:spPr>
          <a:xfrm>
            <a:off x="18068725" y="3160525"/>
            <a:ext cx="3922200" cy="737700"/>
          </a:xfrm>
          <a:prstGeom prst="rect">
            <a:avLst/>
          </a:prstGeom>
          <a:noFill/>
          <a:ln>
            <a:noFill/>
          </a:ln>
        </p:spPr>
        <p:txBody>
          <a:bodyPr spcFirstLastPara="1" wrap="square" lIns="91450" tIns="91450" rIns="91450" bIns="91450" anchor="t" anchorCtr="0">
            <a:noAutofit/>
          </a:bodyPr>
          <a:lstStyle>
            <a:lvl1pPr lvl="0" rtl="0">
              <a:spcBef>
                <a:spcPts val="0"/>
              </a:spcBef>
              <a:spcAft>
                <a:spcPts val="0"/>
              </a:spcAft>
              <a:buClr>
                <a:srgbClr val="002A44"/>
              </a:buClr>
              <a:buSzPts val="3700"/>
              <a:buFont typeface="Montserrat Black"/>
              <a:buNone/>
              <a:defRPr sz="3700">
                <a:solidFill>
                  <a:srgbClr val="002A44"/>
                </a:solidFill>
                <a:latin typeface="Montserrat Black"/>
                <a:ea typeface="Montserrat Black"/>
                <a:cs typeface="Montserrat Black"/>
                <a:sym typeface="Montserrat Black"/>
              </a:defRPr>
            </a:lvl1pPr>
            <a:lvl2pPr lvl="1" rtl="0">
              <a:spcBef>
                <a:spcPts val="0"/>
              </a:spcBef>
              <a:spcAft>
                <a:spcPts val="0"/>
              </a:spcAft>
              <a:buSzPts val="3700"/>
              <a:buNone/>
              <a:defRPr sz="3700"/>
            </a:lvl2pPr>
            <a:lvl3pPr lvl="2" rtl="0">
              <a:spcBef>
                <a:spcPts val="0"/>
              </a:spcBef>
              <a:spcAft>
                <a:spcPts val="0"/>
              </a:spcAft>
              <a:buSzPts val="3700"/>
              <a:buNone/>
              <a:defRPr sz="3700"/>
            </a:lvl3pPr>
            <a:lvl4pPr lvl="3" rtl="0">
              <a:spcBef>
                <a:spcPts val="0"/>
              </a:spcBef>
              <a:spcAft>
                <a:spcPts val="0"/>
              </a:spcAft>
              <a:buSzPts val="3700"/>
              <a:buNone/>
              <a:defRPr sz="3700"/>
            </a:lvl4pPr>
            <a:lvl5pPr lvl="4" rtl="0">
              <a:spcBef>
                <a:spcPts val="0"/>
              </a:spcBef>
              <a:spcAft>
                <a:spcPts val="0"/>
              </a:spcAft>
              <a:buSzPts val="3700"/>
              <a:buNone/>
              <a:defRPr sz="3700"/>
            </a:lvl5pPr>
            <a:lvl6pPr lvl="5" rtl="0">
              <a:spcBef>
                <a:spcPts val="0"/>
              </a:spcBef>
              <a:spcAft>
                <a:spcPts val="0"/>
              </a:spcAft>
              <a:buSzPts val="3700"/>
              <a:buNone/>
              <a:defRPr sz="3700"/>
            </a:lvl6pPr>
            <a:lvl7pPr lvl="6" rtl="0">
              <a:spcBef>
                <a:spcPts val="0"/>
              </a:spcBef>
              <a:spcAft>
                <a:spcPts val="0"/>
              </a:spcAft>
              <a:buSzPts val="3700"/>
              <a:buNone/>
              <a:defRPr sz="3700"/>
            </a:lvl7pPr>
            <a:lvl8pPr lvl="7" rtl="0">
              <a:spcBef>
                <a:spcPts val="0"/>
              </a:spcBef>
              <a:spcAft>
                <a:spcPts val="0"/>
              </a:spcAft>
              <a:buSzPts val="3700"/>
              <a:buNone/>
              <a:defRPr sz="3700"/>
            </a:lvl8pPr>
            <a:lvl9pPr lvl="8" rtl="0">
              <a:spcBef>
                <a:spcPts val="0"/>
              </a:spcBef>
              <a:spcAft>
                <a:spcPts val="0"/>
              </a:spcAft>
              <a:buSzPts val="3700"/>
              <a:buNone/>
              <a:defRPr sz="3700"/>
            </a:lvl9pPr>
          </a:lstStyle>
          <a:p>
            <a:endParaRPr/>
          </a:p>
        </p:txBody>
      </p:sp>
      <p:sp>
        <p:nvSpPr>
          <p:cNvPr id="391" name="Google Shape;391;p29"/>
          <p:cNvSpPr txBox="1">
            <a:spLocks noGrp="1"/>
          </p:cNvSpPr>
          <p:nvPr>
            <p:ph type="subTitle" idx="7"/>
          </p:nvPr>
        </p:nvSpPr>
        <p:spPr>
          <a:xfrm>
            <a:off x="18087600" y="5013025"/>
            <a:ext cx="3541500" cy="1643100"/>
          </a:xfrm>
          <a:prstGeom prst="rect">
            <a:avLst/>
          </a:prstGeom>
          <a:noFill/>
          <a:ln>
            <a:noFill/>
          </a:ln>
        </p:spPr>
        <p:txBody>
          <a:bodyPr spcFirstLastPara="1" wrap="square" lIns="91450" tIns="91450" rIns="91450" bIns="91450" anchor="t" anchorCtr="0">
            <a:noAutofit/>
          </a:bodyPr>
          <a:lstStyle>
            <a:lvl1pPr lvl="0" rtl="0">
              <a:spcBef>
                <a:spcPts val="0"/>
              </a:spcBef>
              <a:spcAft>
                <a:spcPts val="0"/>
              </a:spcAft>
              <a:buClr>
                <a:srgbClr val="002A44"/>
              </a:buClr>
              <a:buSzPts val="2400"/>
              <a:buFont typeface="Open Sans"/>
              <a:buNone/>
              <a:defRPr sz="2400">
                <a:solidFill>
                  <a:srgbClr val="002A44"/>
                </a:solidFill>
                <a:latin typeface="Open Sans"/>
                <a:ea typeface="Open Sans"/>
                <a:cs typeface="Open Sans"/>
                <a:sym typeface="Open Sans"/>
              </a:defRPr>
            </a:lvl1pPr>
            <a:lvl2pPr lvl="1" rtl="0">
              <a:spcBef>
                <a:spcPts val="0"/>
              </a:spcBef>
              <a:spcAft>
                <a:spcPts val="0"/>
              </a:spcAft>
              <a:buSzPts val="2400"/>
              <a:buFont typeface="Open Sans"/>
              <a:buNone/>
              <a:defRPr sz="2400">
                <a:latin typeface="Open Sans"/>
                <a:ea typeface="Open Sans"/>
                <a:cs typeface="Open Sans"/>
                <a:sym typeface="Open Sans"/>
              </a:defRPr>
            </a:lvl2pPr>
            <a:lvl3pPr lvl="2" rtl="0">
              <a:spcBef>
                <a:spcPts val="0"/>
              </a:spcBef>
              <a:spcAft>
                <a:spcPts val="0"/>
              </a:spcAft>
              <a:buSzPts val="2400"/>
              <a:buFont typeface="Open Sans"/>
              <a:buNone/>
              <a:defRPr sz="2400">
                <a:latin typeface="Open Sans"/>
                <a:ea typeface="Open Sans"/>
                <a:cs typeface="Open Sans"/>
                <a:sym typeface="Open Sans"/>
              </a:defRPr>
            </a:lvl3pPr>
            <a:lvl4pPr lvl="3" rtl="0">
              <a:spcBef>
                <a:spcPts val="0"/>
              </a:spcBef>
              <a:spcAft>
                <a:spcPts val="0"/>
              </a:spcAft>
              <a:buSzPts val="2400"/>
              <a:buFont typeface="Open Sans"/>
              <a:buNone/>
              <a:defRPr sz="2400">
                <a:latin typeface="Open Sans"/>
                <a:ea typeface="Open Sans"/>
                <a:cs typeface="Open Sans"/>
                <a:sym typeface="Open Sans"/>
              </a:defRPr>
            </a:lvl4pPr>
            <a:lvl5pPr lvl="4" rtl="0">
              <a:spcBef>
                <a:spcPts val="0"/>
              </a:spcBef>
              <a:spcAft>
                <a:spcPts val="0"/>
              </a:spcAft>
              <a:buSzPts val="2400"/>
              <a:buFont typeface="Open Sans"/>
              <a:buNone/>
              <a:defRPr sz="2400">
                <a:latin typeface="Open Sans"/>
                <a:ea typeface="Open Sans"/>
                <a:cs typeface="Open Sans"/>
                <a:sym typeface="Open Sans"/>
              </a:defRPr>
            </a:lvl5pPr>
            <a:lvl6pPr lvl="5" rtl="0">
              <a:spcBef>
                <a:spcPts val="0"/>
              </a:spcBef>
              <a:spcAft>
                <a:spcPts val="0"/>
              </a:spcAft>
              <a:buSzPts val="2400"/>
              <a:buFont typeface="Open Sans"/>
              <a:buNone/>
              <a:defRPr sz="2400">
                <a:latin typeface="Open Sans"/>
                <a:ea typeface="Open Sans"/>
                <a:cs typeface="Open Sans"/>
                <a:sym typeface="Open Sans"/>
              </a:defRPr>
            </a:lvl6pPr>
            <a:lvl7pPr lvl="6" rtl="0">
              <a:spcBef>
                <a:spcPts val="0"/>
              </a:spcBef>
              <a:spcAft>
                <a:spcPts val="0"/>
              </a:spcAft>
              <a:buSzPts val="2400"/>
              <a:buFont typeface="Open Sans"/>
              <a:buNone/>
              <a:defRPr sz="2400">
                <a:latin typeface="Open Sans"/>
                <a:ea typeface="Open Sans"/>
                <a:cs typeface="Open Sans"/>
                <a:sym typeface="Open Sans"/>
              </a:defRPr>
            </a:lvl7pPr>
            <a:lvl8pPr lvl="7" rtl="0">
              <a:spcBef>
                <a:spcPts val="0"/>
              </a:spcBef>
              <a:spcAft>
                <a:spcPts val="0"/>
              </a:spcAft>
              <a:buSzPts val="2400"/>
              <a:buFont typeface="Open Sans"/>
              <a:buNone/>
              <a:defRPr sz="2400">
                <a:latin typeface="Open Sans"/>
                <a:ea typeface="Open Sans"/>
                <a:cs typeface="Open Sans"/>
                <a:sym typeface="Open Sans"/>
              </a:defRPr>
            </a:lvl8pPr>
            <a:lvl9pPr lvl="8" rtl="0">
              <a:spcBef>
                <a:spcPts val="0"/>
              </a:spcBef>
              <a:spcAft>
                <a:spcPts val="0"/>
              </a:spcAft>
              <a:buSzPts val="2400"/>
              <a:buFont typeface="Open Sans"/>
              <a:buNone/>
              <a:defRPr sz="2400">
                <a:latin typeface="Open Sans"/>
                <a:ea typeface="Open Sans"/>
                <a:cs typeface="Open Sans"/>
                <a:sym typeface="Open Sans"/>
              </a:defRPr>
            </a:lvl9pPr>
          </a:lstStyle>
          <a:p>
            <a:endParaRPr/>
          </a:p>
        </p:txBody>
      </p:sp>
      <p:sp>
        <p:nvSpPr>
          <p:cNvPr id="392" name="Google Shape;392;p29"/>
          <p:cNvSpPr txBox="1">
            <a:spLocks noGrp="1"/>
          </p:cNvSpPr>
          <p:nvPr>
            <p:ph type="title" idx="8"/>
          </p:nvPr>
        </p:nvSpPr>
        <p:spPr>
          <a:xfrm>
            <a:off x="18068725" y="7350463"/>
            <a:ext cx="3922200" cy="737700"/>
          </a:xfrm>
          <a:prstGeom prst="rect">
            <a:avLst/>
          </a:prstGeom>
          <a:noFill/>
          <a:ln>
            <a:noFill/>
          </a:ln>
        </p:spPr>
        <p:txBody>
          <a:bodyPr spcFirstLastPara="1" wrap="square" lIns="91450" tIns="91450" rIns="91450" bIns="91450" anchor="t" anchorCtr="0">
            <a:noAutofit/>
          </a:bodyPr>
          <a:lstStyle>
            <a:lvl1pPr lvl="0" rtl="0">
              <a:spcBef>
                <a:spcPts val="0"/>
              </a:spcBef>
              <a:spcAft>
                <a:spcPts val="0"/>
              </a:spcAft>
              <a:buClr>
                <a:srgbClr val="002A44"/>
              </a:buClr>
              <a:buSzPts val="3700"/>
              <a:buFont typeface="Montserrat Black"/>
              <a:buNone/>
              <a:defRPr sz="3700">
                <a:solidFill>
                  <a:srgbClr val="002A44"/>
                </a:solidFill>
                <a:latin typeface="Montserrat Black"/>
                <a:ea typeface="Montserrat Black"/>
                <a:cs typeface="Montserrat Black"/>
                <a:sym typeface="Montserrat Black"/>
              </a:defRPr>
            </a:lvl1pPr>
            <a:lvl2pPr lvl="1" rtl="0">
              <a:spcBef>
                <a:spcPts val="0"/>
              </a:spcBef>
              <a:spcAft>
                <a:spcPts val="0"/>
              </a:spcAft>
              <a:buSzPts val="3700"/>
              <a:buNone/>
              <a:defRPr sz="3700"/>
            </a:lvl2pPr>
            <a:lvl3pPr lvl="2" rtl="0">
              <a:spcBef>
                <a:spcPts val="0"/>
              </a:spcBef>
              <a:spcAft>
                <a:spcPts val="0"/>
              </a:spcAft>
              <a:buSzPts val="3700"/>
              <a:buNone/>
              <a:defRPr sz="3700"/>
            </a:lvl3pPr>
            <a:lvl4pPr lvl="3" rtl="0">
              <a:spcBef>
                <a:spcPts val="0"/>
              </a:spcBef>
              <a:spcAft>
                <a:spcPts val="0"/>
              </a:spcAft>
              <a:buSzPts val="3700"/>
              <a:buNone/>
              <a:defRPr sz="3700"/>
            </a:lvl4pPr>
            <a:lvl5pPr lvl="4" rtl="0">
              <a:spcBef>
                <a:spcPts val="0"/>
              </a:spcBef>
              <a:spcAft>
                <a:spcPts val="0"/>
              </a:spcAft>
              <a:buSzPts val="3700"/>
              <a:buNone/>
              <a:defRPr sz="3700"/>
            </a:lvl5pPr>
            <a:lvl6pPr lvl="5" rtl="0">
              <a:spcBef>
                <a:spcPts val="0"/>
              </a:spcBef>
              <a:spcAft>
                <a:spcPts val="0"/>
              </a:spcAft>
              <a:buSzPts val="3700"/>
              <a:buNone/>
              <a:defRPr sz="3700"/>
            </a:lvl6pPr>
            <a:lvl7pPr lvl="6" rtl="0">
              <a:spcBef>
                <a:spcPts val="0"/>
              </a:spcBef>
              <a:spcAft>
                <a:spcPts val="0"/>
              </a:spcAft>
              <a:buSzPts val="3700"/>
              <a:buNone/>
              <a:defRPr sz="3700"/>
            </a:lvl7pPr>
            <a:lvl8pPr lvl="7" rtl="0">
              <a:spcBef>
                <a:spcPts val="0"/>
              </a:spcBef>
              <a:spcAft>
                <a:spcPts val="0"/>
              </a:spcAft>
              <a:buSzPts val="3700"/>
              <a:buNone/>
              <a:defRPr sz="3700"/>
            </a:lvl8pPr>
            <a:lvl9pPr lvl="8" rtl="0">
              <a:spcBef>
                <a:spcPts val="0"/>
              </a:spcBef>
              <a:spcAft>
                <a:spcPts val="0"/>
              </a:spcAft>
              <a:buSzPts val="3700"/>
              <a:buNone/>
              <a:defRPr sz="3700"/>
            </a:lvl9pPr>
          </a:lstStyle>
          <a:p>
            <a:endParaRPr/>
          </a:p>
        </p:txBody>
      </p:sp>
      <p:sp>
        <p:nvSpPr>
          <p:cNvPr id="393" name="Google Shape;393;p29"/>
          <p:cNvSpPr txBox="1">
            <a:spLocks noGrp="1"/>
          </p:cNvSpPr>
          <p:nvPr>
            <p:ph type="subTitle" idx="9"/>
          </p:nvPr>
        </p:nvSpPr>
        <p:spPr>
          <a:xfrm>
            <a:off x="18087600" y="9202963"/>
            <a:ext cx="3541500" cy="1643100"/>
          </a:xfrm>
          <a:prstGeom prst="rect">
            <a:avLst/>
          </a:prstGeom>
          <a:noFill/>
          <a:ln>
            <a:noFill/>
          </a:ln>
        </p:spPr>
        <p:txBody>
          <a:bodyPr spcFirstLastPara="1" wrap="square" lIns="91450" tIns="91450" rIns="91450" bIns="91450" anchor="t" anchorCtr="0">
            <a:noAutofit/>
          </a:bodyPr>
          <a:lstStyle>
            <a:lvl1pPr lvl="0" rtl="0">
              <a:spcBef>
                <a:spcPts val="0"/>
              </a:spcBef>
              <a:spcAft>
                <a:spcPts val="0"/>
              </a:spcAft>
              <a:buClr>
                <a:srgbClr val="002A44"/>
              </a:buClr>
              <a:buSzPts val="2400"/>
              <a:buFont typeface="Open Sans"/>
              <a:buNone/>
              <a:defRPr sz="2400">
                <a:solidFill>
                  <a:srgbClr val="002A44"/>
                </a:solidFill>
                <a:latin typeface="Open Sans"/>
                <a:ea typeface="Open Sans"/>
                <a:cs typeface="Open Sans"/>
                <a:sym typeface="Open Sans"/>
              </a:defRPr>
            </a:lvl1pPr>
            <a:lvl2pPr lvl="1" rtl="0">
              <a:spcBef>
                <a:spcPts val="0"/>
              </a:spcBef>
              <a:spcAft>
                <a:spcPts val="0"/>
              </a:spcAft>
              <a:buSzPts val="2400"/>
              <a:buFont typeface="Open Sans"/>
              <a:buNone/>
              <a:defRPr sz="2400">
                <a:latin typeface="Open Sans"/>
                <a:ea typeface="Open Sans"/>
                <a:cs typeface="Open Sans"/>
                <a:sym typeface="Open Sans"/>
              </a:defRPr>
            </a:lvl2pPr>
            <a:lvl3pPr lvl="2" rtl="0">
              <a:spcBef>
                <a:spcPts val="0"/>
              </a:spcBef>
              <a:spcAft>
                <a:spcPts val="0"/>
              </a:spcAft>
              <a:buSzPts val="2400"/>
              <a:buFont typeface="Open Sans"/>
              <a:buNone/>
              <a:defRPr sz="2400">
                <a:latin typeface="Open Sans"/>
                <a:ea typeface="Open Sans"/>
                <a:cs typeface="Open Sans"/>
                <a:sym typeface="Open Sans"/>
              </a:defRPr>
            </a:lvl3pPr>
            <a:lvl4pPr lvl="3" rtl="0">
              <a:spcBef>
                <a:spcPts val="0"/>
              </a:spcBef>
              <a:spcAft>
                <a:spcPts val="0"/>
              </a:spcAft>
              <a:buSzPts val="2400"/>
              <a:buFont typeface="Open Sans"/>
              <a:buNone/>
              <a:defRPr sz="2400">
                <a:latin typeface="Open Sans"/>
                <a:ea typeface="Open Sans"/>
                <a:cs typeface="Open Sans"/>
                <a:sym typeface="Open Sans"/>
              </a:defRPr>
            </a:lvl4pPr>
            <a:lvl5pPr lvl="4" rtl="0">
              <a:spcBef>
                <a:spcPts val="0"/>
              </a:spcBef>
              <a:spcAft>
                <a:spcPts val="0"/>
              </a:spcAft>
              <a:buSzPts val="2400"/>
              <a:buFont typeface="Open Sans"/>
              <a:buNone/>
              <a:defRPr sz="2400">
                <a:latin typeface="Open Sans"/>
                <a:ea typeface="Open Sans"/>
                <a:cs typeface="Open Sans"/>
                <a:sym typeface="Open Sans"/>
              </a:defRPr>
            </a:lvl5pPr>
            <a:lvl6pPr lvl="5" rtl="0">
              <a:spcBef>
                <a:spcPts val="0"/>
              </a:spcBef>
              <a:spcAft>
                <a:spcPts val="0"/>
              </a:spcAft>
              <a:buSzPts val="2400"/>
              <a:buFont typeface="Open Sans"/>
              <a:buNone/>
              <a:defRPr sz="2400">
                <a:latin typeface="Open Sans"/>
                <a:ea typeface="Open Sans"/>
                <a:cs typeface="Open Sans"/>
                <a:sym typeface="Open Sans"/>
              </a:defRPr>
            </a:lvl6pPr>
            <a:lvl7pPr lvl="6" rtl="0">
              <a:spcBef>
                <a:spcPts val="0"/>
              </a:spcBef>
              <a:spcAft>
                <a:spcPts val="0"/>
              </a:spcAft>
              <a:buSzPts val="2400"/>
              <a:buFont typeface="Open Sans"/>
              <a:buNone/>
              <a:defRPr sz="2400">
                <a:latin typeface="Open Sans"/>
                <a:ea typeface="Open Sans"/>
                <a:cs typeface="Open Sans"/>
                <a:sym typeface="Open Sans"/>
              </a:defRPr>
            </a:lvl7pPr>
            <a:lvl8pPr lvl="7" rtl="0">
              <a:spcBef>
                <a:spcPts val="0"/>
              </a:spcBef>
              <a:spcAft>
                <a:spcPts val="0"/>
              </a:spcAft>
              <a:buSzPts val="2400"/>
              <a:buFont typeface="Open Sans"/>
              <a:buNone/>
              <a:defRPr sz="2400">
                <a:latin typeface="Open Sans"/>
                <a:ea typeface="Open Sans"/>
                <a:cs typeface="Open Sans"/>
                <a:sym typeface="Open Sans"/>
              </a:defRPr>
            </a:lvl8pPr>
            <a:lvl9pPr lvl="8" rtl="0">
              <a:spcBef>
                <a:spcPts val="0"/>
              </a:spcBef>
              <a:spcAft>
                <a:spcPts val="0"/>
              </a:spcAft>
              <a:buSzPts val="2400"/>
              <a:buFont typeface="Open Sans"/>
              <a:buNone/>
              <a:defRPr sz="2400">
                <a:latin typeface="Open Sans"/>
                <a:ea typeface="Open Sans"/>
                <a:cs typeface="Open Sans"/>
                <a:sym typeface="Open Sans"/>
              </a:defRPr>
            </a:lvl9pPr>
          </a:lstStyle>
          <a:p>
            <a:endParaRPr/>
          </a:p>
        </p:txBody>
      </p:sp>
      <p:sp>
        <p:nvSpPr>
          <p:cNvPr id="394" name="Google Shape;394;p29"/>
          <p:cNvSpPr>
            <a:spLocks noGrp="1"/>
          </p:cNvSpPr>
          <p:nvPr>
            <p:ph type="pic" idx="13"/>
          </p:nvPr>
        </p:nvSpPr>
        <p:spPr>
          <a:xfrm>
            <a:off x="9454223" y="3507775"/>
            <a:ext cx="1082100" cy="1081200"/>
          </a:xfrm>
          <a:prstGeom prst="ellipse">
            <a:avLst/>
          </a:prstGeom>
          <a:noFill/>
          <a:ln>
            <a:noFill/>
          </a:ln>
        </p:spPr>
      </p:sp>
      <p:sp>
        <p:nvSpPr>
          <p:cNvPr id="395" name="Google Shape;395;p29"/>
          <p:cNvSpPr>
            <a:spLocks noGrp="1"/>
          </p:cNvSpPr>
          <p:nvPr>
            <p:ph type="pic" idx="14"/>
          </p:nvPr>
        </p:nvSpPr>
        <p:spPr>
          <a:xfrm>
            <a:off x="9454223" y="7698775"/>
            <a:ext cx="1082100" cy="1081200"/>
          </a:xfrm>
          <a:prstGeom prst="ellipse">
            <a:avLst/>
          </a:prstGeom>
          <a:noFill/>
          <a:ln>
            <a:noFill/>
          </a:ln>
        </p:spPr>
      </p:sp>
      <p:sp>
        <p:nvSpPr>
          <p:cNvPr id="396" name="Google Shape;396;p29"/>
          <p:cNvSpPr>
            <a:spLocks noGrp="1"/>
          </p:cNvSpPr>
          <p:nvPr>
            <p:ph type="pic" idx="15"/>
          </p:nvPr>
        </p:nvSpPr>
        <p:spPr>
          <a:xfrm>
            <a:off x="16226948" y="3507775"/>
            <a:ext cx="1082100" cy="1081200"/>
          </a:xfrm>
          <a:prstGeom prst="ellipse">
            <a:avLst/>
          </a:prstGeom>
          <a:noFill/>
          <a:ln>
            <a:noFill/>
          </a:ln>
        </p:spPr>
      </p:sp>
      <p:sp>
        <p:nvSpPr>
          <p:cNvPr id="397" name="Google Shape;397;p29"/>
          <p:cNvSpPr>
            <a:spLocks noGrp="1"/>
          </p:cNvSpPr>
          <p:nvPr>
            <p:ph type="pic" idx="16"/>
          </p:nvPr>
        </p:nvSpPr>
        <p:spPr>
          <a:xfrm>
            <a:off x="16226948" y="7698775"/>
            <a:ext cx="1082100" cy="1081200"/>
          </a:xfrm>
          <a:prstGeom prst="ellipse">
            <a:avLst/>
          </a:prstGeom>
          <a:noFill/>
          <a:ln>
            <a:noFill/>
          </a:ln>
        </p:spPr>
      </p:sp>
      <p:sp>
        <p:nvSpPr>
          <p:cNvPr id="398" name="Google Shape;398;p29"/>
          <p:cNvSpPr/>
          <p:nvPr/>
        </p:nvSpPr>
        <p:spPr>
          <a:xfrm>
            <a:off x="22412037" y="536597"/>
            <a:ext cx="1515111" cy="1515111"/>
          </a:xfrm>
          <a:custGeom>
            <a:avLst/>
            <a:gdLst/>
            <a:ahLst/>
            <a:cxnLst/>
            <a:rect l="l" t="t" r="r" b="b"/>
            <a:pathLst>
              <a:path w="1137044" h="1137044" extrusionOk="0">
                <a:moveTo>
                  <a:pt x="0" y="0"/>
                </a:moveTo>
                <a:lnTo>
                  <a:pt x="1137044" y="0"/>
                </a:lnTo>
                <a:lnTo>
                  <a:pt x="1137044" y="1137044"/>
                </a:lnTo>
                <a:lnTo>
                  <a:pt x="0" y="1137044"/>
                </a:lnTo>
                <a:lnTo>
                  <a:pt x="0" y="0"/>
                </a:lnTo>
                <a:close/>
              </a:path>
            </a:pathLst>
          </a:custGeom>
          <a:blipFill rotWithShape="1">
            <a:blip r:embed="rId3">
              <a:alphaModFix/>
            </a:blip>
            <a:stretch>
              <a:fillRect/>
            </a:stretch>
          </a:blipFill>
          <a:ln>
            <a:noFill/>
          </a:ln>
        </p:spPr>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Normal_Title Only_White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sp>
        <p:nvSpPr>
          <p:cNvPr id="6" name="Rectangle 5">
            <a:extLst>
              <a:ext uri="{FF2B5EF4-FFF2-40B4-BE49-F238E27FC236}">
                <a16:creationId xmlns:a16="http://schemas.microsoft.com/office/drawing/2014/main" id="{3AC8196E-6037-4640-AD75-692AC1A70CBC}"/>
              </a:ext>
            </a:extLst>
          </p:cNvPr>
          <p:cNvSpPr>
            <a:spLocks noChangeAspect="1"/>
          </p:cNvSpPr>
          <p:nvPr userDrawn="1"/>
        </p:nvSpPr>
        <p:spPr>
          <a:xfrm>
            <a:off x="0" y="214055"/>
            <a:ext cx="9386535" cy="281626"/>
          </a:xfrm>
          <a:prstGeom prst="rect">
            <a:avLst/>
          </a:prstGeom>
          <a:gradFill>
            <a:gsLst>
              <a:gs pos="100000">
                <a:schemeClr val="accent1"/>
              </a:gs>
              <a:gs pos="0">
                <a:schemeClr val="accent5"/>
              </a:gs>
            </a:gsLst>
            <a:lin ang="0" scaled="0"/>
          </a:gradFill>
        </p:spPr>
        <p:txBody>
          <a:bodyPr vert="horz" lIns="359906" tIns="359906" rIns="359906" bIns="359906" rtlCol="0" anchor="t" anchorCtr="0">
            <a:noAutofit/>
          </a:bodyPr>
          <a:lstStyle/>
          <a:p>
            <a:pPr lvl="0">
              <a:lnSpc>
                <a:spcPct val="70000"/>
              </a:lnSpc>
              <a:spcBef>
                <a:spcPct val="0"/>
              </a:spcBef>
              <a:buNone/>
            </a:pPr>
            <a:endParaRPr lang="en-US" sz="17596" baseline="0">
              <a:solidFill>
                <a:schemeClr val="bg1"/>
              </a:solidFill>
              <a:latin typeface="KPMG Bold" panose="020B0803030202040204" pitchFamily="34" charset="0"/>
              <a:ea typeface="+mj-ea"/>
              <a:cs typeface="+mj-cs"/>
            </a:endParaRPr>
          </a:p>
        </p:txBody>
      </p:sp>
    </p:spTree>
    <p:extLst>
      <p:ext uri="{BB962C8B-B14F-4D97-AF65-F5344CB8AC3E}">
        <p14:creationId xmlns:p14="http://schemas.microsoft.com/office/powerpoint/2010/main" val="2684738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cSld name="Data Citizens with Purpose">
    <p:spTree>
      <p:nvGrpSpPr>
        <p:cNvPr id="1" name=""/>
        <p:cNvGrpSpPr/>
        <p:nvPr/>
      </p:nvGrpSpPr>
      <p:grpSpPr>
        <a:xfrm>
          <a:off x="0" y="0"/>
          <a:ext cx="0" cy="0"/>
          <a:chOff x="0" y="0"/>
          <a:chExt cx="0" cy="0"/>
        </a:xfrm>
      </p:grpSpPr>
      <p:sp>
        <p:nvSpPr>
          <p:cNvPr id="3" name="Rectangle 2"/>
          <p:cNvSpPr/>
          <p:nvPr userDrawn="1"/>
        </p:nvSpPr>
        <p:spPr>
          <a:xfrm>
            <a:off x="1" y="0"/>
            <a:ext cx="2383689" cy="13716000"/>
          </a:xfrm>
          <a:prstGeom prst="rect">
            <a:avLst/>
          </a:prstGeom>
          <a:solidFill>
            <a:srgbClr val="09104F"/>
          </a:solidFill>
          <a:ln>
            <a:noFill/>
          </a:ln>
        </p:spPr>
        <p:style>
          <a:lnRef idx="2">
            <a:schemeClr val="accent1">
              <a:shade val="50000"/>
            </a:schemeClr>
          </a:lnRef>
          <a:fillRef idx="1">
            <a:schemeClr val="accent1"/>
          </a:fillRef>
          <a:effectRef idx="0">
            <a:schemeClr val="accent1"/>
          </a:effectRef>
          <a:fontRef idx="minor">
            <a:schemeClr val="lt1"/>
          </a:fontRef>
        </p:style>
        <p:txBody>
          <a:bodyPr lIns="109192" tIns="109192" rIns="109192" bIns="109192" rtlCol="0" anchor="ctr"/>
          <a:lstStyle/>
          <a:p>
            <a:endParaRPr lang="en-US" sz="2999">
              <a:solidFill>
                <a:prstClr val="white"/>
              </a:solidFill>
            </a:endParaRPr>
          </a:p>
        </p:txBody>
      </p:sp>
      <p:grpSp>
        <p:nvGrpSpPr>
          <p:cNvPr id="29" name="Group 28"/>
          <p:cNvGrpSpPr/>
          <p:nvPr userDrawn="1"/>
        </p:nvGrpSpPr>
        <p:grpSpPr>
          <a:xfrm>
            <a:off x="155033" y="361153"/>
            <a:ext cx="2070585" cy="2069198"/>
            <a:chOff x="4578351" y="2601913"/>
            <a:chExt cx="1708150" cy="1706563"/>
          </a:xfrm>
        </p:grpSpPr>
        <p:sp>
          <p:nvSpPr>
            <p:cNvPr id="30" name="Oval 5"/>
            <p:cNvSpPr>
              <a:spLocks noChangeArrowheads="1"/>
            </p:cNvSpPr>
            <p:nvPr/>
          </p:nvSpPr>
          <p:spPr bwMode="auto">
            <a:xfrm>
              <a:off x="4578351" y="2601913"/>
              <a:ext cx="1708150" cy="1706563"/>
            </a:xfrm>
            <a:prstGeom prst="ellipse">
              <a:avLst/>
            </a:prstGeom>
            <a:solidFill>
              <a:srgbClr val="702A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799"/>
            </a:p>
          </p:txBody>
        </p:sp>
        <p:sp>
          <p:nvSpPr>
            <p:cNvPr id="31" name="Oval 6"/>
            <p:cNvSpPr>
              <a:spLocks noChangeArrowheads="1"/>
            </p:cNvSpPr>
            <p:nvPr/>
          </p:nvSpPr>
          <p:spPr bwMode="auto">
            <a:xfrm>
              <a:off x="4713288" y="2733676"/>
              <a:ext cx="1441450" cy="1439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799"/>
            </a:p>
          </p:txBody>
        </p:sp>
        <p:sp>
          <p:nvSpPr>
            <p:cNvPr id="32" name="Oval 7"/>
            <p:cNvSpPr>
              <a:spLocks noChangeArrowheads="1"/>
            </p:cNvSpPr>
            <p:nvPr/>
          </p:nvSpPr>
          <p:spPr bwMode="auto">
            <a:xfrm>
              <a:off x="4741070" y="2764632"/>
              <a:ext cx="1382713" cy="1381125"/>
            </a:xfrm>
            <a:prstGeom prst="ellipse">
              <a:avLst/>
            </a:prstGeom>
            <a:solidFill>
              <a:srgbClr val="05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799"/>
            </a:p>
          </p:txBody>
        </p:sp>
        <p:sp>
          <p:nvSpPr>
            <p:cNvPr id="33" name="Freeform 8"/>
            <p:cNvSpPr>
              <a:spLocks/>
            </p:cNvSpPr>
            <p:nvPr/>
          </p:nvSpPr>
          <p:spPr bwMode="auto">
            <a:xfrm>
              <a:off x="4927601" y="3105151"/>
              <a:ext cx="1031875" cy="676275"/>
            </a:xfrm>
            <a:custGeom>
              <a:avLst/>
              <a:gdLst>
                <a:gd name="T0" fmla="*/ 13 w 597"/>
                <a:gd name="T1" fmla="*/ 0 h 392"/>
                <a:gd name="T2" fmla="*/ 0 w 597"/>
                <a:gd name="T3" fmla="*/ 14 h 392"/>
                <a:gd name="T4" fmla="*/ 0 w 597"/>
                <a:gd name="T5" fmla="*/ 378 h 392"/>
                <a:gd name="T6" fmla="*/ 13 w 597"/>
                <a:gd name="T7" fmla="*/ 392 h 392"/>
                <a:gd name="T8" fmla="*/ 585 w 597"/>
                <a:gd name="T9" fmla="*/ 392 h 392"/>
                <a:gd name="T10" fmla="*/ 597 w 597"/>
                <a:gd name="T11" fmla="*/ 378 h 392"/>
                <a:gd name="T12" fmla="*/ 597 w 597"/>
                <a:gd name="T13" fmla="*/ 14 h 392"/>
                <a:gd name="T14" fmla="*/ 585 w 597"/>
                <a:gd name="T15" fmla="*/ 0 h 392"/>
                <a:gd name="T16" fmla="*/ 13 w 597"/>
                <a:gd name="T17" fmla="*/ 0 h 392"/>
                <a:gd name="T18" fmla="*/ 13 w 597"/>
                <a:gd name="T19" fmla="*/ 0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7" h="392">
                  <a:moveTo>
                    <a:pt x="13" y="0"/>
                  </a:moveTo>
                  <a:cubicBezTo>
                    <a:pt x="6" y="0"/>
                    <a:pt x="0" y="6"/>
                    <a:pt x="0" y="14"/>
                  </a:cubicBezTo>
                  <a:cubicBezTo>
                    <a:pt x="0" y="378"/>
                    <a:pt x="0" y="378"/>
                    <a:pt x="0" y="378"/>
                  </a:cubicBezTo>
                  <a:cubicBezTo>
                    <a:pt x="0" y="386"/>
                    <a:pt x="6" y="392"/>
                    <a:pt x="13" y="392"/>
                  </a:cubicBezTo>
                  <a:cubicBezTo>
                    <a:pt x="585" y="392"/>
                    <a:pt x="585" y="392"/>
                    <a:pt x="585" y="392"/>
                  </a:cubicBezTo>
                  <a:cubicBezTo>
                    <a:pt x="593" y="392"/>
                    <a:pt x="597" y="386"/>
                    <a:pt x="597" y="378"/>
                  </a:cubicBezTo>
                  <a:cubicBezTo>
                    <a:pt x="597" y="14"/>
                    <a:pt x="597" y="14"/>
                    <a:pt x="597" y="14"/>
                  </a:cubicBezTo>
                  <a:cubicBezTo>
                    <a:pt x="597" y="6"/>
                    <a:pt x="593" y="0"/>
                    <a:pt x="585" y="0"/>
                  </a:cubicBezTo>
                  <a:cubicBezTo>
                    <a:pt x="13" y="0"/>
                    <a:pt x="13" y="0"/>
                    <a:pt x="13" y="0"/>
                  </a:cubicBezTo>
                  <a:cubicBezTo>
                    <a:pt x="13" y="0"/>
                    <a:pt x="13" y="0"/>
                    <a:pt x="13" y="0"/>
                  </a:cubicBezTo>
                  <a:close/>
                </a:path>
              </a:pathLst>
            </a:custGeom>
            <a:noFill/>
            <a:ln w="285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799"/>
            </a:p>
          </p:txBody>
        </p:sp>
        <p:sp>
          <p:nvSpPr>
            <p:cNvPr id="34" name="Freeform 9"/>
            <p:cNvSpPr>
              <a:spLocks/>
            </p:cNvSpPr>
            <p:nvPr/>
          </p:nvSpPr>
          <p:spPr bwMode="auto">
            <a:xfrm>
              <a:off x="5281613" y="3887788"/>
              <a:ext cx="322263" cy="28575"/>
            </a:xfrm>
            <a:custGeom>
              <a:avLst/>
              <a:gdLst>
                <a:gd name="T0" fmla="*/ 178 w 186"/>
                <a:gd name="T1" fmla="*/ 0 h 17"/>
                <a:gd name="T2" fmla="*/ 8 w 186"/>
                <a:gd name="T3" fmla="*/ 0 h 17"/>
                <a:gd name="T4" fmla="*/ 0 w 186"/>
                <a:gd name="T5" fmla="*/ 9 h 17"/>
                <a:gd name="T6" fmla="*/ 8 w 186"/>
                <a:gd name="T7" fmla="*/ 17 h 17"/>
                <a:gd name="T8" fmla="*/ 178 w 186"/>
                <a:gd name="T9" fmla="*/ 17 h 17"/>
                <a:gd name="T10" fmla="*/ 186 w 186"/>
                <a:gd name="T11" fmla="*/ 9 h 17"/>
                <a:gd name="T12" fmla="*/ 178 w 186"/>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86" h="17">
                  <a:moveTo>
                    <a:pt x="178" y="0"/>
                  </a:moveTo>
                  <a:cubicBezTo>
                    <a:pt x="8" y="0"/>
                    <a:pt x="8" y="0"/>
                    <a:pt x="8" y="0"/>
                  </a:cubicBezTo>
                  <a:cubicBezTo>
                    <a:pt x="3" y="0"/>
                    <a:pt x="0" y="4"/>
                    <a:pt x="0" y="9"/>
                  </a:cubicBezTo>
                  <a:cubicBezTo>
                    <a:pt x="0" y="12"/>
                    <a:pt x="3" y="17"/>
                    <a:pt x="8" y="17"/>
                  </a:cubicBezTo>
                  <a:cubicBezTo>
                    <a:pt x="178" y="17"/>
                    <a:pt x="178" y="17"/>
                    <a:pt x="178" y="17"/>
                  </a:cubicBezTo>
                  <a:cubicBezTo>
                    <a:pt x="183" y="17"/>
                    <a:pt x="186" y="12"/>
                    <a:pt x="186" y="9"/>
                  </a:cubicBezTo>
                  <a:cubicBezTo>
                    <a:pt x="186" y="4"/>
                    <a:pt x="183" y="0"/>
                    <a:pt x="1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799"/>
            </a:p>
          </p:txBody>
        </p:sp>
        <p:sp>
          <p:nvSpPr>
            <p:cNvPr id="35" name="Freeform 10"/>
            <p:cNvSpPr>
              <a:spLocks/>
            </p:cNvSpPr>
            <p:nvPr/>
          </p:nvSpPr>
          <p:spPr bwMode="auto">
            <a:xfrm>
              <a:off x="5349876" y="3833813"/>
              <a:ext cx="185738" cy="28575"/>
            </a:xfrm>
            <a:custGeom>
              <a:avLst/>
              <a:gdLst>
                <a:gd name="T0" fmla="*/ 99 w 108"/>
                <a:gd name="T1" fmla="*/ 0 h 17"/>
                <a:gd name="T2" fmla="*/ 9 w 108"/>
                <a:gd name="T3" fmla="*/ 0 h 17"/>
                <a:gd name="T4" fmla="*/ 0 w 108"/>
                <a:gd name="T5" fmla="*/ 8 h 17"/>
                <a:gd name="T6" fmla="*/ 9 w 108"/>
                <a:gd name="T7" fmla="*/ 17 h 17"/>
                <a:gd name="T8" fmla="*/ 99 w 108"/>
                <a:gd name="T9" fmla="*/ 17 h 17"/>
                <a:gd name="T10" fmla="*/ 108 w 108"/>
                <a:gd name="T11" fmla="*/ 8 h 17"/>
                <a:gd name="T12" fmla="*/ 99 w 108"/>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08" h="17">
                  <a:moveTo>
                    <a:pt x="99" y="0"/>
                  </a:moveTo>
                  <a:cubicBezTo>
                    <a:pt x="9" y="0"/>
                    <a:pt x="9" y="0"/>
                    <a:pt x="9" y="0"/>
                  </a:cubicBezTo>
                  <a:cubicBezTo>
                    <a:pt x="4" y="0"/>
                    <a:pt x="0" y="4"/>
                    <a:pt x="0" y="8"/>
                  </a:cubicBezTo>
                  <a:cubicBezTo>
                    <a:pt x="0" y="13"/>
                    <a:pt x="4" y="17"/>
                    <a:pt x="9" y="17"/>
                  </a:cubicBezTo>
                  <a:cubicBezTo>
                    <a:pt x="99" y="17"/>
                    <a:pt x="99" y="17"/>
                    <a:pt x="99" y="17"/>
                  </a:cubicBezTo>
                  <a:cubicBezTo>
                    <a:pt x="104" y="17"/>
                    <a:pt x="108" y="13"/>
                    <a:pt x="108" y="8"/>
                  </a:cubicBezTo>
                  <a:cubicBezTo>
                    <a:pt x="108" y="4"/>
                    <a:pt x="104" y="0"/>
                    <a:pt x="9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799"/>
            </a:p>
          </p:txBody>
        </p:sp>
        <p:sp>
          <p:nvSpPr>
            <p:cNvPr id="36" name="Freeform 11"/>
            <p:cNvSpPr>
              <a:spLocks/>
            </p:cNvSpPr>
            <p:nvPr/>
          </p:nvSpPr>
          <p:spPr bwMode="auto">
            <a:xfrm>
              <a:off x="4922838" y="3719513"/>
              <a:ext cx="1039813" cy="53975"/>
            </a:xfrm>
            <a:custGeom>
              <a:avLst/>
              <a:gdLst>
                <a:gd name="T0" fmla="*/ 0 w 655"/>
                <a:gd name="T1" fmla="*/ 0 h 34"/>
                <a:gd name="T2" fmla="*/ 655 w 655"/>
                <a:gd name="T3" fmla="*/ 0 h 34"/>
                <a:gd name="T4" fmla="*/ 655 w 655"/>
                <a:gd name="T5" fmla="*/ 34 h 34"/>
                <a:gd name="T6" fmla="*/ 0 w 655"/>
                <a:gd name="T7" fmla="*/ 34 h 34"/>
                <a:gd name="T8" fmla="*/ 0 w 655"/>
                <a:gd name="T9" fmla="*/ 0 h 34"/>
                <a:gd name="T10" fmla="*/ 0 w 655"/>
                <a:gd name="T11" fmla="*/ 0 h 34"/>
              </a:gdLst>
              <a:ahLst/>
              <a:cxnLst>
                <a:cxn ang="0">
                  <a:pos x="T0" y="T1"/>
                </a:cxn>
                <a:cxn ang="0">
                  <a:pos x="T2" y="T3"/>
                </a:cxn>
                <a:cxn ang="0">
                  <a:pos x="T4" y="T5"/>
                </a:cxn>
                <a:cxn ang="0">
                  <a:pos x="T6" y="T7"/>
                </a:cxn>
                <a:cxn ang="0">
                  <a:pos x="T8" y="T9"/>
                </a:cxn>
                <a:cxn ang="0">
                  <a:pos x="T10" y="T11"/>
                </a:cxn>
              </a:cxnLst>
              <a:rect l="0" t="0" r="r" b="b"/>
              <a:pathLst>
                <a:path w="655" h="34">
                  <a:moveTo>
                    <a:pt x="0" y="0"/>
                  </a:moveTo>
                  <a:lnTo>
                    <a:pt x="655" y="0"/>
                  </a:lnTo>
                  <a:lnTo>
                    <a:pt x="655" y="34"/>
                  </a:lnTo>
                  <a:lnTo>
                    <a:pt x="0" y="34"/>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799"/>
            </a:p>
          </p:txBody>
        </p:sp>
        <p:sp>
          <p:nvSpPr>
            <p:cNvPr id="37" name="Oval 12"/>
            <p:cNvSpPr>
              <a:spLocks noChangeArrowheads="1"/>
            </p:cNvSpPr>
            <p:nvPr/>
          </p:nvSpPr>
          <p:spPr bwMode="auto">
            <a:xfrm>
              <a:off x="5594351" y="3324226"/>
              <a:ext cx="73025" cy="76200"/>
            </a:xfrm>
            <a:prstGeom prst="ellipse">
              <a:avLst/>
            </a:prstGeom>
            <a:solidFill>
              <a:srgbClr val="05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799"/>
            </a:p>
          </p:txBody>
        </p:sp>
        <p:sp>
          <p:nvSpPr>
            <p:cNvPr id="38" name="Oval 13"/>
            <p:cNvSpPr>
              <a:spLocks noChangeArrowheads="1"/>
            </p:cNvSpPr>
            <p:nvPr/>
          </p:nvSpPr>
          <p:spPr bwMode="auto">
            <a:xfrm>
              <a:off x="5594351" y="3324226"/>
              <a:ext cx="73025" cy="76200"/>
            </a:xfrm>
            <a:prstGeom prst="ellipse">
              <a:avLst/>
            </a:prstGeom>
            <a:noFill/>
            <a:ln w="20638" cap="flat">
              <a:solidFill>
                <a:srgbClr val="054F9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799"/>
            </a:p>
          </p:txBody>
        </p:sp>
        <p:sp>
          <p:nvSpPr>
            <p:cNvPr id="39" name="Freeform 14"/>
            <p:cNvSpPr>
              <a:spLocks noEditPoints="1"/>
            </p:cNvSpPr>
            <p:nvPr/>
          </p:nvSpPr>
          <p:spPr bwMode="auto">
            <a:xfrm>
              <a:off x="5102226" y="3527426"/>
              <a:ext cx="660400" cy="287338"/>
            </a:xfrm>
            <a:custGeom>
              <a:avLst/>
              <a:gdLst>
                <a:gd name="T0" fmla="*/ 92 w 382"/>
                <a:gd name="T1" fmla="*/ 21 h 166"/>
                <a:gd name="T2" fmla="*/ 130 w 382"/>
                <a:gd name="T3" fmla="*/ 21 h 166"/>
                <a:gd name="T4" fmla="*/ 175 w 382"/>
                <a:gd name="T5" fmla="*/ 46 h 166"/>
                <a:gd name="T6" fmla="*/ 150 w 382"/>
                <a:gd name="T7" fmla="*/ 57 h 166"/>
                <a:gd name="T8" fmla="*/ 81 w 382"/>
                <a:gd name="T9" fmla="*/ 26 h 166"/>
                <a:gd name="T10" fmla="*/ 92 w 382"/>
                <a:gd name="T11" fmla="*/ 21 h 166"/>
                <a:gd name="T12" fmla="*/ 92 w 382"/>
                <a:gd name="T13" fmla="*/ 21 h 166"/>
                <a:gd name="T14" fmla="*/ 165 w 382"/>
                <a:gd name="T15" fmla="*/ 17 h 166"/>
                <a:gd name="T16" fmla="*/ 198 w 382"/>
                <a:gd name="T17" fmla="*/ 20 h 166"/>
                <a:gd name="T18" fmla="*/ 214 w 382"/>
                <a:gd name="T19" fmla="*/ 31 h 166"/>
                <a:gd name="T20" fmla="*/ 189 w 382"/>
                <a:gd name="T21" fmla="*/ 40 h 166"/>
                <a:gd name="T22" fmla="*/ 155 w 382"/>
                <a:gd name="T23" fmla="*/ 21 h 166"/>
                <a:gd name="T24" fmla="*/ 165 w 382"/>
                <a:gd name="T25" fmla="*/ 17 h 166"/>
                <a:gd name="T26" fmla="*/ 165 w 382"/>
                <a:gd name="T27" fmla="*/ 17 h 166"/>
                <a:gd name="T28" fmla="*/ 376 w 382"/>
                <a:gd name="T29" fmla="*/ 118 h 166"/>
                <a:gd name="T30" fmla="*/ 341 w 382"/>
                <a:gd name="T31" fmla="*/ 118 h 166"/>
                <a:gd name="T32" fmla="*/ 340 w 382"/>
                <a:gd name="T33" fmla="*/ 118 h 166"/>
                <a:gd name="T34" fmla="*/ 214 w 382"/>
                <a:gd name="T35" fmla="*/ 151 h 166"/>
                <a:gd name="T36" fmla="*/ 184 w 382"/>
                <a:gd name="T37" fmla="*/ 152 h 166"/>
                <a:gd name="T38" fmla="*/ 153 w 382"/>
                <a:gd name="T39" fmla="*/ 138 h 166"/>
                <a:gd name="T40" fmla="*/ 122 w 382"/>
                <a:gd name="T41" fmla="*/ 115 h 166"/>
                <a:gd name="T42" fmla="*/ 18 w 382"/>
                <a:gd name="T43" fmla="*/ 35 h 166"/>
                <a:gd name="T44" fmla="*/ 58 w 382"/>
                <a:gd name="T45" fmla="*/ 29 h 166"/>
                <a:gd name="T46" fmla="*/ 63 w 382"/>
                <a:gd name="T47" fmla="*/ 32 h 166"/>
                <a:gd name="T48" fmla="*/ 63 w 382"/>
                <a:gd name="T49" fmla="*/ 32 h 166"/>
                <a:gd name="T50" fmla="*/ 137 w 382"/>
                <a:gd name="T51" fmla="*/ 65 h 166"/>
                <a:gd name="T52" fmla="*/ 128 w 382"/>
                <a:gd name="T53" fmla="*/ 76 h 166"/>
                <a:gd name="T54" fmla="*/ 127 w 382"/>
                <a:gd name="T55" fmla="*/ 99 h 166"/>
                <a:gd name="T56" fmla="*/ 148 w 382"/>
                <a:gd name="T57" fmla="*/ 112 h 166"/>
                <a:gd name="T58" fmla="*/ 262 w 382"/>
                <a:gd name="T59" fmla="*/ 104 h 166"/>
                <a:gd name="T60" fmla="*/ 268 w 382"/>
                <a:gd name="T61" fmla="*/ 98 h 166"/>
                <a:gd name="T62" fmla="*/ 260 w 382"/>
                <a:gd name="T63" fmla="*/ 91 h 166"/>
                <a:gd name="T64" fmla="*/ 148 w 382"/>
                <a:gd name="T65" fmla="*/ 99 h 166"/>
                <a:gd name="T66" fmla="*/ 137 w 382"/>
                <a:gd name="T67" fmla="*/ 93 h 166"/>
                <a:gd name="T68" fmla="*/ 137 w 382"/>
                <a:gd name="T69" fmla="*/ 84 h 166"/>
                <a:gd name="T70" fmla="*/ 153 w 382"/>
                <a:gd name="T71" fmla="*/ 70 h 166"/>
                <a:gd name="T72" fmla="*/ 274 w 382"/>
                <a:gd name="T73" fmla="*/ 26 h 166"/>
                <a:gd name="T74" fmla="*/ 340 w 382"/>
                <a:gd name="T75" fmla="*/ 46 h 166"/>
                <a:gd name="T76" fmla="*/ 343 w 382"/>
                <a:gd name="T77" fmla="*/ 48 h 166"/>
                <a:gd name="T78" fmla="*/ 376 w 382"/>
                <a:gd name="T79" fmla="*/ 48 h 166"/>
                <a:gd name="T80" fmla="*/ 382 w 382"/>
                <a:gd name="T81" fmla="*/ 42 h 166"/>
                <a:gd name="T82" fmla="*/ 376 w 382"/>
                <a:gd name="T83" fmla="*/ 35 h 166"/>
                <a:gd name="T84" fmla="*/ 344 w 382"/>
                <a:gd name="T85" fmla="*/ 35 h 166"/>
                <a:gd name="T86" fmla="*/ 273 w 382"/>
                <a:gd name="T87" fmla="*/ 12 h 166"/>
                <a:gd name="T88" fmla="*/ 229 w 382"/>
                <a:gd name="T89" fmla="*/ 24 h 166"/>
                <a:gd name="T90" fmla="*/ 204 w 382"/>
                <a:gd name="T91" fmla="*/ 9 h 166"/>
                <a:gd name="T92" fmla="*/ 161 w 382"/>
                <a:gd name="T93" fmla="*/ 6 h 166"/>
                <a:gd name="T94" fmla="*/ 141 w 382"/>
                <a:gd name="T95" fmla="*/ 14 h 166"/>
                <a:gd name="T96" fmla="*/ 136 w 382"/>
                <a:gd name="T97" fmla="*/ 10 h 166"/>
                <a:gd name="T98" fmla="*/ 86 w 382"/>
                <a:gd name="T99" fmla="*/ 9 h 166"/>
                <a:gd name="T100" fmla="*/ 66 w 382"/>
                <a:gd name="T101" fmla="*/ 18 h 166"/>
                <a:gd name="T102" fmla="*/ 63 w 382"/>
                <a:gd name="T103" fmla="*/ 18 h 166"/>
                <a:gd name="T104" fmla="*/ 4 w 382"/>
                <a:gd name="T105" fmla="*/ 32 h 166"/>
                <a:gd name="T106" fmla="*/ 2 w 382"/>
                <a:gd name="T107" fmla="*/ 37 h 166"/>
                <a:gd name="T108" fmla="*/ 4 w 382"/>
                <a:gd name="T109" fmla="*/ 42 h 166"/>
                <a:gd name="T110" fmla="*/ 145 w 382"/>
                <a:gd name="T111" fmla="*/ 149 h 166"/>
                <a:gd name="T112" fmla="*/ 195 w 382"/>
                <a:gd name="T113" fmla="*/ 166 h 166"/>
                <a:gd name="T114" fmla="*/ 217 w 382"/>
                <a:gd name="T115" fmla="*/ 161 h 166"/>
                <a:gd name="T116" fmla="*/ 341 w 382"/>
                <a:gd name="T117" fmla="*/ 130 h 166"/>
                <a:gd name="T118" fmla="*/ 376 w 382"/>
                <a:gd name="T119" fmla="*/ 130 h 166"/>
                <a:gd name="T120" fmla="*/ 382 w 382"/>
                <a:gd name="T121" fmla="*/ 124 h 166"/>
                <a:gd name="T122" fmla="*/ 376 w 382"/>
                <a:gd name="T123" fmla="*/ 118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2" h="166">
                  <a:moveTo>
                    <a:pt x="92" y="21"/>
                  </a:moveTo>
                  <a:cubicBezTo>
                    <a:pt x="103" y="15"/>
                    <a:pt x="117" y="15"/>
                    <a:pt x="130" y="21"/>
                  </a:cubicBezTo>
                  <a:cubicBezTo>
                    <a:pt x="175" y="46"/>
                    <a:pt x="175" y="46"/>
                    <a:pt x="175" y="46"/>
                  </a:cubicBezTo>
                  <a:cubicBezTo>
                    <a:pt x="162" y="51"/>
                    <a:pt x="155" y="54"/>
                    <a:pt x="150" y="57"/>
                  </a:cubicBezTo>
                  <a:cubicBezTo>
                    <a:pt x="81" y="26"/>
                    <a:pt x="81" y="26"/>
                    <a:pt x="81" y="26"/>
                  </a:cubicBezTo>
                  <a:cubicBezTo>
                    <a:pt x="92" y="21"/>
                    <a:pt x="92" y="21"/>
                    <a:pt x="92" y="21"/>
                  </a:cubicBezTo>
                  <a:cubicBezTo>
                    <a:pt x="92" y="21"/>
                    <a:pt x="92" y="21"/>
                    <a:pt x="92" y="21"/>
                  </a:cubicBezTo>
                  <a:close/>
                  <a:moveTo>
                    <a:pt x="165" y="17"/>
                  </a:moveTo>
                  <a:cubicBezTo>
                    <a:pt x="176" y="14"/>
                    <a:pt x="187" y="15"/>
                    <a:pt x="198" y="20"/>
                  </a:cubicBezTo>
                  <a:cubicBezTo>
                    <a:pt x="214" y="31"/>
                    <a:pt x="214" y="31"/>
                    <a:pt x="214" y="31"/>
                  </a:cubicBezTo>
                  <a:cubicBezTo>
                    <a:pt x="206" y="34"/>
                    <a:pt x="197" y="37"/>
                    <a:pt x="189" y="40"/>
                  </a:cubicBezTo>
                  <a:cubicBezTo>
                    <a:pt x="155" y="21"/>
                    <a:pt x="155" y="21"/>
                    <a:pt x="155" y="21"/>
                  </a:cubicBezTo>
                  <a:cubicBezTo>
                    <a:pt x="165" y="17"/>
                    <a:pt x="165" y="17"/>
                    <a:pt x="165" y="17"/>
                  </a:cubicBezTo>
                  <a:cubicBezTo>
                    <a:pt x="165" y="17"/>
                    <a:pt x="165" y="17"/>
                    <a:pt x="165" y="17"/>
                  </a:cubicBezTo>
                  <a:close/>
                  <a:moveTo>
                    <a:pt x="376" y="118"/>
                  </a:moveTo>
                  <a:cubicBezTo>
                    <a:pt x="341" y="118"/>
                    <a:pt x="341" y="118"/>
                    <a:pt x="341" y="118"/>
                  </a:cubicBezTo>
                  <a:cubicBezTo>
                    <a:pt x="340" y="118"/>
                    <a:pt x="340" y="118"/>
                    <a:pt x="340" y="118"/>
                  </a:cubicBezTo>
                  <a:cubicBezTo>
                    <a:pt x="214" y="151"/>
                    <a:pt x="214" y="151"/>
                    <a:pt x="214" y="151"/>
                  </a:cubicBezTo>
                  <a:cubicBezTo>
                    <a:pt x="204" y="154"/>
                    <a:pt x="193" y="154"/>
                    <a:pt x="184" y="152"/>
                  </a:cubicBezTo>
                  <a:cubicBezTo>
                    <a:pt x="173" y="151"/>
                    <a:pt x="162" y="146"/>
                    <a:pt x="153" y="138"/>
                  </a:cubicBezTo>
                  <a:cubicBezTo>
                    <a:pt x="122" y="115"/>
                    <a:pt x="122" y="115"/>
                    <a:pt x="122" y="115"/>
                  </a:cubicBezTo>
                  <a:cubicBezTo>
                    <a:pt x="18" y="35"/>
                    <a:pt x="18" y="35"/>
                    <a:pt x="18" y="35"/>
                  </a:cubicBezTo>
                  <a:cubicBezTo>
                    <a:pt x="28" y="26"/>
                    <a:pt x="44" y="24"/>
                    <a:pt x="58" y="29"/>
                  </a:cubicBezTo>
                  <a:cubicBezTo>
                    <a:pt x="63" y="32"/>
                    <a:pt x="63" y="32"/>
                    <a:pt x="63" y="32"/>
                  </a:cubicBezTo>
                  <a:cubicBezTo>
                    <a:pt x="63" y="32"/>
                    <a:pt x="63" y="32"/>
                    <a:pt x="63" y="32"/>
                  </a:cubicBezTo>
                  <a:cubicBezTo>
                    <a:pt x="137" y="65"/>
                    <a:pt x="137" y="65"/>
                    <a:pt x="137" y="65"/>
                  </a:cubicBezTo>
                  <a:cubicBezTo>
                    <a:pt x="134" y="68"/>
                    <a:pt x="131" y="71"/>
                    <a:pt x="128" y="76"/>
                  </a:cubicBezTo>
                  <a:cubicBezTo>
                    <a:pt x="122" y="84"/>
                    <a:pt x="122" y="93"/>
                    <a:pt x="127" y="99"/>
                  </a:cubicBezTo>
                  <a:cubicBezTo>
                    <a:pt x="131" y="109"/>
                    <a:pt x="139" y="112"/>
                    <a:pt x="148" y="112"/>
                  </a:cubicBezTo>
                  <a:cubicBezTo>
                    <a:pt x="262" y="104"/>
                    <a:pt x="262" y="104"/>
                    <a:pt x="262" y="104"/>
                  </a:cubicBezTo>
                  <a:cubicBezTo>
                    <a:pt x="265" y="104"/>
                    <a:pt x="268" y="101"/>
                    <a:pt x="268" y="98"/>
                  </a:cubicBezTo>
                  <a:cubicBezTo>
                    <a:pt x="268" y="93"/>
                    <a:pt x="265" y="91"/>
                    <a:pt x="260" y="91"/>
                  </a:cubicBezTo>
                  <a:cubicBezTo>
                    <a:pt x="148" y="99"/>
                    <a:pt x="148" y="99"/>
                    <a:pt x="148" y="99"/>
                  </a:cubicBezTo>
                  <a:cubicBezTo>
                    <a:pt x="144" y="99"/>
                    <a:pt x="139" y="96"/>
                    <a:pt x="137" y="93"/>
                  </a:cubicBezTo>
                  <a:cubicBezTo>
                    <a:pt x="137" y="91"/>
                    <a:pt x="134" y="88"/>
                    <a:pt x="137" y="84"/>
                  </a:cubicBezTo>
                  <a:cubicBezTo>
                    <a:pt x="144" y="76"/>
                    <a:pt x="151" y="70"/>
                    <a:pt x="153" y="70"/>
                  </a:cubicBezTo>
                  <a:cubicBezTo>
                    <a:pt x="179" y="57"/>
                    <a:pt x="251" y="26"/>
                    <a:pt x="274" y="26"/>
                  </a:cubicBezTo>
                  <a:cubicBezTo>
                    <a:pt x="301" y="24"/>
                    <a:pt x="340" y="46"/>
                    <a:pt x="340" y="46"/>
                  </a:cubicBezTo>
                  <a:cubicBezTo>
                    <a:pt x="341" y="48"/>
                    <a:pt x="341" y="48"/>
                    <a:pt x="343" y="48"/>
                  </a:cubicBezTo>
                  <a:cubicBezTo>
                    <a:pt x="376" y="48"/>
                    <a:pt x="376" y="48"/>
                    <a:pt x="376" y="48"/>
                  </a:cubicBezTo>
                  <a:cubicBezTo>
                    <a:pt x="379" y="48"/>
                    <a:pt x="382" y="45"/>
                    <a:pt x="382" y="42"/>
                  </a:cubicBezTo>
                  <a:cubicBezTo>
                    <a:pt x="382" y="38"/>
                    <a:pt x="379" y="35"/>
                    <a:pt x="376" y="35"/>
                  </a:cubicBezTo>
                  <a:cubicBezTo>
                    <a:pt x="344" y="35"/>
                    <a:pt x="344" y="35"/>
                    <a:pt x="344" y="35"/>
                  </a:cubicBezTo>
                  <a:cubicBezTo>
                    <a:pt x="337" y="31"/>
                    <a:pt x="301" y="12"/>
                    <a:pt x="273" y="12"/>
                  </a:cubicBezTo>
                  <a:cubicBezTo>
                    <a:pt x="264" y="14"/>
                    <a:pt x="246" y="18"/>
                    <a:pt x="229" y="24"/>
                  </a:cubicBezTo>
                  <a:cubicBezTo>
                    <a:pt x="204" y="9"/>
                    <a:pt x="204" y="9"/>
                    <a:pt x="204" y="9"/>
                  </a:cubicBezTo>
                  <a:cubicBezTo>
                    <a:pt x="190" y="1"/>
                    <a:pt x="175" y="0"/>
                    <a:pt x="161" y="6"/>
                  </a:cubicBezTo>
                  <a:cubicBezTo>
                    <a:pt x="141" y="14"/>
                    <a:pt x="141" y="14"/>
                    <a:pt x="141" y="14"/>
                  </a:cubicBezTo>
                  <a:cubicBezTo>
                    <a:pt x="136" y="10"/>
                    <a:pt x="136" y="10"/>
                    <a:pt x="136" y="10"/>
                  </a:cubicBezTo>
                  <a:cubicBezTo>
                    <a:pt x="120" y="3"/>
                    <a:pt x="102" y="3"/>
                    <a:pt x="86" y="9"/>
                  </a:cubicBezTo>
                  <a:cubicBezTo>
                    <a:pt x="66" y="18"/>
                    <a:pt x="66" y="18"/>
                    <a:pt x="66" y="18"/>
                  </a:cubicBezTo>
                  <a:cubicBezTo>
                    <a:pt x="63" y="18"/>
                    <a:pt x="63" y="18"/>
                    <a:pt x="63" y="18"/>
                  </a:cubicBezTo>
                  <a:cubicBezTo>
                    <a:pt x="41" y="9"/>
                    <a:pt x="18" y="15"/>
                    <a:pt x="4" y="32"/>
                  </a:cubicBezTo>
                  <a:cubicBezTo>
                    <a:pt x="2" y="34"/>
                    <a:pt x="0" y="35"/>
                    <a:pt x="2" y="37"/>
                  </a:cubicBezTo>
                  <a:cubicBezTo>
                    <a:pt x="2" y="38"/>
                    <a:pt x="2" y="40"/>
                    <a:pt x="4" y="42"/>
                  </a:cubicBezTo>
                  <a:cubicBezTo>
                    <a:pt x="145" y="149"/>
                    <a:pt x="145" y="149"/>
                    <a:pt x="145" y="149"/>
                  </a:cubicBezTo>
                  <a:cubicBezTo>
                    <a:pt x="159" y="160"/>
                    <a:pt x="176" y="166"/>
                    <a:pt x="195" y="166"/>
                  </a:cubicBezTo>
                  <a:cubicBezTo>
                    <a:pt x="203" y="166"/>
                    <a:pt x="209" y="165"/>
                    <a:pt x="217" y="161"/>
                  </a:cubicBezTo>
                  <a:cubicBezTo>
                    <a:pt x="341" y="130"/>
                    <a:pt x="341" y="130"/>
                    <a:pt x="341" y="130"/>
                  </a:cubicBezTo>
                  <a:cubicBezTo>
                    <a:pt x="376" y="130"/>
                    <a:pt x="376" y="130"/>
                    <a:pt x="376" y="130"/>
                  </a:cubicBezTo>
                  <a:cubicBezTo>
                    <a:pt x="379" y="130"/>
                    <a:pt x="382" y="127"/>
                    <a:pt x="382" y="124"/>
                  </a:cubicBezTo>
                  <a:cubicBezTo>
                    <a:pt x="382" y="121"/>
                    <a:pt x="379" y="118"/>
                    <a:pt x="376" y="1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799"/>
            </a:p>
          </p:txBody>
        </p:sp>
        <p:sp>
          <p:nvSpPr>
            <p:cNvPr id="40" name="Freeform 15"/>
            <p:cNvSpPr>
              <a:spLocks noEditPoints="1"/>
            </p:cNvSpPr>
            <p:nvPr/>
          </p:nvSpPr>
          <p:spPr bwMode="auto">
            <a:xfrm>
              <a:off x="5102226" y="3527426"/>
              <a:ext cx="660400" cy="287338"/>
            </a:xfrm>
            <a:custGeom>
              <a:avLst/>
              <a:gdLst>
                <a:gd name="T0" fmla="*/ 92 w 382"/>
                <a:gd name="T1" fmla="*/ 21 h 166"/>
                <a:gd name="T2" fmla="*/ 130 w 382"/>
                <a:gd name="T3" fmla="*/ 21 h 166"/>
                <a:gd name="T4" fmla="*/ 175 w 382"/>
                <a:gd name="T5" fmla="*/ 46 h 166"/>
                <a:gd name="T6" fmla="*/ 150 w 382"/>
                <a:gd name="T7" fmla="*/ 57 h 166"/>
                <a:gd name="T8" fmla="*/ 81 w 382"/>
                <a:gd name="T9" fmla="*/ 26 h 166"/>
                <a:gd name="T10" fmla="*/ 92 w 382"/>
                <a:gd name="T11" fmla="*/ 21 h 166"/>
                <a:gd name="T12" fmla="*/ 92 w 382"/>
                <a:gd name="T13" fmla="*/ 21 h 166"/>
                <a:gd name="T14" fmla="*/ 165 w 382"/>
                <a:gd name="T15" fmla="*/ 17 h 166"/>
                <a:gd name="T16" fmla="*/ 198 w 382"/>
                <a:gd name="T17" fmla="*/ 20 h 166"/>
                <a:gd name="T18" fmla="*/ 214 w 382"/>
                <a:gd name="T19" fmla="*/ 31 h 166"/>
                <a:gd name="T20" fmla="*/ 189 w 382"/>
                <a:gd name="T21" fmla="*/ 40 h 166"/>
                <a:gd name="T22" fmla="*/ 155 w 382"/>
                <a:gd name="T23" fmla="*/ 21 h 166"/>
                <a:gd name="T24" fmla="*/ 165 w 382"/>
                <a:gd name="T25" fmla="*/ 17 h 166"/>
                <a:gd name="T26" fmla="*/ 165 w 382"/>
                <a:gd name="T27" fmla="*/ 17 h 166"/>
                <a:gd name="T28" fmla="*/ 376 w 382"/>
                <a:gd name="T29" fmla="*/ 118 h 166"/>
                <a:gd name="T30" fmla="*/ 341 w 382"/>
                <a:gd name="T31" fmla="*/ 118 h 166"/>
                <a:gd name="T32" fmla="*/ 340 w 382"/>
                <a:gd name="T33" fmla="*/ 118 h 166"/>
                <a:gd name="T34" fmla="*/ 214 w 382"/>
                <a:gd name="T35" fmla="*/ 151 h 166"/>
                <a:gd name="T36" fmla="*/ 184 w 382"/>
                <a:gd name="T37" fmla="*/ 152 h 166"/>
                <a:gd name="T38" fmla="*/ 153 w 382"/>
                <a:gd name="T39" fmla="*/ 138 h 166"/>
                <a:gd name="T40" fmla="*/ 122 w 382"/>
                <a:gd name="T41" fmla="*/ 115 h 166"/>
                <a:gd name="T42" fmla="*/ 18 w 382"/>
                <a:gd name="T43" fmla="*/ 35 h 166"/>
                <a:gd name="T44" fmla="*/ 58 w 382"/>
                <a:gd name="T45" fmla="*/ 29 h 166"/>
                <a:gd name="T46" fmla="*/ 63 w 382"/>
                <a:gd name="T47" fmla="*/ 32 h 166"/>
                <a:gd name="T48" fmla="*/ 63 w 382"/>
                <a:gd name="T49" fmla="*/ 32 h 166"/>
                <a:gd name="T50" fmla="*/ 137 w 382"/>
                <a:gd name="T51" fmla="*/ 65 h 166"/>
                <a:gd name="T52" fmla="*/ 128 w 382"/>
                <a:gd name="T53" fmla="*/ 76 h 166"/>
                <a:gd name="T54" fmla="*/ 127 w 382"/>
                <a:gd name="T55" fmla="*/ 99 h 166"/>
                <a:gd name="T56" fmla="*/ 148 w 382"/>
                <a:gd name="T57" fmla="*/ 112 h 166"/>
                <a:gd name="T58" fmla="*/ 262 w 382"/>
                <a:gd name="T59" fmla="*/ 104 h 166"/>
                <a:gd name="T60" fmla="*/ 268 w 382"/>
                <a:gd name="T61" fmla="*/ 98 h 166"/>
                <a:gd name="T62" fmla="*/ 260 w 382"/>
                <a:gd name="T63" fmla="*/ 91 h 166"/>
                <a:gd name="T64" fmla="*/ 148 w 382"/>
                <a:gd name="T65" fmla="*/ 99 h 166"/>
                <a:gd name="T66" fmla="*/ 137 w 382"/>
                <a:gd name="T67" fmla="*/ 93 h 166"/>
                <a:gd name="T68" fmla="*/ 137 w 382"/>
                <a:gd name="T69" fmla="*/ 84 h 166"/>
                <a:gd name="T70" fmla="*/ 153 w 382"/>
                <a:gd name="T71" fmla="*/ 70 h 166"/>
                <a:gd name="T72" fmla="*/ 274 w 382"/>
                <a:gd name="T73" fmla="*/ 26 h 166"/>
                <a:gd name="T74" fmla="*/ 340 w 382"/>
                <a:gd name="T75" fmla="*/ 46 h 166"/>
                <a:gd name="T76" fmla="*/ 343 w 382"/>
                <a:gd name="T77" fmla="*/ 48 h 166"/>
                <a:gd name="T78" fmla="*/ 376 w 382"/>
                <a:gd name="T79" fmla="*/ 48 h 166"/>
                <a:gd name="T80" fmla="*/ 382 w 382"/>
                <a:gd name="T81" fmla="*/ 42 h 166"/>
                <a:gd name="T82" fmla="*/ 376 w 382"/>
                <a:gd name="T83" fmla="*/ 35 h 166"/>
                <a:gd name="T84" fmla="*/ 344 w 382"/>
                <a:gd name="T85" fmla="*/ 35 h 166"/>
                <a:gd name="T86" fmla="*/ 273 w 382"/>
                <a:gd name="T87" fmla="*/ 12 h 166"/>
                <a:gd name="T88" fmla="*/ 229 w 382"/>
                <a:gd name="T89" fmla="*/ 24 h 166"/>
                <a:gd name="T90" fmla="*/ 204 w 382"/>
                <a:gd name="T91" fmla="*/ 9 h 166"/>
                <a:gd name="T92" fmla="*/ 161 w 382"/>
                <a:gd name="T93" fmla="*/ 6 h 166"/>
                <a:gd name="T94" fmla="*/ 141 w 382"/>
                <a:gd name="T95" fmla="*/ 14 h 166"/>
                <a:gd name="T96" fmla="*/ 136 w 382"/>
                <a:gd name="T97" fmla="*/ 10 h 166"/>
                <a:gd name="T98" fmla="*/ 86 w 382"/>
                <a:gd name="T99" fmla="*/ 9 h 166"/>
                <a:gd name="T100" fmla="*/ 66 w 382"/>
                <a:gd name="T101" fmla="*/ 18 h 166"/>
                <a:gd name="T102" fmla="*/ 63 w 382"/>
                <a:gd name="T103" fmla="*/ 18 h 166"/>
                <a:gd name="T104" fmla="*/ 4 w 382"/>
                <a:gd name="T105" fmla="*/ 32 h 166"/>
                <a:gd name="T106" fmla="*/ 2 w 382"/>
                <a:gd name="T107" fmla="*/ 37 h 166"/>
                <a:gd name="T108" fmla="*/ 4 w 382"/>
                <a:gd name="T109" fmla="*/ 42 h 166"/>
                <a:gd name="T110" fmla="*/ 145 w 382"/>
                <a:gd name="T111" fmla="*/ 149 h 166"/>
                <a:gd name="T112" fmla="*/ 195 w 382"/>
                <a:gd name="T113" fmla="*/ 166 h 166"/>
                <a:gd name="T114" fmla="*/ 217 w 382"/>
                <a:gd name="T115" fmla="*/ 161 h 166"/>
                <a:gd name="T116" fmla="*/ 341 w 382"/>
                <a:gd name="T117" fmla="*/ 130 h 166"/>
                <a:gd name="T118" fmla="*/ 376 w 382"/>
                <a:gd name="T119" fmla="*/ 130 h 166"/>
                <a:gd name="T120" fmla="*/ 382 w 382"/>
                <a:gd name="T121" fmla="*/ 124 h 166"/>
                <a:gd name="T122" fmla="*/ 376 w 382"/>
                <a:gd name="T123" fmla="*/ 118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2" h="166">
                  <a:moveTo>
                    <a:pt x="92" y="21"/>
                  </a:moveTo>
                  <a:cubicBezTo>
                    <a:pt x="103" y="15"/>
                    <a:pt x="117" y="15"/>
                    <a:pt x="130" y="21"/>
                  </a:cubicBezTo>
                  <a:cubicBezTo>
                    <a:pt x="175" y="46"/>
                    <a:pt x="175" y="46"/>
                    <a:pt x="175" y="46"/>
                  </a:cubicBezTo>
                  <a:cubicBezTo>
                    <a:pt x="162" y="51"/>
                    <a:pt x="155" y="54"/>
                    <a:pt x="150" y="57"/>
                  </a:cubicBezTo>
                  <a:cubicBezTo>
                    <a:pt x="81" y="26"/>
                    <a:pt x="81" y="26"/>
                    <a:pt x="81" y="26"/>
                  </a:cubicBezTo>
                  <a:cubicBezTo>
                    <a:pt x="92" y="21"/>
                    <a:pt x="92" y="21"/>
                    <a:pt x="92" y="21"/>
                  </a:cubicBezTo>
                  <a:cubicBezTo>
                    <a:pt x="92" y="21"/>
                    <a:pt x="92" y="21"/>
                    <a:pt x="92" y="21"/>
                  </a:cubicBezTo>
                  <a:close/>
                  <a:moveTo>
                    <a:pt x="165" y="17"/>
                  </a:moveTo>
                  <a:cubicBezTo>
                    <a:pt x="176" y="14"/>
                    <a:pt x="187" y="15"/>
                    <a:pt x="198" y="20"/>
                  </a:cubicBezTo>
                  <a:cubicBezTo>
                    <a:pt x="214" y="31"/>
                    <a:pt x="214" y="31"/>
                    <a:pt x="214" y="31"/>
                  </a:cubicBezTo>
                  <a:cubicBezTo>
                    <a:pt x="206" y="34"/>
                    <a:pt x="197" y="37"/>
                    <a:pt x="189" y="40"/>
                  </a:cubicBezTo>
                  <a:cubicBezTo>
                    <a:pt x="155" y="21"/>
                    <a:pt x="155" y="21"/>
                    <a:pt x="155" y="21"/>
                  </a:cubicBezTo>
                  <a:cubicBezTo>
                    <a:pt x="165" y="17"/>
                    <a:pt x="165" y="17"/>
                    <a:pt x="165" y="17"/>
                  </a:cubicBezTo>
                  <a:cubicBezTo>
                    <a:pt x="165" y="17"/>
                    <a:pt x="165" y="17"/>
                    <a:pt x="165" y="17"/>
                  </a:cubicBezTo>
                  <a:close/>
                  <a:moveTo>
                    <a:pt x="376" y="118"/>
                  </a:moveTo>
                  <a:cubicBezTo>
                    <a:pt x="341" y="118"/>
                    <a:pt x="341" y="118"/>
                    <a:pt x="341" y="118"/>
                  </a:cubicBezTo>
                  <a:cubicBezTo>
                    <a:pt x="340" y="118"/>
                    <a:pt x="340" y="118"/>
                    <a:pt x="340" y="118"/>
                  </a:cubicBezTo>
                  <a:cubicBezTo>
                    <a:pt x="214" y="151"/>
                    <a:pt x="214" y="151"/>
                    <a:pt x="214" y="151"/>
                  </a:cubicBezTo>
                  <a:cubicBezTo>
                    <a:pt x="204" y="154"/>
                    <a:pt x="193" y="154"/>
                    <a:pt x="184" y="152"/>
                  </a:cubicBezTo>
                  <a:cubicBezTo>
                    <a:pt x="173" y="151"/>
                    <a:pt x="162" y="146"/>
                    <a:pt x="153" y="138"/>
                  </a:cubicBezTo>
                  <a:cubicBezTo>
                    <a:pt x="122" y="115"/>
                    <a:pt x="122" y="115"/>
                    <a:pt x="122" y="115"/>
                  </a:cubicBezTo>
                  <a:cubicBezTo>
                    <a:pt x="18" y="35"/>
                    <a:pt x="18" y="35"/>
                    <a:pt x="18" y="35"/>
                  </a:cubicBezTo>
                  <a:cubicBezTo>
                    <a:pt x="28" y="26"/>
                    <a:pt x="44" y="24"/>
                    <a:pt x="58" y="29"/>
                  </a:cubicBezTo>
                  <a:cubicBezTo>
                    <a:pt x="63" y="32"/>
                    <a:pt x="63" y="32"/>
                    <a:pt x="63" y="32"/>
                  </a:cubicBezTo>
                  <a:cubicBezTo>
                    <a:pt x="63" y="32"/>
                    <a:pt x="63" y="32"/>
                    <a:pt x="63" y="32"/>
                  </a:cubicBezTo>
                  <a:cubicBezTo>
                    <a:pt x="137" y="65"/>
                    <a:pt x="137" y="65"/>
                    <a:pt x="137" y="65"/>
                  </a:cubicBezTo>
                  <a:cubicBezTo>
                    <a:pt x="134" y="68"/>
                    <a:pt x="131" y="71"/>
                    <a:pt x="128" y="76"/>
                  </a:cubicBezTo>
                  <a:cubicBezTo>
                    <a:pt x="122" y="84"/>
                    <a:pt x="122" y="93"/>
                    <a:pt x="127" y="99"/>
                  </a:cubicBezTo>
                  <a:cubicBezTo>
                    <a:pt x="131" y="109"/>
                    <a:pt x="139" y="112"/>
                    <a:pt x="148" y="112"/>
                  </a:cubicBezTo>
                  <a:cubicBezTo>
                    <a:pt x="262" y="104"/>
                    <a:pt x="262" y="104"/>
                    <a:pt x="262" y="104"/>
                  </a:cubicBezTo>
                  <a:cubicBezTo>
                    <a:pt x="265" y="104"/>
                    <a:pt x="268" y="101"/>
                    <a:pt x="268" y="98"/>
                  </a:cubicBezTo>
                  <a:cubicBezTo>
                    <a:pt x="268" y="93"/>
                    <a:pt x="265" y="91"/>
                    <a:pt x="260" y="91"/>
                  </a:cubicBezTo>
                  <a:cubicBezTo>
                    <a:pt x="148" y="99"/>
                    <a:pt x="148" y="99"/>
                    <a:pt x="148" y="99"/>
                  </a:cubicBezTo>
                  <a:cubicBezTo>
                    <a:pt x="144" y="99"/>
                    <a:pt x="139" y="96"/>
                    <a:pt x="137" y="93"/>
                  </a:cubicBezTo>
                  <a:cubicBezTo>
                    <a:pt x="137" y="91"/>
                    <a:pt x="134" y="88"/>
                    <a:pt x="137" y="84"/>
                  </a:cubicBezTo>
                  <a:cubicBezTo>
                    <a:pt x="144" y="76"/>
                    <a:pt x="151" y="70"/>
                    <a:pt x="153" y="70"/>
                  </a:cubicBezTo>
                  <a:cubicBezTo>
                    <a:pt x="179" y="57"/>
                    <a:pt x="251" y="26"/>
                    <a:pt x="274" y="26"/>
                  </a:cubicBezTo>
                  <a:cubicBezTo>
                    <a:pt x="301" y="24"/>
                    <a:pt x="340" y="46"/>
                    <a:pt x="340" y="46"/>
                  </a:cubicBezTo>
                  <a:cubicBezTo>
                    <a:pt x="341" y="48"/>
                    <a:pt x="341" y="48"/>
                    <a:pt x="343" y="48"/>
                  </a:cubicBezTo>
                  <a:cubicBezTo>
                    <a:pt x="376" y="48"/>
                    <a:pt x="376" y="48"/>
                    <a:pt x="376" y="48"/>
                  </a:cubicBezTo>
                  <a:cubicBezTo>
                    <a:pt x="379" y="48"/>
                    <a:pt x="382" y="45"/>
                    <a:pt x="382" y="42"/>
                  </a:cubicBezTo>
                  <a:cubicBezTo>
                    <a:pt x="382" y="38"/>
                    <a:pt x="379" y="35"/>
                    <a:pt x="376" y="35"/>
                  </a:cubicBezTo>
                  <a:cubicBezTo>
                    <a:pt x="344" y="35"/>
                    <a:pt x="344" y="35"/>
                    <a:pt x="344" y="35"/>
                  </a:cubicBezTo>
                  <a:cubicBezTo>
                    <a:pt x="337" y="31"/>
                    <a:pt x="301" y="12"/>
                    <a:pt x="273" y="12"/>
                  </a:cubicBezTo>
                  <a:cubicBezTo>
                    <a:pt x="264" y="14"/>
                    <a:pt x="246" y="18"/>
                    <a:pt x="229" y="24"/>
                  </a:cubicBezTo>
                  <a:cubicBezTo>
                    <a:pt x="204" y="9"/>
                    <a:pt x="204" y="9"/>
                    <a:pt x="204" y="9"/>
                  </a:cubicBezTo>
                  <a:cubicBezTo>
                    <a:pt x="190" y="1"/>
                    <a:pt x="175" y="0"/>
                    <a:pt x="161" y="6"/>
                  </a:cubicBezTo>
                  <a:cubicBezTo>
                    <a:pt x="141" y="14"/>
                    <a:pt x="141" y="14"/>
                    <a:pt x="141" y="14"/>
                  </a:cubicBezTo>
                  <a:cubicBezTo>
                    <a:pt x="136" y="10"/>
                    <a:pt x="136" y="10"/>
                    <a:pt x="136" y="10"/>
                  </a:cubicBezTo>
                  <a:cubicBezTo>
                    <a:pt x="120" y="3"/>
                    <a:pt x="102" y="3"/>
                    <a:pt x="86" y="9"/>
                  </a:cubicBezTo>
                  <a:cubicBezTo>
                    <a:pt x="66" y="18"/>
                    <a:pt x="66" y="18"/>
                    <a:pt x="66" y="18"/>
                  </a:cubicBezTo>
                  <a:cubicBezTo>
                    <a:pt x="63" y="18"/>
                    <a:pt x="63" y="18"/>
                    <a:pt x="63" y="18"/>
                  </a:cubicBezTo>
                  <a:cubicBezTo>
                    <a:pt x="41" y="9"/>
                    <a:pt x="18" y="15"/>
                    <a:pt x="4" y="32"/>
                  </a:cubicBezTo>
                  <a:cubicBezTo>
                    <a:pt x="2" y="34"/>
                    <a:pt x="0" y="35"/>
                    <a:pt x="2" y="37"/>
                  </a:cubicBezTo>
                  <a:cubicBezTo>
                    <a:pt x="2" y="38"/>
                    <a:pt x="2" y="40"/>
                    <a:pt x="4" y="42"/>
                  </a:cubicBezTo>
                  <a:cubicBezTo>
                    <a:pt x="145" y="149"/>
                    <a:pt x="145" y="149"/>
                    <a:pt x="145" y="149"/>
                  </a:cubicBezTo>
                  <a:cubicBezTo>
                    <a:pt x="159" y="160"/>
                    <a:pt x="176" y="166"/>
                    <a:pt x="195" y="166"/>
                  </a:cubicBezTo>
                  <a:cubicBezTo>
                    <a:pt x="203" y="166"/>
                    <a:pt x="209" y="165"/>
                    <a:pt x="217" y="161"/>
                  </a:cubicBezTo>
                  <a:cubicBezTo>
                    <a:pt x="341" y="130"/>
                    <a:pt x="341" y="130"/>
                    <a:pt x="341" y="130"/>
                  </a:cubicBezTo>
                  <a:cubicBezTo>
                    <a:pt x="376" y="130"/>
                    <a:pt x="376" y="130"/>
                    <a:pt x="376" y="130"/>
                  </a:cubicBezTo>
                  <a:cubicBezTo>
                    <a:pt x="379" y="130"/>
                    <a:pt x="382" y="127"/>
                    <a:pt x="382" y="124"/>
                  </a:cubicBezTo>
                  <a:cubicBezTo>
                    <a:pt x="382" y="121"/>
                    <a:pt x="379" y="118"/>
                    <a:pt x="376" y="118"/>
                  </a:cubicBezTo>
                  <a:close/>
                </a:path>
              </a:pathLst>
            </a:custGeom>
            <a:noFill/>
            <a:ln w="20638" cap="flat">
              <a:solidFill>
                <a:srgbClr val="054F9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799"/>
            </a:p>
          </p:txBody>
        </p:sp>
        <p:sp>
          <p:nvSpPr>
            <p:cNvPr id="41" name="Freeform 16"/>
            <p:cNvSpPr>
              <a:spLocks/>
            </p:cNvSpPr>
            <p:nvPr/>
          </p:nvSpPr>
          <p:spPr bwMode="auto">
            <a:xfrm>
              <a:off x="5238751" y="3621088"/>
              <a:ext cx="534988" cy="192088"/>
            </a:xfrm>
            <a:custGeom>
              <a:avLst/>
              <a:gdLst>
                <a:gd name="T0" fmla="*/ 2 w 337"/>
                <a:gd name="T1" fmla="*/ 0 h 121"/>
                <a:gd name="T2" fmla="*/ 50 w 337"/>
                <a:gd name="T3" fmla="*/ 79 h 121"/>
                <a:gd name="T4" fmla="*/ 102 w 337"/>
                <a:gd name="T5" fmla="*/ 121 h 121"/>
                <a:gd name="T6" fmla="*/ 181 w 337"/>
                <a:gd name="T7" fmla="*/ 106 h 121"/>
                <a:gd name="T8" fmla="*/ 337 w 337"/>
                <a:gd name="T9" fmla="*/ 41 h 121"/>
                <a:gd name="T10" fmla="*/ 234 w 337"/>
                <a:gd name="T11" fmla="*/ 36 h 121"/>
                <a:gd name="T12" fmla="*/ 170 w 337"/>
                <a:gd name="T13" fmla="*/ 57 h 121"/>
                <a:gd name="T14" fmla="*/ 0 w 337"/>
                <a:gd name="T15" fmla="*/ 3 h 121"/>
                <a:gd name="T16" fmla="*/ 2 w 337"/>
                <a:gd name="T17" fmla="*/ 0 h 121"/>
                <a:gd name="T18" fmla="*/ 2 w 337"/>
                <a:gd name="T19" fmla="*/ 0 h 121"/>
                <a:gd name="T20" fmla="*/ 2 w 337"/>
                <a:gd name="T21"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7" h="121">
                  <a:moveTo>
                    <a:pt x="2" y="0"/>
                  </a:moveTo>
                  <a:lnTo>
                    <a:pt x="50" y="79"/>
                  </a:lnTo>
                  <a:lnTo>
                    <a:pt x="102" y="121"/>
                  </a:lnTo>
                  <a:lnTo>
                    <a:pt x="181" y="106"/>
                  </a:lnTo>
                  <a:lnTo>
                    <a:pt x="337" y="41"/>
                  </a:lnTo>
                  <a:lnTo>
                    <a:pt x="234" y="36"/>
                  </a:lnTo>
                  <a:lnTo>
                    <a:pt x="170" y="57"/>
                  </a:lnTo>
                  <a:lnTo>
                    <a:pt x="0" y="3"/>
                  </a:lnTo>
                  <a:lnTo>
                    <a:pt x="2" y="0"/>
                  </a:lnTo>
                  <a:lnTo>
                    <a:pt x="2" y="0"/>
                  </a:lnTo>
                  <a:lnTo>
                    <a:pt x="2" y="0"/>
                  </a:lnTo>
                  <a:close/>
                </a:path>
              </a:pathLst>
            </a:custGeom>
            <a:solidFill>
              <a:srgbClr val="05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799"/>
            </a:p>
          </p:txBody>
        </p:sp>
        <p:sp>
          <p:nvSpPr>
            <p:cNvPr id="42" name="Freeform 17"/>
            <p:cNvSpPr>
              <a:spLocks noEditPoints="1"/>
            </p:cNvSpPr>
            <p:nvPr/>
          </p:nvSpPr>
          <p:spPr bwMode="auto">
            <a:xfrm>
              <a:off x="5102226" y="3525838"/>
              <a:ext cx="660400" cy="288925"/>
            </a:xfrm>
            <a:custGeom>
              <a:avLst/>
              <a:gdLst>
                <a:gd name="T0" fmla="*/ 92 w 382"/>
                <a:gd name="T1" fmla="*/ 22 h 167"/>
                <a:gd name="T2" fmla="*/ 130 w 382"/>
                <a:gd name="T3" fmla="*/ 22 h 167"/>
                <a:gd name="T4" fmla="*/ 175 w 382"/>
                <a:gd name="T5" fmla="*/ 47 h 167"/>
                <a:gd name="T6" fmla="*/ 150 w 382"/>
                <a:gd name="T7" fmla="*/ 58 h 167"/>
                <a:gd name="T8" fmla="*/ 81 w 382"/>
                <a:gd name="T9" fmla="*/ 26 h 167"/>
                <a:gd name="T10" fmla="*/ 92 w 382"/>
                <a:gd name="T11" fmla="*/ 22 h 167"/>
                <a:gd name="T12" fmla="*/ 92 w 382"/>
                <a:gd name="T13" fmla="*/ 22 h 167"/>
                <a:gd name="T14" fmla="*/ 165 w 382"/>
                <a:gd name="T15" fmla="*/ 17 h 167"/>
                <a:gd name="T16" fmla="*/ 198 w 382"/>
                <a:gd name="T17" fmla="*/ 20 h 167"/>
                <a:gd name="T18" fmla="*/ 214 w 382"/>
                <a:gd name="T19" fmla="*/ 31 h 167"/>
                <a:gd name="T20" fmla="*/ 189 w 382"/>
                <a:gd name="T21" fmla="*/ 40 h 167"/>
                <a:gd name="T22" fmla="*/ 155 w 382"/>
                <a:gd name="T23" fmla="*/ 22 h 167"/>
                <a:gd name="T24" fmla="*/ 165 w 382"/>
                <a:gd name="T25" fmla="*/ 17 h 167"/>
                <a:gd name="T26" fmla="*/ 165 w 382"/>
                <a:gd name="T27" fmla="*/ 17 h 167"/>
                <a:gd name="T28" fmla="*/ 376 w 382"/>
                <a:gd name="T29" fmla="*/ 118 h 167"/>
                <a:gd name="T30" fmla="*/ 341 w 382"/>
                <a:gd name="T31" fmla="*/ 118 h 167"/>
                <a:gd name="T32" fmla="*/ 340 w 382"/>
                <a:gd name="T33" fmla="*/ 118 h 167"/>
                <a:gd name="T34" fmla="*/ 214 w 382"/>
                <a:gd name="T35" fmla="*/ 151 h 167"/>
                <a:gd name="T36" fmla="*/ 184 w 382"/>
                <a:gd name="T37" fmla="*/ 153 h 167"/>
                <a:gd name="T38" fmla="*/ 153 w 382"/>
                <a:gd name="T39" fmla="*/ 139 h 167"/>
                <a:gd name="T40" fmla="*/ 122 w 382"/>
                <a:gd name="T41" fmla="*/ 115 h 167"/>
                <a:gd name="T42" fmla="*/ 18 w 382"/>
                <a:gd name="T43" fmla="*/ 36 h 167"/>
                <a:gd name="T44" fmla="*/ 58 w 382"/>
                <a:gd name="T45" fmla="*/ 30 h 167"/>
                <a:gd name="T46" fmla="*/ 63 w 382"/>
                <a:gd name="T47" fmla="*/ 33 h 167"/>
                <a:gd name="T48" fmla="*/ 63 w 382"/>
                <a:gd name="T49" fmla="*/ 33 h 167"/>
                <a:gd name="T50" fmla="*/ 137 w 382"/>
                <a:gd name="T51" fmla="*/ 65 h 167"/>
                <a:gd name="T52" fmla="*/ 128 w 382"/>
                <a:gd name="T53" fmla="*/ 76 h 167"/>
                <a:gd name="T54" fmla="*/ 127 w 382"/>
                <a:gd name="T55" fmla="*/ 100 h 167"/>
                <a:gd name="T56" fmla="*/ 148 w 382"/>
                <a:gd name="T57" fmla="*/ 112 h 167"/>
                <a:gd name="T58" fmla="*/ 262 w 382"/>
                <a:gd name="T59" fmla="*/ 104 h 167"/>
                <a:gd name="T60" fmla="*/ 268 w 382"/>
                <a:gd name="T61" fmla="*/ 98 h 167"/>
                <a:gd name="T62" fmla="*/ 260 w 382"/>
                <a:gd name="T63" fmla="*/ 92 h 167"/>
                <a:gd name="T64" fmla="*/ 148 w 382"/>
                <a:gd name="T65" fmla="*/ 100 h 167"/>
                <a:gd name="T66" fmla="*/ 137 w 382"/>
                <a:gd name="T67" fmla="*/ 93 h 167"/>
                <a:gd name="T68" fmla="*/ 137 w 382"/>
                <a:gd name="T69" fmla="*/ 84 h 167"/>
                <a:gd name="T70" fmla="*/ 153 w 382"/>
                <a:gd name="T71" fmla="*/ 70 h 167"/>
                <a:gd name="T72" fmla="*/ 274 w 382"/>
                <a:gd name="T73" fmla="*/ 26 h 167"/>
                <a:gd name="T74" fmla="*/ 340 w 382"/>
                <a:gd name="T75" fmla="*/ 47 h 167"/>
                <a:gd name="T76" fmla="*/ 343 w 382"/>
                <a:gd name="T77" fmla="*/ 48 h 167"/>
                <a:gd name="T78" fmla="*/ 376 w 382"/>
                <a:gd name="T79" fmla="*/ 48 h 167"/>
                <a:gd name="T80" fmla="*/ 382 w 382"/>
                <a:gd name="T81" fmla="*/ 42 h 167"/>
                <a:gd name="T82" fmla="*/ 376 w 382"/>
                <a:gd name="T83" fmla="*/ 36 h 167"/>
                <a:gd name="T84" fmla="*/ 344 w 382"/>
                <a:gd name="T85" fmla="*/ 36 h 167"/>
                <a:gd name="T86" fmla="*/ 273 w 382"/>
                <a:gd name="T87" fmla="*/ 12 h 167"/>
                <a:gd name="T88" fmla="*/ 229 w 382"/>
                <a:gd name="T89" fmla="*/ 25 h 167"/>
                <a:gd name="T90" fmla="*/ 204 w 382"/>
                <a:gd name="T91" fmla="*/ 9 h 167"/>
                <a:gd name="T92" fmla="*/ 161 w 382"/>
                <a:gd name="T93" fmla="*/ 6 h 167"/>
                <a:gd name="T94" fmla="*/ 141 w 382"/>
                <a:gd name="T95" fmla="*/ 14 h 167"/>
                <a:gd name="T96" fmla="*/ 136 w 382"/>
                <a:gd name="T97" fmla="*/ 11 h 167"/>
                <a:gd name="T98" fmla="*/ 86 w 382"/>
                <a:gd name="T99" fmla="*/ 9 h 167"/>
                <a:gd name="T100" fmla="*/ 66 w 382"/>
                <a:gd name="T101" fmla="*/ 19 h 167"/>
                <a:gd name="T102" fmla="*/ 63 w 382"/>
                <a:gd name="T103" fmla="*/ 19 h 167"/>
                <a:gd name="T104" fmla="*/ 4 w 382"/>
                <a:gd name="T105" fmla="*/ 33 h 167"/>
                <a:gd name="T106" fmla="*/ 2 w 382"/>
                <a:gd name="T107" fmla="*/ 37 h 167"/>
                <a:gd name="T108" fmla="*/ 4 w 382"/>
                <a:gd name="T109" fmla="*/ 42 h 167"/>
                <a:gd name="T110" fmla="*/ 145 w 382"/>
                <a:gd name="T111" fmla="*/ 149 h 167"/>
                <a:gd name="T112" fmla="*/ 195 w 382"/>
                <a:gd name="T113" fmla="*/ 167 h 167"/>
                <a:gd name="T114" fmla="*/ 217 w 382"/>
                <a:gd name="T115" fmla="*/ 162 h 167"/>
                <a:gd name="T116" fmla="*/ 341 w 382"/>
                <a:gd name="T117" fmla="*/ 131 h 167"/>
                <a:gd name="T118" fmla="*/ 376 w 382"/>
                <a:gd name="T119" fmla="*/ 131 h 167"/>
                <a:gd name="T120" fmla="*/ 382 w 382"/>
                <a:gd name="T121" fmla="*/ 125 h 167"/>
                <a:gd name="T122" fmla="*/ 376 w 382"/>
                <a:gd name="T123" fmla="*/ 118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2" h="167">
                  <a:moveTo>
                    <a:pt x="92" y="22"/>
                  </a:moveTo>
                  <a:cubicBezTo>
                    <a:pt x="103" y="16"/>
                    <a:pt x="117" y="16"/>
                    <a:pt x="130" y="22"/>
                  </a:cubicBezTo>
                  <a:cubicBezTo>
                    <a:pt x="175" y="47"/>
                    <a:pt x="175" y="47"/>
                    <a:pt x="175" y="47"/>
                  </a:cubicBezTo>
                  <a:cubicBezTo>
                    <a:pt x="162" y="51"/>
                    <a:pt x="155" y="54"/>
                    <a:pt x="150" y="58"/>
                  </a:cubicBezTo>
                  <a:cubicBezTo>
                    <a:pt x="81" y="26"/>
                    <a:pt x="81" y="26"/>
                    <a:pt x="81" y="26"/>
                  </a:cubicBezTo>
                  <a:cubicBezTo>
                    <a:pt x="92" y="22"/>
                    <a:pt x="92" y="22"/>
                    <a:pt x="92" y="22"/>
                  </a:cubicBezTo>
                  <a:cubicBezTo>
                    <a:pt x="92" y="22"/>
                    <a:pt x="92" y="22"/>
                    <a:pt x="92" y="22"/>
                  </a:cubicBezTo>
                  <a:close/>
                  <a:moveTo>
                    <a:pt x="165" y="17"/>
                  </a:moveTo>
                  <a:cubicBezTo>
                    <a:pt x="176" y="14"/>
                    <a:pt x="187" y="16"/>
                    <a:pt x="198" y="20"/>
                  </a:cubicBezTo>
                  <a:cubicBezTo>
                    <a:pt x="214" y="31"/>
                    <a:pt x="214" y="31"/>
                    <a:pt x="214" y="31"/>
                  </a:cubicBezTo>
                  <a:cubicBezTo>
                    <a:pt x="206" y="34"/>
                    <a:pt x="197" y="37"/>
                    <a:pt x="189" y="40"/>
                  </a:cubicBezTo>
                  <a:cubicBezTo>
                    <a:pt x="155" y="22"/>
                    <a:pt x="155" y="22"/>
                    <a:pt x="155" y="22"/>
                  </a:cubicBezTo>
                  <a:cubicBezTo>
                    <a:pt x="165" y="17"/>
                    <a:pt x="165" y="17"/>
                    <a:pt x="165" y="17"/>
                  </a:cubicBezTo>
                  <a:cubicBezTo>
                    <a:pt x="165" y="17"/>
                    <a:pt x="165" y="17"/>
                    <a:pt x="165" y="17"/>
                  </a:cubicBezTo>
                  <a:close/>
                  <a:moveTo>
                    <a:pt x="376" y="118"/>
                  </a:moveTo>
                  <a:cubicBezTo>
                    <a:pt x="341" y="118"/>
                    <a:pt x="341" y="118"/>
                    <a:pt x="341" y="118"/>
                  </a:cubicBezTo>
                  <a:cubicBezTo>
                    <a:pt x="340" y="118"/>
                    <a:pt x="340" y="118"/>
                    <a:pt x="340" y="118"/>
                  </a:cubicBezTo>
                  <a:cubicBezTo>
                    <a:pt x="214" y="151"/>
                    <a:pt x="214" y="151"/>
                    <a:pt x="214" y="151"/>
                  </a:cubicBezTo>
                  <a:cubicBezTo>
                    <a:pt x="204" y="154"/>
                    <a:pt x="193" y="154"/>
                    <a:pt x="184" y="153"/>
                  </a:cubicBezTo>
                  <a:cubicBezTo>
                    <a:pt x="173" y="151"/>
                    <a:pt x="162" y="146"/>
                    <a:pt x="153" y="139"/>
                  </a:cubicBezTo>
                  <a:cubicBezTo>
                    <a:pt x="122" y="115"/>
                    <a:pt x="122" y="115"/>
                    <a:pt x="122" y="115"/>
                  </a:cubicBezTo>
                  <a:cubicBezTo>
                    <a:pt x="18" y="36"/>
                    <a:pt x="18" y="36"/>
                    <a:pt x="18" y="36"/>
                  </a:cubicBezTo>
                  <a:cubicBezTo>
                    <a:pt x="28" y="26"/>
                    <a:pt x="44" y="25"/>
                    <a:pt x="58" y="30"/>
                  </a:cubicBezTo>
                  <a:cubicBezTo>
                    <a:pt x="63" y="33"/>
                    <a:pt x="63" y="33"/>
                    <a:pt x="63" y="33"/>
                  </a:cubicBezTo>
                  <a:cubicBezTo>
                    <a:pt x="63" y="33"/>
                    <a:pt x="63" y="33"/>
                    <a:pt x="63" y="33"/>
                  </a:cubicBezTo>
                  <a:cubicBezTo>
                    <a:pt x="137" y="65"/>
                    <a:pt x="137" y="65"/>
                    <a:pt x="137" y="65"/>
                  </a:cubicBezTo>
                  <a:cubicBezTo>
                    <a:pt x="134" y="68"/>
                    <a:pt x="131" y="72"/>
                    <a:pt x="128" y="76"/>
                  </a:cubicBezTo>
                  <a:cubicBezTo>
                    <a:pt x="122" y="84"/>
                    <a:pt x="122" y="93"/>
                    <a:pt x="127" y="100"/>
                  </a:cubicBezTo>
                  <a:cubicBezTo>
                    <a:pt x="131" y="109"/>
                    <a:pt x="139" y="112"/>
                    <a:pt x="148" y="112"/>
                  </a:cubicBezTo>
                  <a:cubicBezTo>
                    <a:pt x="262" y="104"/>
                    <a:pt x="262" y="104"/>
                    <a:pt x="262" y="104"/>
                  </a:cubicBezTo>
                  <a:cubicBezTo>
                    <a:pt x="265" y="104"/>
                    <a:pt x="268" y="101"/>
                    <a:pt x="268" y="98"/>
                  </a:cubicBezTo>
                  <a:cubicBezTo>
                    <a:pt x="268" y="93"/>
                    <a:pt x="265" y="92"/>
                    <a:pt x="260" y="92"/>
                  </a:cubicBezTo>
                  <a:cubicBezTo>
                    <a:pt x="148" y="100"/>
                    <a:pt x="148" y="100"/>
                    <a:pt x="148" y="100"/>
                  </a:cubicBezTo>
                  <a:cubicBezTo>
                    <a:pt x="144" y="100"/>
                    <a:pt x="139" y="97"/>
                    <a:pt x="137" y="93"/>
                  </a:cubicBezTo>
                  <a:cubicBezTo>
                    <a:pt x="137" y="92"/>
                    <a:pt x="134" y="89"/>
                    <a:pt x="137" y="84"/>
                  </a:cubicBezTo>
                  <a:cubicBezTo>
                    <a:pt x="144" y="76"/>
                    <a:pt x="151" y="70"/>
                    <a:pt x="153" y="70"/>
                  </a:cubicBezTo>
                  <a:cubicBezTo>
                    <a:pt x="179" y="58"/>
                    <a:pt x="251" y="26"/>
                    <a:pt x="274" y="26"/>
                  </a:cubicBezTo>
                  <a:cubicBezTo>
                    <a:pt x="301" y="25"/>
                    <a:pt x="340" y="47"/>
                    <a:pt x="340" y="47"/>
                  </a:cubicBezTo>
                  <a:cubicBezTo>
                    <a:pt x="341" y="48"/>
                    <a:pt x="341" y="48"/>
                    <a:pt x="343" y="48"/>
                  </a:cubicBezTo>
                  <a:cubicBezTo>
                    <a:pt x="376" y="48"/>
                    <a:pt x="376" y="48"/>
                    <a:pt x="376" y="48"/>
                  </a:cubicBezTo>
                  <a:cubicBezTo>
                    <a:pt x="379" y="48"/>
                    <a:pt x="382" y="45"/>
                    <a:pt x="382" y="42"/>
                  </a:cubicBezTo>
                  <a:cubicBezTo>
                    <a:pt x="382" y="39"/>
                    <a:pt x="379" y="36"/>
                    <a:pt x="376" y="36"/>
                  </a:cubicBezTo>
                  <a:cubicBezTo>
                    <a:pt x="344" y="36"/>
                    <a:pt x="344" y="36"/>
                    <a:pt x="344" y="36"/>
                  </a:cubicBezTo>
                  <a:cubicBezTo>
                    <a:pt x="337" y="31"/>
                    <a:pt x="301" y="12"/>
                    <a:pt x="273" y="12"/>
                  </a:cubicBezTo>
                  <a:cubicBezTo>
                    <a:pt x="264" y="14"/>
                    <a:pt x="246" y="19"/>
                    <a:pt x="229" y="25"/>
                  </a:cubicBezTo>
                  <a:cubicBezTo>
                    <a:pt x="204" y="9"/>
                    <a:pt x="204" y="9"/>
                    <a:pt x="204" y="9"/>
                  </a:cubicBezTo>
                  <a:cubicBezTo>
                    <a:pt x="190" y="2"/>
                    <a:pt x="175" y="0"/>
                    <a:pt x="161" y="6"/>
                  </a:cubicBezTo>
                  <a:cubicBezTo>
                    <a:pt x="141" y="14"/>
                    <a:pt x="141" y="14"/>
                    <a:pt x="141" y="14"/>
                  </a:cubicBezTo>
                  <a:cubicBezTo>
                    <a:pt x="136" y="11"/>
                    <a:pt x="136" y="11"/>
                    <a:pt x="136" y="11"/>
                  </a:cubicBezTo>
                  <a:cubicBezTo>
                    <a:pt x="120" y="3"/>
                    <a:pt x="102" y="3"/>
                    <a:pt x="86" y="9"/>
                  </a:cubicBezTo>
                  <a:cubicBezTo>
                    <a:pt x="66" y="19"/>
                    <a:pt x="66" y="19"/>
                    <a:pt x="66" y="19"/>
                  </a:cubicBezTo>
                  <a:cubicBezTo>
                    <a:pt x="63" y="19"/>
                    <a:pt x="63" y="19"/>
                    <a:pt x="63" y="19"/>
                  </a:cubicBezTo>
                  <a:cubicBezTo>
                    <a:pt x="41" y="9"/>
                    <a:pt x="18" y="16"/>
                    <a:pt x="4" y="33"/>
                  </a:cubicBezTo>
                  <a:cubicBezTo>
                    <a:pt x="2" y="34"/>
                    <a:pt x="0" y="36"/>
                    <a:pt x="2" y="37"/>
                  </a:cubicBezTo>
                  <a:cubicBezTo>
                    <a:pt x="2" y="39"/>
                    <a:pt x="2" y="40"/>
                    <a:pt x="4" y="42"/>
                  </a:cubicBezTo>
                  <a:cubicBezTo>
                    <a:pt x="145" y="149"/>
                    <a:pt x="145" y="149"/>
                    <a:pt x="145" y="149"/>
                  </a:cubicBezTo>
                  <a:cubicBezTo>
                    <a:pt x="159" y="160"/>
                    <a:pt x="176" y="167"/>
                    <a:pt x="195" y="167"/>
                  </a:cubicBezTo>
                  <a:cubicBezTo>
                    <a:pt x="203" y="167"/>
                    <a:pt x="209" y="165"/>
                    <a:pt x="217" y="162"/>
                  </a:cubicBezTo>
                  <a:cubicBezTo>
                    <a:pt x="341" y="131"/>
                    <a:pt x="341" y="131"/>
                    <a:pt x="341" y="131"/>
                  </a:cubicBezTo>
                  <a:cubicBezTo>
                    <a:pt x="376" y="131"/>
                    <a:pt x="376" y="131"/>
                    <a:pt x="376" y="131"/>
                  </a:cubicBezTo>
                  <a:cubicBezTo>
                    <a:pt x="379" y="131"/>
                    <a:pt x="382" y="128"/>
                    <a:pt x="382" y="125"/>
                  </a:cubicBezTo>
                  <a:cubicBezTo>
                    <a:pt x="382" y="121"/>
                    <a:pt x="379" y="118"/>
                    <a:pt x="376" y="1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799"/>
            </a:p>
          </p:txBody>
        </p:sp>
        <p:sp>
          <p:nvSpPr>
            <p:cNvPr id="43" name="Freeform 18"/>
            <p:cNvSpPr>
              <a:spLocks/>
            </p:cNvSpPr>
            <p:nvPr/>
          </p:nvSpPr>
          <p:spPr bwMode="auto">
            <a:xfrm>
              <a:off x="5649913" y="3673476"/>
              <a:ext cx="114300" cy="50800"/>
            </a:xfrm>
            <a:custGeom>
              <a:avLst/>
              <a:gdLst>
                <a:gd name="T0" fmla="*/ 0 w 72"/>
                <a:gd name="T1" fmla="*/ 0 h 32"/>
                <a:gd name="T2" fmla="*/ 72 w 72"/>
                <a:gd name="T3" fmla="*/ 0 h 32"/>
                <a:gd name="T4" fmla="*/ 72 w 72"/>
                <a:gd name="T5" fmla="*/ 32 h 32"/>
                <a:gd name="T6" fmla="*/ 0 w 72"/>
                <a:gd name="T7" fmla="*/ 32 h 32"/>
                <a:gd name="T8" fmla="*/ 0 w 72"/>
                <a:gd name="T9" fmla="*/ 0 h 32"/>
                <a:gd name="T10" fmla="*/ 0 w 72"/>
                <a:gd name="T11" fmla="*/ 0 h 32"/>
              </a:gdLst>
              <a:ahLst/>
              <a:cxnLst>
                <a:cxn ang="0">
                  <a:pos x="T0" y="T1"/>
                </a:cxn>
                <a:cxn ang="0">
                  <a:pos x="T2" y="T3"/>
                </a:cxn>
                <a:cxn ang="0">
                  <a:pos x="T4" y="T5"/>
                </a:cxn>
                <a:cxn ang="0">
                  <a:pos x="T6" y="T7"/>
                </a:cxn>
                <a:cxn ang="0">
                  <a:pos x="T8" y="T9"/>
                </a:cxn>
                <a:cxn ang="0">
                  <a:pos x="T10" y="T11"/>
                </a:cxn>
              </a:cxnLst>
              <a:rect l="0" t="0" r="r" b="b"/>
              <a:pathLst>
                <a:path w="72" h="32">
                  <a:moveTo>
                    <a:pt x="0" y="0"/>
                  </a:moveTo>
                  <a:lnTo>
                    <a:pt x="72" y="0"/>
                  </a:lnTo>
                  <a:lnTo>
                    <a:pt x="72" y="32"/>
                  </a:lnTo>
                  <a:lnTo>
                    <a:pt x="0" y="32"/>
                  </a:lnTo>
                  <a:lnTo>
                    <a:pt x="0" y="0"/>
                  </a:lnTo>
                  <a:lnTo>
                    <a:pt x="0" y="0"/>
                  </a:lnTo>
                  <a:close/>
                </a:path>
              </a:pathLst>
            </a:custGeom>
            <a:solidFill>
              <a:srgbClr val="05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799"/>
            </a:p>
          </p:txBody>
        </p:sp>
        <p:sp>
          <p:nvSpPr>
            <p:cNvPr id="44" name="Freeform 19"/>
            <p:cNvSpPr>
              <a:spLocks/>
            </p:cNvSpPr>
            <p:nvPr/>
          </p:nvSpPr>
          <p:spPr bwMode="auto">
            <a:xfrm>
              <a:off x="5219701" y="3322638"/>
              <a:ext cx="114300" cy="174625"/>
            </a:xfrm>
            <a:custGeom>
              <a:avLst/>
              <a:gdLst>
                <a:gd name="T0" fmla="*/ 66 w 66"/>
                <a:gd name="T1" fmla="*/ 90 h 101"/>
                <a:gd name="T2" fmla="*/ 66 w 66"/>
                <a:gd name="T3" fmla="*/ 60 h 101"/>
                <a:gd name="T4" fmla="*/ 50 w 66"/>
                <a:gd name="T5" fmla="*/ 43 h 101"/>
                <a:gd name="T6" fmla="*/ 43 w 66"/>
                <a:gd name="T7" fmla="*/ 43 h 101"/>
                <a:gd name="T8" fmla="*/ 55 w 66"/>
                <a:gd name="T9" fmla="*/ 22 h 101"/>
                <a:gd name="T10" fmla="*/ 33 w 66"/>
                <a:gd name="T11" fmla="*/ 0 h 101"/>
                <a:gd name="T12" fmla="*/ 10 w 66"/>
                <a:gd name="T13" fmla="*/ 22 h 101"/>
                <a:gd name="T14" fmla="*/ 24 w 66"/>
                <a:gd name="T15" fmla="*/ 43 h 101"/>
                <a:gd name="T16" fmla="*/ 17 w 66"/>
                <a:gd name="T17" fmla="*/ 43 h 101"/>
                <a:gd name="T18" fmla="*/ 0 w 66"/>
                <a:gd name="T19" fmla="*/ 60 h 101"/>
                <a:gd name="T20" fmla="*/ 0 w 66"/>
                <a:gd name="T21" fmla="*/ 90 h 101"/>
                <a:gd name="T22" fmla="*/ 33 w 66"/>
                <a:gd name="T23" fmla="*/ 101 h 101"/>
                <a:gd name="T24" fmla="*/ 66 w 66"/>
                <a:gd name="T25" fmla="*/ 9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1">
                  <a:moveTo>
                    <a:pt x="66" y="90"/>
                  </a:moveTo>
                  <a:cubicBezTo>
                    <a:pt x="66" y="60"/>
                    <a:pt x="66" y="60"/>
                    <a:pt x="66" y="60"/>
                  </a:cubicBezTo>
                  <a:cubicBezTo>
                    <a:pt x="66" y="49"/>
                    <a:pt x="59" y="43"/>
                    <a:pt x="50" y="43"/>
                  </a:cubicBezTo>
                  <a:cubicBezTo>
                    <a:pt x="43" y="43"/>
                    <a:pt x="43" y="43"/>
                    <a:pt x="43" y="43"/>
                  </a:cubicBezTo>
                  <a:cubicBezTo>
                    <a:pt x="50" y="39"/>
                    <a:pt x="55" y="32"/>
                    <a:pt x="55" y="22"/>
                  </a:cubicBezTo>
                  <a:cubicBezTo>
                    <a:pt x="55" y="10"/>
                    <a:pt x="45" y="0"/>
                    <a:pt x="33" y="0"/>
                  </a:cubicBezTo>
                  <a:cubicBezTo>
                    <a:pt x="21" y="0"/>
                    <a:pt x="10" y="10"/>
                    <a:pt x="10" y="22"/>
                  </a:cubicBezTo>
                  <a:cubicBezTo>
                    <a:pt x="10" y="32"/>
                    <a:pt x="16" y="39"/>
                    <a:pt x="24" y="43"/>
                  </a:cubicBezTo>
                  <a:cubicBezTo>
                    <a:pt x="17" y="43"/>
                    <a:pt x="17" y="43"/>
                    <a:pt x="17" y="43"/>
                  </a:cubicBezTo>
                  <a:cubicBezTo>
                    <a:pt x="7" y="43"/>
                    <a:pt x="0" y="49"/>
                    <a:pt x="0" y="60"/>
                  </a:cubicBezTo>
                  <a:cubicBezTo>
                    <a:pt x="0" y="90"/>
                    <a:pt x="0" y="90"/>
                    <a:pt x="0" y="90"/>
                  </a:cubicBezTo>
                  <a:cubicBezTo>
                    <a:pt x="10" y="97"/>
                    <a:pt x="21" y="101"/>
                    <a:pt x="33" y="101"/>
                  </a:cubicBezTo>
                  <a:cubicBezTo>
                    <a:pt x="45" y="101"/>
                    <a:pt x="55" y="97"/>
                    <a:pt x="66" y="9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799"/>
            </a:p>
          </p:txBody>
        </p:sp>
        <p:sp>
          <p:nvSpPr>
            <p:cNvPr id="45" name="Freeform 20"/>
            <p:cNvSpPr>
              <a:spLocks noEditPoints="1"/>
            </p:cNvSpPr>
            <p:nvPr/>
          </p:nvSpPr>
          <p:spPr bwMode="auto">
            <a:xfrm>
              <a:off x="5341938" y="3338513"/>
              <a:ext cx="125413" cy="177800"/>
            </a:xfrm>
            <a:custGeom>
              <a:avLst/>
              <a:gdLst>
                <a:gd name="T0" fmla="*/ 72 w 72"/>
                <a:gd name="T1" fmla="*/ 67 h 103"/>
                <a:gd name="T2" fmla="*/ 53 w 72"/>
                <a:gd name="T3" fmla="*/ 48 h 103"/>
                <a:gd name="T4" fmla="*/ 51 w 72"/>
                <a:gd name="T5" fmla="*/ 48 h 103"/>
                <a:gd name="T6" fmla="*/ 63 w 72"/>
                <a:gd name="T7" fmla="*/ 27 h 103"/>
                <a:gd name="T8" fmla="*/ 36 w 72"/>
                <a:gd name="T9" fmla="*/ 0 h 103"/>
                <a:gd name="T10" fmla="*/ 10 w 72"/>
                <a:gd name="T11" fmla="*/ 27 h 103"/>
                <a:gd name="T12" fmla="*/ 20 w 72"/>
                <a:gd name="T13" fmla="*/ 48 h 103"/>
                <a:gd name="T14" fmla="*/ 20 w 72"/>
                <a:gd name="T15" fmla="*/ 48 h 103"/>
                <a:gd name="T16" fmla="*/ 0 w 72"/>
                <a:gd name="T17" fmla="*/ 67 h 103"/>
                <a:gd name="T18" fmla="*/ 0 w 72"/>
                <a:gd name="T19" fmla="*/ 99 h 103"/>
                <a:gd name="T20" fmla="*/ 0 w 72"/>
                <a:gd name="T21" fmla="*/ 99 h 103"/>
                <a:gd name="T22" fmla="*/ 3 w 72"/>
                <a:gd name="T23" fmla="*/ 103 h 103"/>
                <a:gd name="T24" fmla="*/ 7 w 72"/>
                <a:gd name="T25" fmla="*/ 99 h 103"/>
                <a:gd name="T26" fmla="*/ 7 w 72"/>
                <a:gd name="T27" fmla="*/ 99 h 103"/>
                <a:gd name="T28" fmla="*/ 7 w 72"/>
                <a:gd name="T29" fmla="*/ 67 h 103"/>
                <a:gd name="T30" fmla="*/ 20 w 72"/>
                <a:gd name="T31" fmla="*/ 55 h 103"/>
                <a:gd name="T32" fmla="*/ 53 w 72"/>
                <a:gd name="T33" fmla="*/ 55 h 103"/>
                <a:gd name="T34" fmla="*/ 65 w 72"/>
                <a:gd name="T35" fmla="*/ 67 h 103"/>
                <a:gd name="T36" fmla="*/ 65 w 72"/>
                <a:gd name="T37" fmla="*/ 99 h 103"/>
                <a:gd name="T38" fmla="*/ 65 w 72"/>
                <a:gd name="T39" fmla="*/ 99 h 103"/>
                <a:gd name="T40" fmla="*/ 65 w 72"/>
                <a:gd name="T41" fmla="*/ 99 h 103"/>
                <a:gd name="T42" fmla="*/ 68 w 72"/>
                <a:gd name="T43" fmla="*/ 103 h 103"/>
                <a:gd name="T44" fmla="*/ 72 w 72"/>
                <a:gd name="T45" fmla="*/ 99 h 103"/>
                <a:gd name="T46" fmla="*/ 72 w 72"/>
                <a:gd name="T47" fmla="*/ 99 h 103"/>
                <a:gd name="T48" fmla="*/ 72 w 72"/>
                <a:gd name="T49" fmla="*/ 99 h 103"/>
                <a:gd name="T50" fmla="*/ 72 w 72"/>
                <a:gd name="T51" fmla="*/ 67 h 103"/>
                <a:gd name="T52" fmla="*/ 72 w 72"/>
                <a:gd name="T53" fmla="*/ 67 h 103"/>
                <a:gd name="T54" fmla="*/ 36 w 72"/>
                <a:gd name="T55" fmla="*/ 46 h 103"/>
                <a:gd name="T56" fmla="*/ 17 w 72"/>
                <a:gd name="T57" fmla="*/ 27 h 103"/>
                <a:gd name="T58" fmla="*/ 36 w 72"/>
                <a:gd name="T59" fmla="*/ 7 h 103"/>
                <a:gd name="T60" fmla="*/ 56 w 72"/>
                <a:gd name="T61" fmla="*/ 27 h 103"/>
                <a:gd name="T62" fmla="*/ 36 w 72"/>
                <a:gd name="T63" fmla="*/ 46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 h="103">
                  <a:moveTo>
                    <a:pt x="72" y="67"/>
                  </a:moveTo>
                  <a:cubicBezTo>
                    <a:pt x="72" y="56"/>
                    <a:pt x="63" y="48"/>
                    <a:pt x="53" y="48"/>
                  </a:cubicBezTo>
                  <a:cubicBezTo>
                    <a:pt x="51" y="48"/>
                    <a:pt x="51" y="48"/>
                    <a:pt x="51" y="48"/>
                  </a:cubicBezTo>
                  <a:cubicBezTo>
                    <a:pt x="58" y="43"/>
                    <a:pt x="63" y="36"/>
                    <a:pt x="63" y="27"/>
                  </a:cubicBezTo>
                  <a:cubicBezTo>
                    <a:pt x="63" y="12"/>
                    <a:pt x="51" y="0"/>
                    <a:pt x="36" y="0"/>
                  </a:cubicBezTo>
                  <a:cubicBezTo>
                    <a:pt x="22" y="0"/>
                    <a:pt x="10" y="12"/>
                    <a:pt x="10" y="27"/>
                  </a:cubicBezTo>
                  <a:cubicBezTo>
                    <a:pt x="10" y="36"/>
                    <a:pt x="13" y="43"/>
                    <a:pt x="20" y="48"/>
                  </a:cubicBezTo>
                  <a:cubicBezTo>
                    <a:pt x="20" y="48"/>
                    <a:pt x="20" y="48"/>
                    <a:pt x="20" y="48"/>
                  </a:cubicBezTo>
                  <a:cubicBezTo>
                    <a:pt x="8" y="48"/>
                    <a:pt x="0" y="56"/>
                    <a:pt x="0" y="67"/>
                  </a:cubicBezTo>
                  <a:cubicBezTo>
                    <a:pt x="0" y="99"/>
                    <a:pt x="0" y="99"/>
                    <a:pt x="0" y="99"/>
                  </a:cubicBezTo>
                  <a:cubicBezTo>
                    <a:pt x="0" y="99"/>
                    <a:pt x="0" y="99"/>
                    <a:pt x="0" y="99"/>
                  </a:cubicBezTo>
                  <a:cubicBezTo>
                    <a:pt x="0" y="101"/>
                    <a:pt x="1" y="103"/>
                    <a:pt x="3" y="103"/>
                  </a:cubicBezTo>
                  <a:cubicBezTo>
                    <a:pt x="7" y="103"/>
                    <a:pt x="7" y="101"/>
                    <a:pt x="7" y="99"/>
                  </a:cubicBezTo>
                  <a:cubicBezTo>
                    <a:pt x="7" y="99"/>
                    <a:pt x="7" y="99"/>
                    <a:pt x="7" y="99"/>
                  </a:cubicBezTo>
                  <a:cubicBezTo>
                    <a:pt x="7" y="67"/>
                    <a:pt x="7" y="67"/>
                    <a:pt x="7" y="67"/>
                  </a:cubicBezTo>
                  <a:cubicBezTo>
                    <a:pt x="7" y="60"/>
                    <a:pt x="13" y="55"/>
                    <a:pt x="20" y="55"/>
                  </a:cubicBezTo>
                  <a:cubicBezTo>
                    <a:pt x="53" y="55"/>
                    <a:pt x="53" y="55"/>
                    <a:pt x="53" y="55"/>
                  </a:cubicBezTo>
                  <a:cubicBezTo>
                    <a:pt x="60" y="55"/>
                    <a:pt x="65" y="60"/>
                    <a:pt x="65" y="67"/>
                  </a:cubicBezTo>
                  <a:cubicBezTo>
                    <a:pt x="65" y="99"/>
                    <a:pt x="65" y="99"/>
                    <a:pt x="65" y="99"/>
                  </a:cubicBezTo>
                  <a:cubicBezTo>
                    <a:pt x="65" y="99"/>
                    <a:pt x="65" y="99"/>
                    <a:pt x="65" y="99"/>
                  </a:cubicBezTo>
                  <a:cubicBezTo>
                    <a:pt x="65" y="99"/>
                    <a:pt x="65" y="99"/>
                    <a:pt x="65" y="99"/>
                  </a:cubicBezTo>
                  <a:cubicBezTo>
                    <a:pt x="65" y="101"/>
                    <a:pt x="67" y="103"/>
                    <a:pt x="68" y="103"/>
                  </a:cubicBezTo>
                  <a:cubicBezTo>
                    <a:pt x="70" y="103"/>
                    <a:pt x="72" y="101"/>
                    <a:pt x="72" y="99"/>
                  </a:cubicBezTo>
                  <a:cubicBezTo>
                    <a:pt x="72" y="99"/>
                    <a:pt x="72" y="99"/>
                    <a:pt x="72" y="99"/>
                  </a:cubicBezTo>
                  <a:cubicBezTo>
                    <a:pt x="72" y="99"/>
                    <a:pt x="72" y="99"/>
                    <a:pt x="72" y="99"/>
                  </a:cubicBezTo>
                  <a:cubicBezTo>
                    <a:pt x="72" y="67"/>
                    <a:pt x="72" y="67"/>
                    <a:pt x="72" y="67"/>
                  </a:cubicBezTo>
                  <a:cubicBezTo>
                    <a:pt x="72" y="67"/>
                    <a:pt x="72" y="67"/>
                    <a:pt x="72" y="67"/>
                  </a:cubicBezTo>
                  <a:close/>
                  <a:moveTo>
                    <a:pt x="36" y="46"/>
                  </a:moveTo>
                  <a:cubicBezTo>
                    <a:pt x="25" y="46"/>
                    <a:pt x="17" y="37"/>
                    <a:pt x="17" y="27"/>
                  </a:cubicBezTo>
                  <a:cubicBezTo>
                    <a:pt x="17" y="15"/>
                    <a:pt x="25" y="7"/>
                    <a:pt x="36" y="7"/>
                  </a:cubicBezTo>
                  <a:cubicBezTo>
                    <a:pt x="46" y="7"/>
                    <a:pt x="56" y="15"/>
                    <a:pt x="56" y="27"/>
                  </a:cubicBezTo>
                  <a:cubicBezTo>
                    <a:pt x="56" y="37"/>
                    <a:pt x="46" y="46"/>
                    <a:pt x="36" y="4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799"/>
            </a:p>
          </p:txBody>
        </p:sp>
        <p:sp>
          <p:nvSpPr>
            <p:cNvPr id="46" name="Freeform 21"/>
            <p:cNvSpPr>
              <a:spLocks noEditPoints="1"/>
            </p:cNvSpPr>
            <p:nvPr/>
          </p:nvSpPr>
          <p:spPr bwMode="auto">
            <a:xfrm>
              <a:off x="5292726" y="3209926"/>
              <a:ext cx="122238" cy="177800"/>
            </a:xfrm>
            <a:custGeom>
              <a:avLst/>
              <a:gdLst>
                <a:gd name="T0" fmla="*/ 71 w 71"/>
                <a:gd name="T1" fmla="*/ 67 h 103"/>
                <a:gd name="T2" fmla="*/ 51 w 71"/>
                <a:gd name="T3" fmla="*/ 48 h 103"/>
                <a:gd name="T4" fmla="*/ 61 w 71"/>
                <a:gd name="T5" fmla="*/ 27 h 103"/>
                <a:gd name="T6" fmla="*/ 36 w 71"/>
                <a:gd name="T7" fmla="*/ 0 h 103"/>
                <a:gd name="T8" fmla="*/ 8 w 71"/>
                <a:gd name="T9" fmla="*/ 27 h 103"/>
                <a:gd name="T10" fmla="*/ 20 w 71"/>
                <a:gd name="T11" fmla="*/ 48 h 103"/>
                <a:gd name="T12" fmla="*/ 19 w 71"/>
                <a:gd name="T13" fmla="*/ 48 h 103"/>
                <a:gd name="T14" fmla="*/ 0 w 71"/>
                <a:gd name="T15" fmla="*/ 67 h 103"/>
                <a:gd name="T16" fmla="*/ 0 w 71"/>
                <a:gd name="T17" fmla="*/ 100 h 103"/>
                <a:gd name="T18" fmla="*/ 3 w 71"/>
                <a:gd name="T19" fmla="*/ 103 h 103"/>
                <a:gd name="T20" fmla="*/ 7 w 71"/>
                <a:gd name="T21" fmla="*/ 100 h 103"/>
                <a:gd name="T22" fmla="*/ 7 w 71"/>
                <a:gd name="T23" fmla="*/ 67 h 103"/>
                <a:gd name="T24" fmla="*/ 19 w 71"/>
                <a:gd name="T25" fmla="*/ 55 h 103"/>
                <a:gd name="T26" fmla="*/ 51 w 71"/>
                <a:gd name="T27" fmla="*/ 55 h 103"/>
                <a:gd name="T28" fmla="*/ 64 w 71"/>
                <a:gd name="T29" fmla="*/ 67 h 103"/>
                <a:gd name="T30" fmla="*/ 64 w 71"/>
                <a:gd name="T31" fmla="*/ 78 h 103"/>
                <a:gd name="T32" fmla="*/ 68 w 71"/>
                <a:gd name="T33" fmla="*/ 77 h 103"/>
                <a:gd name="T34" fmla="*/ 71 w 71"/>
                <a:gd name="T35" fmla="*/ 78 h 103"/>
                <a:gd name="T36" fmla="*/ 71 w 71"/>
                <a:gd name="T37" fmla="*/ 80 h 103"/>
                <a:gd name="T38" fmla="*/ 71 w 71"/>
                <a:gd name="T39" fmla="*/ 67 h 103"/>
                <a:gd name="T40" fmla="*/ 36 w 71"/>
                <a:gd name="T41" fmla="*/ 46 h 103"/>
                <a:gd name="T42" fmla="*/ 17 w 71"/>
                <a:gd name="T43" fmla="*/ 27 h 103"/>
                <a:gd name="T44" fmla="*/ 36 w 71"/>
                <a:gd name="T45" fmla="*/ 9 h 103"/>
                <a:gd name="T46" fmla="*/ 54 w 71"/>
                <a:gd name="T47" fmla="*/ 27 h 103"/>
                <a:gd name="T48" fmla="*/ 36 w 71"/>
                <a:gd name="T49" fmla="*/ 46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1" h="103">
                  <a:moveTo>
                    <a:pt x="71" y="67"/>
                  </a:moveTo>
                  <a:cubicBezTo>
                    <a:pt x="71" y="57"/>
                    <a:pt x="63" y="48"/>
                    <a:pt x="51" y="48"/>
                  </a:cubicBezTo>
                  <a:cubicBezTo>
                    <a:pt x="58" y="43"/>
                    <a:pt x="61" y="36"/>
                    <a:pt x="61" y="27"/>
                  </a:cubicBezTo>
                  <a:cubicBezTo>
                    <a:pt x="61" y="12"/>
                    <a:pt x="49" y="0"/>
                    <a:pt x="36" y="0"/>
                  </a:cubicBezTo>
                  <a:cubicBezTo>
                    <a:pt x="20" y="0"/>
                    <a:pt x="8" y="12"/>
                    <a:pt x="8" y="27"/>
                  </a:cubicBezTo>
                  <a:cubicBezTo>
                    <a:pt x="8" y="36"/>
                    <a:pt x="13" y="43"/>
                    <a:pt x="20" y="48"/>
                  </a:cubicBezTo>
                  <a:cubicBezTo>
                    <a:pt x="19" y="48"/>
                    <a:pt x="19" y="48"/>
                    <a:pt x="19" y="48"/>
                  </a:cubicBezTo>
                  <a:cubicBezTo>
                    <a:pt x="8" y="48"/>
                    <a:pt x="0" y="57"/>
                    <a:pt x="0" y="67"/>
                  </a:cubicBezTo>
                  <a:cubicBezTo>
                    <a:pt x="0" y="100"/>
                    <a:pt x="0" y="100"/>
                    <a:pt x="0" y="100"/>
                  </a:cubicBezTo>
                  <a:cubicBezTo>
                    <a:pt x="0" y="102"/>
                    <a:pt x="2" y="103"/>
                    <a:pt x="3" y="103"/>
                  </a:cubicBezTo>
                  <a:cubicBezTo>
                    <a:pt x="5" y="103"/>
                    <a:pt x="7" y="102"/>
                    <a:pt x="7" y="100"/>
                  </a:cubicBezTo>
                  <a:cubicBezTo>
                    <a:pt x="7" y="67"/>
                    <a:pt x="7" y="67"/>
                    <a:pt x="7" y="67"/>
                  </a:cubicBezTo>
                  <a:cubicBezTo>
                    <a:pt x="7" y="60"/>
                    <a:pt x="12" y="55"/>
                    <a:pt x="19" y="55"/>
                  </a:cubicBezTo>
                  <a:cubicBezTo>
                    <a:pt x="51" y="55"/>
                    <a:pt x="51" y="55"/>
                    <a:pt x="51" y="55"/>
                  </a:cubicBezTo>
                  <a:cubicBezTo>
                    <a:pt x="58" y="55"/>
                    <a:pt x="64" y="60"/>
                    <a:pt x="64" y="67"/>
                  </a:cubicBezTo>
                  <a:cubicBezTo>
                    <a:pt x="64" y="100"/>
                    <a:pt x="64" y="78"/>
                    <a:pt x="64" y="78"/>
                  </a:cubicBezTo>
                  <a:cubicBezTo>
                    <a:pt x="64" y="78"/>
                    <a:pt x="66" y="77"/>
                    <a:pt x="68" y="77"/>
                  </a:cubicBezTo>
                  <a:cubicBezTo>
                    <a:pt x="69" y="77"/>
                    <a:pt x="71" y="80"/>
                    <a:pt x="71" y="78"/>
                  </a:cubicBezTo>
                  <a:cubicBezTo>
                    <a:pt x="71" y="80"/>
                    <a:pt x="71" y="80"/>
                    <a:pt x="71" y="80"/>
                  </a:cubicBezTo>
                  <a:lnTo>
                    <a:pt x="71" y="67"/>
                  </a:lnTo>
                  <a:close/>
                  <a:moveTo>
                    <a:pt x="36" y="46"/>
                  </a:moveTo>
                  <a:cubicBezTo>
                    <a:pt x="25" y="46"/>
                    <a:pt x="17" y="38"/>
                    <a:pt x="17" y="27"/>
                  </a:cubicBezTo>
                  <a:cubicBezTo>
                    <a:pt x="17" y="17"/>
                    <a:pt x="25" y="9"/>
                    <a:pt x="36" y="9"/>
                  </a:cubicBezTo>
                  <a:cubicBezTo>
                    <a:pt x="46" y="9"/>
                    <a:pt x="54" y="17"/>
                    <a:pt x="54" y="27"/>
                  </a:cubicBezTo>
                  <a:cubicBezTo>
                    <a:pt x="54" y="38"/>
                    <a:pt x="46" y="46"/>
                    <a:pt x="36" y="4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799"/>
            </a:p>
          </p:txBody>
        </p:sp>
        <p:sp>
          <p:nvSpPr>
            <p:cNvPr id="47" name="Freeform 22"/>
            <p:cNvSpPr>
              <a:spLocks noEditPoints="1"/>
            </p:cNvSpPr>
            <p:nvPr/>
          </p:nvSpPr>
          <p:spPr bwMode="auto">
            <a:xfrm>
              <a:off x="5524501" y="3325813"/>
              <a:ext cx="122238" cy="177800"/>
            </a:xfrm>
            <a:custGeom>
              <a:avLst/>
              <a:gdLst>
                <a:gd name="T0" fmla="*/ 71 w 71"/>
                <a:gd name="T1" fmla="*/ 67 h 103"/>
                <a:gd name="T2" fmla="*/ 52 w 71"/>
                <a:gd name="T3" fmla="*/ 48 h 103"/>
                <a:gd name="T4" fmla="*/ 51 w 71"/>
                <a:gd name="T5" fmla="*/ 48 h 103"/>
                <a:gd name="T6" fmla="*/ 63 w 71"/>
                <a:gd name="T7" fmla="*/ 27 h 103"/>
                <a:gd name="T8" fmla="*/ 35 w 71"/>
                <a:gd name="T9" fmla="*/ 0 h 103"/>
                <a:gd name="T10" fmla="*/ 10 w 71"/>
                <a:gd name="T11" fmla="*/ 27 h 103"/>
                <a:gd name="T12" fmla="*/ 20 w 71"/>
                <a:gd name="T13" fmla="*/ 48 h 103"/>
                <a:gd name="T14" fmla="*/ 20 w 71"/>
                <a:gd name="T15" fmla="*/ 48 h 103"/>
                <a:gd name="T16" fmla="*/ 0 w 71"/>
                <a:gd name="T17" fmla="*/ 67 h 103"/>
                <a:gd name="T18" fmla="*/ 0 w 71"/>
                <a:gd name="T19" fmla="*/ 99 h 103"/>
                <a:gd name="T20" fmla="*/ 0 w 71"/>
                <a:gd name="T21" fmla="*/ 99 h 103"/>
                <a:gd name="T22" fmla="*/ 5 w 71"/>
                <a:gd name="T23" fmla="*/ 103 h 103"/>
                <a:gd name="T24" fmla="*/ 8 w 71"/>
                <a:gd name="T25" fmla="*/ 99 h 103"/>
                <a:gd name="T26" fmla="*/ 8 w 71"/>
                <a:gd name="T27" fmla="*/ 99 h 103"/>
                <a:gd name="T28" fmla="*/ 8 w 71"/>
                <a:gd name="T29" fmla="*/ 67 h 103"/>
                <a:gd name="T30" fmla="*/ 20 w 71"/>
                <a:gd name="T31" fmla="*/ 55 h 103"/>
                <a:gd name="T32" fmla="*/ 52 w 71"/>
                <a:gd name="T33" fmla="*/ 55 h 103"/>
                <a:gd name="T34" fmla="*/ 64 w 71"/>
                <a:gd name="T35" fmla="*/ 67 h 103"/>
                <a:gd name="T36" fmla="*/ 64 w 71"/>
                <a:gd name="T37" fmla="*/ 99 h 103"/>
                <a:gd name="T38" fmla="*/ 64 w 71"/>
                <a:gd name="T39" fmla="*/ 99 h 103"/>
                <a:gd name="T40" fmla="*/ 64 w 71"/>
                <a:gd name="T41" fmla="*/ 99 h 103"/>
                <a:gd name="T42" fmla="*/ 68 w 71"/>
                <a:gd name="T43" fmla="*/ 103 h 103"/>
                <a:gd name="T44" fmla="*/ 71 w 71"/>
                <a:gd name="T45" fmla="*/ 99 h 103"/>
                <a:gd name="T46" fmla="*/ 71 w 71"/>
                <a:gd name="T47" fmla="*/ 99 h 103"/>
                <a:gd name="T48" fmla="*/ 71 w 71"/>
                <a:gd name="T49" fmla="*/ 99 h 103"/>
                <a:gd name="T50" fmla="*/ 71 w 71"/>
                <a:gd name="T51" fmla="*/ 67 h 103"/>
                <a:gd name="T52" fmla="*/ 71 w 71"/>
                <a:gd name="T53" fmla="*/ 67 h 103"/>
                <a:gd name="T54" fmla="*/ 35 w 71"/>
                <a:gd name="T55" fmla="*/ 46 h 103"/>
                <a:gd name="T56" fmla="*/ 17 w 71"/>
                <a:gd name="T57" fmla="*/ 27 h 103"/>
                <a:gd name="T58" fmla="*/ 35 w 71"/>
                <a:gd name="T59" fmla="*/ 8 h 103"/>
                <a:gd name="T60" fmla="*/ 56 w 71"/>
                <a:gd name="T61" fmla="*/ 27 h 103"/>
                <a:gd name="T62" fmla="*/ 35 w 71"/>
                <a:gd name="T63" fmla="*/ 46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103">
                  <a:moveTo>
                    <a:pt x="71" y="67"/>
                  </a:moveTo>
                  <a:cubicBezTo>
                    <a:pt x="71" y="56"/>
                    <a:pt x="63" y="48"/>
                    <a:pt x="52" y="48"/>
                  </a:cubicBezTo>
                  <a:cubicBezTo>
                    <a:pt x="51" y="48"/>
                    <a:pt x="51" y="48"/>
                    <a:pt x="51" y="48"/>
                  </a:cubicBezTo>
                  <a:cubicBezTo>
                    <a:pt x="57" y="43"/>
                    <a:pt x="63" y="36"/>
                    <a:pt x="63" y="27"/>
                  </a:cubicBezTo>
                  <a:cubicBezTo>
                    <a:pt x="63" y="12"/>
                    <a:pt x="51" y="0"/>
                    <a:pt x="35" y="0"/>
                  </a:cubicBezTo>
                  <a:cubicBezTo>
                    <a:pt x="22" y="0"/>
                    <a:pt x="10" y="12"/>
                    <a:pt x="10" y="27"/>
                  </a:cubicBezTo>
                  <a:cubicBezTo>
                    <a:pt x="10" y="36"/>
                    <a:pt x="15" y="43"/>
                    <a:pt x="20" y="48"/>
                  </a:cubicBezTo>
                  <a:cubicBezTo>
                    <a:pt x="20" y="48"/>
                    <a:pt x="20" y="48"/>
                    <a:pt x="20" y="48"/>
                  </a:cubicBezTo>
                  <a:cubicBezTo>
                    <a:pt x="10" y="48"/>
                    <a:pt x="0" y="56"/>
                    <a:pt x="0" y="67"/>
                  </a:cubicBezTo>
                  <a:cubicBezTo>
                    <a:pt x="0" y="99"/>
                    <a:pt x="0" y="99"/>
                    <a:pt x="0" y="99"/>
                  </a:cubicBezTo>
                  <a:cubicBezTo>
                    <a:pt x="0" y="99"/>
                    <a:pt x="0" y="99"/>
                    <a:pt x="0" y="99"/>
                  </a:cubicBezTo>
                  <a:cubicBezTo>
                    <a:pt x="0" y="101"/>
                    <a:pt x="1" y="103"/>
                    <a:pt x="5" y="103"/>
                  </a:cubicBezTo>
                  <a:cubicBezTo>
                    <a:pt x="7" y="103"/>
                    <a:pt x="8" y="101"/>
                    <a:pt x="8" y="99"/>
                  </a:cubicBezTo>
                  <a:cubicBezTo>
                    <a:pt x="8" y="99"/>
                    <a:pt x="8" y="99"/>
                    <a:pt x="8" y="99"/>
                  </a:cubicBezTo>
                  <a:cubicBezTo>
                    <a:pt x="8" y="67"/>
                    <a:pt x="8" y="67"/>
                    <a:pt x="8" y="67"/>
                  </a:cubicBezTo>
                  <a:cubicBezTo>
                    <a:pt x="8" y="60"/>
                    <a:pt x="13" y="55"/>
                    <a:pt x="20" y="55"/>
                  </a:cubicBezTo>
                  <a:cubicBezTo>
                    <a:pt x="52" y="55"/>
                    <a:pt x="52" y="55"/>
                    <a:pt x="52" y="55"/>
                  </a:cubicBezTo>
                  <a:cubicBezTo>
                    <a:pt x="59" y="55"/>
                    <a:pt x="64" y="60"/>
                    <a:pt x="64" y="67"/>
                  </a:cubicBezTo>
                  <a:cubicBezTo>
                    <a:pt x="64" y="99"/>
                    <a:pt x="64" y="99"/>
                    <a:pt x="64" y="99"/>
                  </a:cubicBezTo>
                  <a:cubicBezTo>
                    <a:pt x="64" y="99"/>
                    <a:pt x="64" y="99"/>
                    <a:pt x="64" y="99"/>
                  </a:cubicBezTo>
                  <a:cubicBezTo>
                    <a:pt x="64" y="99"/>
                    <a:pt x="64" y="99"/>
                    <a:pt x="64" y="99"/>
                  </a:cubicBezTo>
                  <a:cubicBezTo>
                    <a:pt x="64" y="101"/>
                    <a:pt x="66" y="103"/>
                    <a:pt x="68" y="103"/>
                  </a:cubicBezTo>
                  <a:cubicBezTo>
                    <a:pt x="69" y="103"/>
                    <a:pt x="71" y="101"/>
                    <a:pt x="71" y="99"/>
                  </a:cubicBezTo>
                  <a:cubicBezTo>
                    <a:pt x="71" y="99"/>
                    <a:pt x="71" y="99"/>
                    <a:pt x="71" y="99"/>
                  </a:cubicBezTo>
                  <a:cubicBezTo>
                    <a:pt x="71" y="99"/>
                    <a:pt x="71" y="99"/>
                    <a:pt x="71" y="99"/>
                  </a:cubicBezTo>
                  <a:cubicBezTo>
                    <a:pt x="71" y="67"/>
                    <a:pt x="71" y="67"/>
                    <a:pt x="71" y="67"/>
                  </a:cubicBezTo>
                  <a:cubicBezTo>
                    <a:pt x="71" y="67"/>
                    <a:pt x="71" y="67"/>
                    <a:pt x="71" y="67"/>
                  </a:cubicBezTo>
                  <a:close/>
                  <a:moveTo>
                    <a:pt x="35" y="46"/>
                  </a:moveTo>
                  <a:cubicBezTo>
                    <a:pt x="25" y="46"/>
                    <a:pt x="17" y="37"/>
                    <a:pt x="17" y="27"/>
                  </a:cubicBezTo>
                  <a:cubicBezTo>
                    <a:pt x="17" y="17"/>
                    <a:pt x="25" y="8"/>
                    <a:pt x="35" y="8"/>
                  </a:cubicBezTo>
                  <a:cubicBezTo>
                    <a:pt x="47" y="8"/>
                    <a:pt x="56" y="17"/>
                    <a:pt x="56" y="27"/>
                  </a:cubicBezTo>
                  <a:cubicBezTo>
                    <a:pt x="56" y="37"/>
                    <a:pt x="47" y="46"/>
                    <a:pt x="35" y="4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799"/>
            </a:p>
          </p:txBody>
        </p:sp>
        <p:sp>
          <p:nvSpPr>
            <p:cNvPr id="48" name="Freeform 23"/>
            <p:cNvSpPr>
              <a:spLocks/>
            </p:cNvSpPr>
            <p:nvPr/>
          </p:nvSpPr>
          <p:spPr bwMode="auto">
            <a:xfrm>
              <a:off x="5451476" y="3257551"/>
              <a:ext cx="96838" cy="173038"/>
            </a:xfrm>
            <a:custGeom>
              <a:avLst/>
              <a:gdLst>
                <a:gd name="T0" fmla="*/ 54 w 56"/>
                <a:gd name="T1" fmla="*/ 84 h 100"/>
                <a:gd name="T2" fmla="*/ 47 w 56"/>
                <a:gd name="T3" fmla="*/ 66 h 100"/>
                <a:gd name="T4" fmla="*/ 56 w 56"/>
                <a:gd name="T5" fmla="*/ 45 h 100"/>
                <a:gd name="T6" fmla="*/ 50 w 56"/>
                <a:gd name="T7" fmla="*/ 44 h 100"/>
                <a:gd name="T8" fmla="*/ 43 w 56"/>
                <a:gd name="T9" fmla="*/ 44 h 100"/>
                <a:gd name="T10" fmla="*/ 55 w 56"/>
                <a:gd name="T11" fmla="*/ 23 h 100"/>
                <a:gd name="T12" fmla="*/ 33 w 56"/>
                <a:gd name="T13" fmla="*/ 0 h 100"/>
                <a:gd name="T14" fmla="*/ 11 w 56"/>
                <a:gd name="T15" fmla="*/ 23 h 100"/>
                <a:gd name="T16" fmla="*/ 24 w 56"/>
                <a:gd name="T17" fmla="*/ 44 h 100"/>
                <a:gd name="T18" fmla="*/ 17 w 56"/>
                <a:gd name="T19" fmla="*/ 44 h 100"/>
                <a:gd name="T20" fmla="*/ 0 w 56"/>
                <a:gd name="T21" fmla="*/ 59 h 100"/>
                <a:gd name="T22" fmla="*/ 0 w 56"/>
                <a:gd name="T23" fmla="*/ 92 h 100"/>
                <a:gd name="T24" fmla="*/ 33 w 56"/>
                <a:gd name="T25" fmla="*/ 100 h 100"/>
                <a:gd name="T26" fmla="*/ 37 w 56"/>
                <a:gd name="T27" fmla="*/ 100 h 100"/>
                <a:gd name="T28" fmla="*/ 54 w 56"/>
                <a:gd name="T29" fmla="*/ 8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100">
                  <a:moveTo>
                    <a:pt x="54" y="84"/>
                  </a:moveTo>
                  <a:cubicBezTo>
                    <a:pt x="49" y="79"/>
                    <a:pt x="47" y="75"/>
                    <a:pt x="47" y="66"/>
                  </a:cubicBezTo>
                  <a:cubicBezTo>
                    <a:pt x="47" y="58"/>
                    <a:pt x="50" y="50"/>
                    <a:pt x="56" y="45"/>
                  </a:cubicBezTo>
                  <a:cubicBezTo>
                    <a:pt x="54" y="44"/>
                    <a:pt x="52" y="44"/>
                    <a:pt x="50" y="44"/>
                  </a:cubicBezTo>
                  <a:cubicBezTo>
                    <a:pt x="43" y="44"/>
                    <a:pt x="43" y="44"/>
                    <a:pt x="43" y="44"/>
                  </a:cubicBezTo>
                  <a:cubicBezTo>
                    <a:pt x="50" y="41"/>
                    <a:pt x="55" y="32"/>
                    <a:pt x="55" y="23"/>
                  </a:cubicBezTo>
                  <a:cubicBezTo>
                    <a:pt x="55" y="10"/>
                    <a:pt x="45" y="0"/>
                    <a:pt x="33" y="0"/>
                  </a:cubicBezTo>
                  <a:cubicBezTo>
                    <a:pt x="21" y="0"/>
                    <a:pt x="11" y="10"/>
                    <a:pt x="11" y="23"/>
                  </a:cubicBezTo>
                  <a:cubicBezTo>
                    <a:pt x="11" y="32"/>
                    <a:pt x="16" y="41"/>
                    <a:pt x="24" y="44"/>
                  </a:cubicBezTo>
                  <a:cubicBezTo>
                    <a:pt x="17" y="44"/>
                    <a:pt x="17" y="44"/>
                    <a:pt x="17" y="44"/>
                  </a:cubicBezTo>
                  <a:cubicBezTo>
                    <a:pt x="7" y="44"/>
                    <a:pt x="0" y="51"/>
                    <a:pt x="0" y="59"/>
                  </a:cubicBezTo>
                  <a:cubicBezTo>
                    <a:pt x="0" y="92"/>
                    <a:pt x="0" y="92"/>
                    <a:pt x="0" y="92"/>
                  </a:cubicBezTo>
                  <a:cubicBezTo>
                    <a:pt x="11" y="97"/>
                    <a:pt x="21" y="100"/>
                    <a:pt x="33" y="100"/>
                  </a:cubicBezTo>
                  <a:cubicBezTo>
                    <a:pt x="34" y="100"/>
                    <a:pt x="36" y="100"/>
                    <a:pt x="37" y="100"/>
                  </a:cubicBezTo>
                  <a:cubicBezTo>
                    <a:pt x="40" y="92"/>
                    <a:pt x="46" y="85"/>
                    <a:pt x="54"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799"/>
            </a:p>
          </p:txBody>
        </p:sp>
      </p:grpSp>
      <p:sp>
        <p:nvSpPr>
          <p:cNvPr id="2" name="Title 1"/>
          <p:cNvSpPr>
            <a:spLocks noGrp="1"/>
          </p:cNvSpPr>
          <p:nvPr>
            <p:ph type="title"/>
          </p:nvPr>
        </p:nvSpPr>
        <p:spPr>
          <a:xfrm>
            <a:off x="3042146" y="863600"/>
            <a:ext cx="20385090" cy="1066800"/>
          </a:xfrm>
        </p:spPr>
        <p:txBody>
          <a:bodyPr/>
          <a:lstStyle/>
          <a:p>
            <a:r>
              <a:rPr lang="en-US" noProof="0"/>
              <a:t>Click to edit Master title style</a:t>
            </a:r>
          </a:p>
        </p:txBody>
      </p:sp>
      <p:sp>
        <p:nvSpPr>
          <p:cNvPr id="6" name="TextBox 5"/>
          <p:cNvSpPr txBox="1"/>
          <p:nvPr userDrawn="1"/>
        </p:nvSpPr>
        <p:spPr>
          <a:xfrm>
            <a:off x="439023" y="2679619"/>
            <a:ext cx="1515931" cy="1156638"/>
          </a:xfrm>
          <a:prstGeom prst="rect">
            <a:avLst/>
          </a:prstGeom>
          <a:noFill/>
        </p:spPr>
        <p:txBody>
          <a:bodyPr wrap="square" lIns="109192" tIns="109192" rIns="109192" bIns="109192" rtlCol="0">
            <a:noAutofit/>
          </a:bodyPr>
          <a:lstStyle/>
          <a:p>
            <a:pPr indent="0" algn="ctr">
              <a:lnSpc>
                <a:spcPct val="100000"/>
              </a:lnSpc>
              <a:spcAft>
                <a:spcPts val="1200"/>
              </a:spcAft>
            </a:pPr>
            <a:r>
              <a:rPr lang="en-US" sz="2000">
                <a:solidFill>
                  <a:prstClr val="white"/>
                </a:solidFill>
                <a:latin typeface="+mn-lt"/>
              </a:rPr>
              <a:t>For Better with Data</a:t>
            </a:r>
          </a:p>
        </p:txBody>
      </p:sp>
    </p:spTree>
    <p:extLst>
      <p:ext uri="{BB962C8B-B14F-4D97-AF65-F5344CB8AC3E}">
        <p14:creationId xmlns:p14="http://schemas.microsoft.com/office/powerpoint/2010/main" val="338787815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itle Slide 1">
  <p:cSld name="Title Slide 1">
    <p:bg>
      <p:bgPr>
        <a:solidFill>
          <a:srgbClr val="002A44"/>
        </a:solidFill>
        <a:effectLst/>
      </p:bgPr>
    </p:bg>
    <p:spTree>
      <p:nvGrpSpPr>
        <p:cNvPr id="1" name="Shape 403"/>
        <p:cNvGrpSpPr/>
        <p:nvPr/>
      </p:nvGrpSpPr>
      <p:grpSpPr>
        <a:xfrm>
          <a:off x="0" y="0"/>
          <a:ext cx="0" cy="0"/>
          <a:chOff x="0" y="0"/>
          <a:chExt cx="0" cy="0"/>
        </a:xfrm>
      </p:grpSpPr>
      <p:pic>
        <p:nvPicPr>
          <p:cNvPr id="404" name="Google Shape;404;p31"/>
          <p:cNvPicPr preferRelativeResize="0"/>
          <p:nvPr/>
        </p:nvPicPr>
        <p:blipFill rotWithShape="1">
          <a:blip r:embed="rId2">
            <a:alphaModFix amt="70000"/>
          </a:blip>
          <a:srcRect l="3729" r="3738"/>
          <a:stretch/>
        </p:blipFill>
        <p:spPr>
          <a:xfrm flipH="1">
            <a:off x="4706651" y="-76200"/>
            <a:ext cx="19670999" cy="13831574"/>
          </a:xfrm>
          <a:prstGeom prst="rect">
            <a:avLst/>
          </a:prstGeom>
          <a:noFill/>
          <a:ln>
            <a:noFill/>
          </a:ln>
        </p:spPr>
      </p:pic>
      <p:pic>
        <p:nvPicPr>
          <p:cNvPr id="405" name="Google Shape;405;p31"/>
          <p:cNvPicPr preferRelativeResize="0"/>
          <p:nvPr/>
        </p:nvPicPr>
        <p:blipFill rotWithShape="1">
          <a:blip r:embed="rId3">
            <a:alphaModFix/>
          </a:blip>
          <a:srcRect l="32281"/>
          <a:stretch/>
        </p:blipFill>
        <p:spPr>
          <a:xfrm>
            <a:off x="-133950" y="-115600"/>
            <a:ext cx="12496799" cy="13831574"/>
          </a:xfrm>
          <a:prstGeom prst="rect">
            <a:avLst/>
          </a:prstGeom>
          <a:noFill/>
          <a:ln>
            <a:noFill/>
          </a:ln>
        </p:spPr>
      </p:pic>
      <p:sp>
        <p:nvSpPr>
          <p:cNvPr id="406" name="Google Shape;406;p31"/>
          <p:cNvSpPr/>
          <p:nvPr/>
        </p:nvSpPr>
        <p:spPr>
          <a:xfrm>
            <a:off x="20438151" y="711675"/>
            <a:ext cx="3072638" cy="1745259"/>
          </a:xfrm>
          <a:custGeom>
            <a:avLst/>
            <a:gdLst/>
            <a:ahLst/>
            <a:cxnLst/>
            <a:rect l="l" t="t" r="r" b="b"/>
            <a:pathLst>
              <a:path w="3864954" h="2195294" extrusionOk="0">
                <a:moveTo>
                  <a:pt x="0" y="0"/>
                </a:moveTo>
                <a:lnTo>
                  <a:pt x="3864953" y="0"/>
                </a:lnTo>
                <a:lnTo>
                  <a:pt x="3864953" y="2195294"/>
                </a:lnTo>
                <a:lnTo>
                  <a:pt x="0" y="2195294"/>
                </a:lnTo>
                <a:lnTo>
                  <a:pt x="0" y="0"/>
                </a:lnTo>
                <a:close/>
              </a:path>
            </a:pathLst>
          </a:custGeom>
          <a:blipFill rotWithShape="1">
            <a:blip r:embed="rId4">
              <a:alphaModFix/>
            </a:blip>
            <a:stretch>
              <a:fillRect/>
            </a:stretch>
          </a:blipFill>
          <a:ln>
            <a:noFill/>
          </a:ln>
        </p:spPr>
      </p:sp>
      <p:sp>
        <p:nvSpPr>
          <p:cNvPr id="407" name="Google Shape;407;p31"/>
          <p:cNvSpPr/>
          <p:nvPr/>
        </p:nvSpPr>
        <p:spPr>
          <a:xfrm>
            <a:off x="3500875" y="3641125"/>
            <a:ext cx="16836900" cy="6518700"/>
          </a:xfrm>
          <a:prstGeom prst="rect">
            <a:avLst/>
          </a:prstGeom>
          <a:noFill/>
          <a:ln w="228600" cap="flat" cmpd="sng">
            <a:solidFill>
              <a:srgbClr val="C1F4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408" name="Google Shape;408;p31"/>
          <p:cNvSpPr txBox="1">
            <a:spLocks noGrp="1"/>
          </p:cNvSpPr>
          <p:nvPr>
            <p:ph type="title"/>
          </p:nvPr>
        </p:nvSpPr>
        <p:spPr>
          <a:xfrm>
            <a:off x="4186075" y="4325450"/>
            <a:ext cx="15421500" cy="5238900"/>
          </a:xfrm>
          <a:prstGeom prst="rect">
            <a:avLst/>
          </a:prstGeom>
          <a:noFill/>
          <a:ln>
            <a:noFill/>
          </a:ln>
        </p:spPr>
        <p:txBody>
          <a:bodyPr spcFirstLastPara="1" wrap="square" lIns="91425" tIns="91425" rIns="91425" bIns="91425" anchor="t" anchorCtr="0">
            <a:normAutofit/>
          </a:bodyPr>
          <a:lstStyle>
            <a:lvl1pPr lvl="0" rtl="0">
              <a:spcBef>
                <a:spcPts val="0"/>
              </a:spcBef>
              <a:spcAft>
                <a:spcPts val="0"/>
              </a:spcAft>
              <a:buClr>
                <a:schemeClr val="lt1"/>
              </a:buClr>
              <a:buSzPts val="10800"/>
              <a:buFont typeface="Montserrat Black"/>
              <a:buNone/>
              <a:defRPr sz="10800">
                <a:solidFill>
                  <a:schemeClr val="lt1"/>
                </a:solidFill>
                <a:latin typeface="Montserrat Black"/>
                <a:ea typeface="Montserrat Black"/>
                <a:cs typeface="Montserrat Black"/>
                <a:sym typeface="Montserrat Black"/>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409" name="Google Shape;409;p31"/>
          <p:cNvSpPr txBox="1">
            <a:spLocks noGrp="1"/>
          </p:cNvSpPr>
          <p:nvPr>
            <p:ph type="subTitle" idx="1"/>
          </p:nvPr>
        </p:nvSpPr>
        <p:spPr>
          <a:xfrm>
            <a:off x="11228875" y="11185150"/>
            <a:ext cx="11616000" cy="1240500"/>
          </a:xfrm>
          <a:prstGeom prst="rect">
            <a:avLst/>
          </a:prstGeom>
          <a:noFill/>
          <a:ln>
            <a:noFill/>
          </a:ln>
        </p:spPr>
        <p:txBody>
          <a:bodyPr spcFirstLastPara="1" wrap="square" lIns="91425" tIns="91425" rIns="91425" bIns="91425" anchor="ctr" anchorCtr="0">
            <a:noAutofit/>
          </a:bodyPr>
          <a:lstStyle>
            <a:lvl1pPr lvl="0" algn="r" rtl="0">
              <a:spcBef>
                <a:spcPts val="0"/>
              </a:spcBef>
              <a:spcAft>
                <a:spcPts val="0"/>
              </a:spcAft>
              <a:buClr>
                <a:schemeClr val="lt1"/>
              </a:buClr>
              <a:buSzPts val="4900"/>
              <a:buFont typeface="Montserrat Medium"/>
              <a:buNone/>
              <a:defRPr sz="4900">
                <a:solidFill>
                  <a:schemeClr val="lt1"/>
                </a:solidFill>
                <a:latin typeface="Montserrat Medium"/>
                <a:ea typeface="Montserrat Medium"/>
                <a:cs typeface="Montserrat Medium"/>
                <a:sym typeface="Montserrat Medium"/>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410" name="Google Shape;410;p31"/>
          <p:cNvSpPr txBox="1">
            <a:spLocks noGrp="1"/>
          </p:cNvSpPr>
          <p:nvPr>
            <p:ph type="subTitle" idx="2"/>
          </p:nvPr>
        </p:nvSpPr>
        <p:spPr>
          <a:xfrm>
            <a:off x="1537575" y="11320500"/>
            <a:ext cx="11616000" cy="12405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rgbClr val="C1F400"/>
              </a:buClr>
              <a:buSzPts val="2400"/>
              <a:buFont typeface="Montserrat SemiBold"/>
              <a:buNone/>
              <a:defRPr sz="2400">
                <a:solidFill>
                  <a:srgbClr val="C1F400"/>
                </a:solidFill>
                <a:latin typeface="Montserrat SemiBold"/>
                <a:ea typeface="Montserrat SemiBold"/>
                <a:cs typeface="Montserrat SemiBold"/>
                <a:sym typeface="Montserrat SemiBold"/>
              </a:defRPr>
            </a:lvl1pPr>
            <a:lvl2pPr lvl="1" rtl="0">
              <a:spcBef>
                <a:spcPts val="0"/>
              </a:spcBef>
              <a:spcAft>
                <a:spcPts val="0"/>
              </a:spcAft>
              <a:buSzPts val="2400"/>
              <a:buNone/>
              <a:defRPr sz="2400"/>
            </a:lvl2pPr>
            <a:lvl3pPr lvl="2" rtl="0">
              <a:spcBef>
                <a:spcPts val="0"/>
              </a:spcBef>
              <a:spcAft>
                <a:spcPts val="0"/>
              </a:spcAft>
              <a:buSzPts val="2400"/>
              <a:buNone/>
              <a:defRPr sz="2400"/>
            </a:lvl3pPr>
            <a:lvl4pPr lvl="3" rtl="0">
              <a:spcBef>
                <a:spcPts val="0"/>
              </a:spcBef>
              <a:spcAft>
                <a:spcPts val="0"/>
              </a:spcAft>
              <a:buSzPts val="2400"/>
              <a:buNone/>
              <a:defRPr sz="2400"/>
            </a:lvl4pPr>
            <a:lvl5pPr lvl="4" rtl="0">
              <a:spcBef>
                <a:spcPts val="0"/>
              </a:spcBef>
              <a:spcAft>
                <a:spcPts val="0"/>
              </a:spcAft>
              <a:buSzPts val="2400"/>
              <a:buNone/>
              <a:defRPr sz="2400"/>
            </a:lvl5pPr>
            <a:lvl6pPr lvl="5" rtl="0">
              <a:spcBef>
                <a:spcPts val="0"/>
              </a:spcBef>
              <a:spcAft>
                <a:spcPts val="0"/>
              </a:spcAft>
              <a:buSzPts val="2400"/>
              <a:buNone/>
              <a:defRPr sz="2400"/>
            </a:lvl6pPr>
            <a:lvl7pPr lvl="6" rtl="0">
              <a:spcBef>
                <a:spcPts val="0"/>
              </a:spcBef>
              <a:spcAft>
                <a:spcPts val="0"/>
              </a:spcAft>
              <a:buSzPts val="2400"/>
              <a:buNone/>
              <a:defRPr sz="2400"/>
            </a:lvl7pPr>
            <a:lvl8pPr lvl="7" rtl="0">
              <a:spcBef>
                <a:spcPts val="0"/>
              </a:spcBef>
              <a:spcAft>
                <a:spcPts val="0"/>
              </a:spcAft>
              <a:buSzPts val="2400"/>
              <a:buNone/>
              <a:defRPr sz="2400"/>
            </a:lvl8pPr>
            <a:lvl9pPr lvl="8" rtl="0">
              <a:spcBef>
                <a:spcPts val="0"/>
              </a:spcBef>
              <a:spcAft>
                <a:spcPts val="0"/>
              </a:spcAft>
              <a:buSzPts val="2400"/>
              <a:buNone/>
              <a:defRPr sz="2400"/>
            </a:lvl9pPr>
          </a:lstStyle>
          <a:p>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itle Slide 2">
  <p:cSld name="Title Slide 2">
    <p:bg>
      <p:bgPr>
        <a:solidFill>
          <a:srgbClr val="002A44"/>
        </a:solidFill>
        <a:effectLst/>
      </p:bgPr>
    </p:bg>
    <p:spTree>
      <p:nvGrpSpPr>
        <p:cNvPr id="1" name="Shape 411"/>
        <p:cNvGrpSpPr/>
        <p:nvPr/>
      </p:nvGrpSpPr>
      <p:grpSpPr>
        <a:xfrm>
          <a:off x="0" y="0"/>
          <a:ext cx="0" cy="0"/>
          <a:chOff x="0" y="0"/>
          <a:chExt cx="0" cy="0"/>
        </a:xfrm>
      </p:grpSpPr>
      <p:pic>
        <p:nvPicPr>
          <p:cNvPr id="412" name="Google Shape;412;p32"/>
          <p:cNvPicPr preferRelativeResize="0"/>
          <p:nvPr/>
        </p:nvPicPr>
        <p:blipFill rotWithShape="1">
          <a:blip r:embed="rId2">
            <a:alphaModFix amt="60000"/>
          </a:blip>
          <a:srcRect l="288" r="288"/>
          <a:stretch/>
        </p:blipFill>
        <p:spPr>
          <a:xfrm>
            <a:off x="2" y="-115575"/>
            <a:ext cx="19639024" cy="13831574"/>
          </a:xfrm>
          <a:prstGeom prst="rect">
            <a:avLst/>
          </a:prstGeom>
          <a:noFill/>
          <a:ln>
            <a:noFill/>
          </a:ln>
        </p:spPr>
      </p:pic>
      <p:pic>
        <p:nvPicPr>
          <p:cNvPr id="413" name="Google Shape;413;p32"/>
          <p:cNvPicPr preferRelativeResize="0"/>
          <p:nvPr/>
        </p:nvPicPr>
        <p:blipFill rotWithShape="1">
          <a:blip r:embed="rId3">
            <a:alphaModFix/>
          </a:blip>
          <a:srcRect l="19100"/>
          <a:stretch/>
        </p:blipFill>
        <p:spPr>
          <a:xfrm rot="10800000">
            <a:off x="9582577" y="-115599"/>
            <a:ext cx="14929423" cy="13831574"/>
          </a:xfrm>
          <a:prstGeom prst="rect">
            <a:avLst/>
          </a:prstGeom>
          <a:noFill/>
          <a:ln>
            <a:noFill/>
          </a:ln>
        </p:spPr>
      </p:pic>
      <p:sp>
        <p:nvSpPr>
          <p:cNvPr id="414" name="Google Shape;414;p32"/>
          <p:cNvSpPr/>
          <p:nvPr/>
        </p:nvSpPr>
        <p:spPr>
          <a:xfrm>
            <a:off x="2298275" y="5300700"/>
            <a:ext cx="19781100" cy="3114600"/>
          </a:xfrm>
          <a:prstGeom prst="rect">
            <a:avLst/>
          </a:prstGeom>
          <a:noFill/>
          <a:ln w="228600" cap="flat" cmpd="sng">
            <a:solidFill>
              <a:srgbClr val="C1F4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415" name="Google Shape;415;p32"/>
          <p:cNvSpPr/>
          <p:nvPr/>
        </p:nvSpPr>
        <p:spPr>
          <a:xfrm>
            <a:off x="20438151" y="711675"/>
            <a:ext cx="3072638" cy="1745259"/>
          </a:xfrm>
          <a:custGeom>
            <a:avLst/>
            <a:gdLst/>
            <a:ahLst/>
            <a:cxnLst/>
            <a:rect l="l" t="t" r="r" b="b"/>
            <a:pathLst>
              <a:path w="3864954" h="2195294" extrusionOk="0">
                <a:moveTo>
                  <a:pt x="0" y="0"/>
                </a:moveTo>
                <a:lnTo>
                  <a:pt x="3864953" y="0"/>
                </a:lnTo>
                <a:lnTo>
                  <a:pt x="3864953" y="2195294"/>
                </a:lnTo>
                <a:lnTo>
                  <a:pt x="0" y="2195294"/>
                </a:lnTo>
                <a:lnTo>
                  <a:pt x="0" y="0"/>
                </a:lnTo>
                <a:close/>
              </a:path>
            </a:pathLst>
          </a:custGeom>
          <a:blipFill rotWithShape="1">
            <a:blip r:embed="rId4">
              <a:alphaModFix/>
            </a:blip>
            <a:stretch>
              <a:fillRect/>
            </a:stretch>
          </a:blipFill>
          <a:ln>
            <a:noFill/>
          </a:ln>
        </p:spPr>
      </p:sp>
      <p:sp>
        <p:nvSpPr>
          <p:cNvPr id="416" name="Google Shape;416;p32"/>
          <p:cNvSpPr txBox="1">
            <a:spLocks noGrp="1"/>
          </p:cNvSpPr>
          <p:nvPr>
            <p:ph type="subTitle" idx="1"/>
          </p:nvPr>
        </p:nvSpPr>
        <p:spPr>
          <a:xfrm>
            <a:off x="17392050" y="11168100"/>
            <a:ext cx="5862900" cy="1240500"/>
          </a:xfrm>
          <a:prstGeom prst="rect">
            <a:avLst/>
          </a:prstGeom>
          <a:noFill/>
          <a:ln>
            <a:noFill/>
          </a:ln>
        </p:spPr>
        <p:txBody>
          <a:bodyPr spcFirstLastPara="1" wrap="square" lIns="91425" tIns="91425" rIns="91425" bIns="91425" anchor="ctr" anchorCtr="0">
            <a:noAutofit/>
          </a:bodyPr>
          <a:lstStyle>
            <a:lvl1pPr lvl="0" algn="r" rtl="0">
              <a:spcBef>
                <a:spcPts val="0"/>
              </a:spcBef>
              <a:spcAft>
                <a:spcPts val="0"/>
              </a:spcAft>
              <a:buClr>
                <a:srgbClr val="C1F400"/>
              </a:buClr>
              <a:buSzPts val="2400"/>
              <a:buFont typeface="Montserrat SemiBold"/>
              <a:buNone/>
              <a:defRPr sz="2400">
                <a:solidFill>
                  <a:srgbClr val="C1F400"/>
                </a:solidFill>
                <a:latin typeface="Montserrat SemiBold"/>
                <a:ea typeface="Montserrat SemiBold"/>
                <a:cs typeface="Montserrat SemiBold"/>
                <a:sym typeface="Montserrat SemiBold"/>
              </a:defRPr>
            </a:lvl1pPr>
            <a:lvl2pPr lvl="1" algn="r" rtl="0">
              <a:spcBef>
                <a:spcPts val="0"/>
              </a:spcBef>
              <a:spcAft>
                <a:spcPts val="0"/>
              </a:spcAft>
              <a:buSzPts val="2400"/>
              <a:buNone/>
              <a:defRPr sz="2400"/>
            </a:lvl2pPr>
            <a:lvl3pPr lvl="2" algn="r" rtl="0">
              <a:spcBef>
                <a:spcPts val="0"/>
              </a:spcBef>
              <a:spcAft>
                <a:spcPts val="0"/>
              </a:spcAft>
              <a:buSzPts val="2400"/>
              <a:buNone/>
              <a:defRPr sz="2400"/>
            </a:lvl3pPr>
            <a:lvl4pPr lvl="3" algn="r" rtl="0">
              <a:spcBef>
                <a:spcPts val="0"/>
              </a:spcBef>
              <a:spcAft>
                <a:spcPts val="0"/>
              </a:spcAft>
              <a:buSzPts val="2400"/>
              <a:buNone/>
              <a:defRPr sz="2400"/>
            </a:lvl4pPr>
            <a:lvl5pPr lvl="4" algn="r" rtl="0">
              <a:spcBef>
                <a:spcPts val="0"/>
              </a:spcBef>
              <a:spcAft>
                <a:spcPts val="0"/>
              </a:spcAft>
              <a:buSzPts val="2400"/>
              <a:buNone/>
              <a:defRPr sz="2400"/>
            </a:lvl5pPr>
            <a:lvl6pPr lvl="5" algn="r" rtl="0">
              <a:spcBef>
                <a:spcPts val="0"/>
              </a:spcBef>
              <a:spcAft>
                <a:spcPts val="0"/>
              </a:spcAft>
              <a:buSzPts val="2400"/>
              <a:buNone/>
              <a:defRPr sz="2400"/>
            </a:lvl6pPr>
            <a:lvl7pPr lvl="6" algn="r" rtl="0">
              <a:spcBef>
                <a:spcPts val="0"/>
              </a:spcBef>
              <a:spcAft>
                <a:spcPts val="0"/>
              </a:spcAft>
              <a:buSzPts val="2400"/>
              <a:buNone/>
              <a:defRPr sz="2400"/>
            </a:lvl7pPr>
            <a:lvl8pPr lvl="7" algn="r" rtl="0">
              <a:spcBef>
                <a:spcPts val="0"/>
              </a:spcBef>
              <a:spcAft>
                <a:spcPts val="0"/>
              </a:spcAft>
              <a:buSzPts val="2400"/>
              <a:buNone/>
              <a:defRPr sz="2400"/>
            </a:lvl8pPr>
            <a:lvl9pPr lvl="8" algn="r" rtl="0">
              <a:spcBef>
                <a:spcPts val="0"/>
              </a:spcBef>
              <a:spcAft>
                <a:spcPts val="0"/>
              </a:spcAft>
              <a:buSzPts val="2400"/>
              <a:buNone/>
              <a:defRPr sz="2400"/>
            </a:lvl9pPr>
          </a:lstStyle>
          <a:p>
            <a:endParaRPr/>
          </a:p>
        </p:txBody>
      </p:sp>
      <p:sp>
        <p:nvSpPr>
          <p:cNvPr id="417" name="Google Shape;417;p32"/>
          <p:cNvSpPr txBox="1">
            <a:spLocks noGrp="1"/>
          </p:cNvSpPr>
          <p:nvPr>
            <p:ph type="title"/>
          </p:nvPr>
        </p:nvSpPr>
        <p:spPr>
          <a:xfrm>
            <a:off x="3097600" y="5946250"/>
            <a:ext cx="18645300" cy="1844400"/>
          </a:xfrm>
          <a:prstGeom prst="rect">
            <a:avLst/>
          </a:prstGeom>
          <a:noFill/>
          <a:ln>
            <a:noFill/>
          </a:ln>
        </p:spPr>
        <p:txBody>
          <a:bodyPr spcFirstLastPara="1" wrap="square" lIns="91425" tIns="91425" rIns="91425" bIns="91425" anchor="t" anchorCtr="0">
            <a:normAutofit/>
          </a:bodyPr>
          <a:lstStyle>
            <a:lvl1pPr lvl="0" rtl="0">
              <a:spcBef>
                <a:spcPts val="0"/>
              </a:spcBef>
              <a:spcAft>
                <a:spcPts val="0"/>
              </a:spcAft>
              <a:buClr>
                <a:schemeClr val="lt1"/>
              </a:buClr>
              <a:buSzPts val="10800"/>
              <a:buFont typeface="Montserrat Black"/>
              <a:buNone/>
              <a:defRPr sz="10800">
                <a:solidFill>
                  <a:schemeClr val="lt1"/>
                </a:solidFill>
                <a:latin typeface="Montserrat Black"/>
                <a:ea typeface="Montserrat Black"/>
                <a:cs typeface="Montserrat Black"/>
                <a:sym typeface="Montserrat Black"/>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grpSp>
        <p:nvGrpSpPr>
          <p:cNvPr id="418" name="Google Shape;418;p32"/>
          <p:cNvGrpSpPr/>
          <p:nvPr/>
        </p:nvGrpSpPr>
        <p:grpSpPr>
          <a:xfrm>
            <a:off x="1247199" y="11097075"/>
            <a:ext cx="15482101" cy="1372200"/>
            <a:chOff x="1151949" y="11097075"/>
            <a:chExt cx="15482101" cy="1372200"/>
          </a:xfrm>
        </p:grpSpPr>
        <p:sp>
          <p:nvSpPr>
            <p:cNvPr id="419" name="Google Shape;419;p32"/>
            <p:cNvSpPr/>
            <p:nvPr/>
          </p:nvSpPr>
          <p:spPr>
            <a:xfrm>
              <a:off x="1151949" y="11097075"/>
              <a:ext cx="15053400" cy="1372200"/>
            </a:xfrm>
            <a:prstGeom prst="rect">
              <a:avLst/>
            </a:prstGeom>
            <a:solidFill>
              <a:srgbClr val="C1F400"/>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420" name="Google Shape;420;p32"/>
            <p:cNvSpPr/>
            <p:nvPr/>
          </p:nvSpPr>
          <p:spPr>
            <a:xfrm>
              <a:off x="16205350" y="11097075"/>
              <a:ext cx="428700" cy="1372200"/>
            </a:xfrm>
            <a:prstGeom prst="rtTriangle">
              <a:avLst/>
            </a:prstGeom>
            <a:solidFill>
              <a:srgbClr val="C1F400"/>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grpSp>
      <p:sp>
        <p:nvSpPr>
          <p:cNvPr id="421" name="Google Shape;421;p32"/>
          <p:cNvSpPr txBox="1">
            <a:spLocks noGrp="1"/>
          </p:cNvSpPr>
          <p:nvPr>
            <p:ph type="subTitle" idx="2"/>
          </p:nvPr>
        </p:nvSpPr>
        <p:spPr>
          <a:xfrm>
            <a:off x="1536275" y="11185150"/>
            <a:ext cx="14451000" cy="12405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rgbClr val="002A44"/>
              </a:buClr>
              <a:buSzPts val="4200"/>
              <a:buFont typeface="Montserrat"/>
              <a:buNone/>
              <a:defRPr sz="4200" b="1">
                <a:solidFill>
                  <a:srgbClr val="002A44"/>
                </a:solidFill>
                <a:latin typeface="Montserrat"/>
                <a:ea typeface="Montserrat"/>
                <a:cs typeface="Montserrat"/>
                <a:sym typeface="Montserrat"/>
              </a:defRPr>
            </a:lvl1pPr>
            <a:lvl2pPr lvl="1" rtl="0">
              <a:spcBef>
                <a:spcPts val="0"/>
              </a:spcBef>
              <a:spcAft>
                <a:spcPts val="0"/>
              </a:spcAft>
              <a:buClr>
                <a:srgbClr val="002A44"/>
              </a:buClr>
              <a:buSzPts val="1400"/>
              <a:buFont typeface="Montserrat SemiBold"/>
              <a:buNone/>
              <a:defRPr>
                <a:solidFill>
                  <a:srgbClr val="002A44"/>
                </a:solidFill>
                <a:latin typeface="Montserrat SemiBold"/>
                <a:ea typeface="Montserrat SemiBold"/>
                <a:cs typeface="Montserrat SemiBold"/>
                <a:sym typeface="Montserrat SemiBold"/>
              </a:defRPr>
            </a:lvl2pPr>
            <a:lvl3pPr lvl="2" rtl="0">
              <a:spcBef>
                <a:spcPts val="0"/>
              </a:spcBef>
              <a:spcAft>
                <a:spcPts val="0"/>
              </a:spcAft>
              <a:buClr>
                <a:srgbClr val="002A44"/>
              </a:buClr>
              <a:buSzPts val="1400"/>
              <a:buFont typeface="Montserrat SemiBold"/>
              <a:buNone/>
              <a:defRPr>
                <a:solidFill>
                  <a:srgbClr val="002A44"/>
                </a:solidFill>
                <a:latin typeface="Montserrat SemiBold"/>
                <a:ea typeface="Montserrat SemiBold"/>
                <a:cs typeface="Montserrat SemiBold"/>
                <a:sym typeface="Montserrat SemiBold"/>
              </a:defRPr>
            </a:lvl3pPr>
            <a:lvl4pPr lvl="3" rtl="0">
              <a:spcBef>
                <a:spcPts val="0"/>
              </a:spcBef>
              <a:spcAft>
                <a:spcPts val="0"/>
              </a:spcAft>
              <a:buClr>
                <a:srgbClr val="002A44"/>
              </a:buClr>
              <a:buSzPts val="1400"/>
              <a:buFont typeface="Montserrat SemiBold"/>
              <a:buNone/>
              <a:defRPr>
                <a:solidFill>
                  <a:srgbClr val="002A44"/>
                </a:solidFill>
                <a:latin typeface="Montserrat SemiBold"/>
                <a:ea typeface="Montserrat SemiBold"/>
                <a:cs typeface="Montserrat SemiBold"/>
                <a:sym typeface="Montserrat SemiBold"/>
              </a:defRPr>
            </a:lvl4pPr>
            <a:lvl5pPr lvl="4" rtl="0">
              <a:spcBef>
                <a:spcPts val="0"/>
              </a:spcBef>
              <a:spcAft>
                <a:spcPts val="0"/>
              </a:spcAft>
              <a:buClr>
                <a:srgbClr val="002A44"/>
              </a:buClr>
              <a:buSzPts val="1400"/>
              <a:buFont typeface="Montserrat SemiBold"/>
              <a:buNone/>
              <a:defRPr>
                <a:solidFill>
                  <a:srgbClr val="002A44"/>
                </a:solidFill>
                <a:latin typeface="Montserrat SemiBold"/>
                <a:ea typeface="Montserrat SemiBold"/>
                <a:cs typeface="Montserrat SemiBold"/>
                <a:sym typeface="Montserrat SemiBold"/>
              </a:defRPr>
            </a:lvl5pPr>
            <a:lvl6pPr lvl="5" rtl="0">
              <a:spcBef>
                <a:spcPts val="0"/>
              </a:spcBef>
              <a:spcAft>
                <a:spcPts val="0"/>
              </a:spcAft>
              <a:buClr>
                <a:srgbClr val="002A44"/>
              </a:buClr>
              <a:buSzPts val="1400"/>
              <a:buFont typeface="Montserrat SemiBold"/>
              <a:buNone/>
              <a:defRPr>
                <a:solidFill>
                  <a:srgbClr val="002A44"/>
                </a:solidFill>
                <a:latin typeface="Montserrat SemiBold"/>
                <a:ea typeface="Montserrat SemiBold"/>
                <a:cs typeface="Montserrat SemiBold"/>
                <a:sym typeface="Montserrat SemiBold"/>
              </a:defRPr>
            </a:lvl6pPr>
            <a:lvl7pPr lvl="6" rtl="0">
              <a:spcBef>
                <a:spcPts val="0"/>
              </a:spcBef>
              <a:spcAft>
                <a:spcPts val="0"/>
              </a:spcAft>
              <a:buClr>
                <a:srgbClr val="002A44"/>
              </a:buClr>
              <a:buSzPts val="1400"/>
              <a:buFont typeface="Montserrat SemiBold"/>
              <a:buNone/>
              <a:defRPr>
                <a:solidFill>
                  <a:srgbClr val="002A44"/>
                </a:solidFill>
                <a:latin typeface="Montserrat SemiBold"/>
                <a:ea typeface="Montserrat SemiBold"/>
                <a:cs typeface="Montserrat SemiBold"/>
                <a:sym typeface="Montserrat SemiBold"/>
              </a:defRPr>
            </a:lvl7pPr>
            <a:lvl8pPr lvl="7" rtl="0">
              <a:spcBef>
                <a:spcPts val="0"/>
              </a:spcBef>
              <a:spcAft>
                <a:spcPts val="0"/>
              </a:spcAft>
              <a:buClr>
                <a:srgbClr val="002A44"/>
              </a:buClr>
              <a:buSzPts val="1400"/>
              <a:buFont typeface="Montserrat SemiBold"/>
              <a:buNone/>
              <a:defRPr>
                <a:solidFill>
                  <a:srgbClr val="002A44"/>
                </a:solidFill>
                <a:latin typeface="Montserrat SemiBold"/>
                <a:ea typeface="Montserrat SemiBold"/>
                <a:cs typeface="Montserrat SemiBold"/>
                <a:sym typeface="Montserrat SemiBold"/>
              </a:defRPr>
            </a:lvl8pPr>
            <a:lvl9pPr lvl="8" rtl="0">
              <a:spcBef>
                <a:spcPts val="0"/>
              </a:spcBef>
              <a:spcAft>
                <a:spcPts val="0"/>
              </a:spcAft>
              <a:buClr>
                <a:srgbClr val="002A44"/>
              </a:buClr>
              <a:buSzPts val="1400"/>
              <a:buFont typeface="Montserrat SemiBold"/>
              <a:buNone/>
              <a:defRPr>
                <a:solidFill>
                  <a:srgbClr val="002A44"/>
                </a:solidFill>
                <a:latin typeface="Montserrat SemiBold"/>
                <a:ea typeface="Montserrat SemiBold"/>
                <a:cs typeface="Montserrat SemiBold"/>
                <a:sym typeface="Montserrat SemiBold"/>
              </a:defRPr>
            </a:lvl9pPr>
          </a:lstStyle>
          <a:p>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itle Slide 3">
  <p:cSld name="Title Slide 3">
    <p:bg>
      <p:bgPr>
        <a:solidFill>
          <a:srgbClr val="C1F400"/>
        </a:solidFill>
        <a:effectLst/>
      </p:bgPr>
    </p:bg>
    <p:spTree>
      <p:nvGrpSpPr>
        <p:cNvPr id="1" name="Shape 422"/>
        <p:cNvGrpSpPr/>
        <p:nvPr/>
      </p:nvGrpSpPr>
      <p:grpSpPr>
        <a:xfrm>
          <a:off x="0" y="0"/>
          <a:ext cx="0" cy="0"/>
          <a:chOff x="0" y="0"/>
          <a:chExt cx="0" cy="0"/>
        </a:xfrm>
      </p:grpSpPr>
      <p:pic>
        <p:nvPicPr>
          <p:cNvPr id="423" name="Google Shape;423;p33"/>
          <p:cNvPicPr preferRelativeResize="0"/>
          <p:nvPr/>
        </p:nvPicPr>
        <p:blipFill rotWithShape="1">
          <a:blip r:embed="rId2">
            <a:alphaModFix/>
          </a:blip>
          <a:srcRect t="18049" b="18056"/>
          <a:stretch/>
        </p:blipFill>
        <p:spPr>
          <a:xfrm flipH="1">
            <a:off x="0" y="-699009"/>
            <a:ext cx="24377650" cy="5724335"/>
          </a:xfrm>
          <a:prstGeom prst="rect">
            <a:avLst/>
          </a:prstGeom>
          <a:solidFill>
            <a:schemeClr val="lt2"/>
          </a:solidFill>
          <a:ln>
            <a:noFill/>
          </a:ln>
        </p:spPr>
      </p:pic>
      <p:pic>
        <p:nvPicPr>
          <p:cNvPr id="424" name="Google Shape;424;p33"/>
          <p:cNvPicPr preferRelativeResize="0"/>
          <p:nvPr/>
        </p:nvPicPr>
        <p:blipFill>
          <a:blip r:embed="rId3">
            <a:alphaModFix/>
          </a:blip>
          <a:stretch>
            <a:fillRect/>
          </a:stretch>
        </p:blipFill>
        <p:spPr>
          <a:xfrm>
            <a:off x="0" y="3103025"/>
            <a:ext cx="24377651" cy="9337150"/>
          </a:xfrm>
          <a:prstGeom prst="rect">
            <a:avLst/>
          </a:prstGeom>
          <a:noFill/>
          <a:ln>
            <a:noFill/>
          </a:ln>
        </p:spPr>
      </p:pic>
      <p:sp>
        <p:nvSpPr>
          <p:cNvPr id="425" name="Google Shape;425;p33"/>
          <p:cNvSpPr/>
          <p:nvPr/>
        </p:nvSpPr>
        <p:spPr>
          <a:xfrm>
            <a:off x="19956001" y="4397425"/>
            <a:ext cx="3072638" cy="1745259"/>
          </a:xfrm>
          <a:custGeom>
            <a:avLst/>
            <a:gdLst/>
            <a:ahLst/>
            <a:cxnLst/>
            <a:rect l="l" t="t" r="r" b="b"/>
            <a:pathLst>
              <a:path w="3864954" h="2195294" extrusionOk="0">
                <a:moveTo>
                  <a:pt x="0" y="0"/>
                </a:moveTo>
                <a:lnTo>
                  <a:pt x="3864953" y="0"/>
                </a:lnTo>
                <a:lnTo>
                  <a:pt x="3864953" y="2195294"/>
                </a:lnTo>
                <a:lnTo>
                  <a:pt x="0" y="2195294"/>
                </a:lnTo>
                <a:lnTo>
                  <a:pt x="0" y="0"/>
                </a:lnTo>
                <a:close/>
              </a:path>
            </a:pathLst>
          </a:custGeom>
          <a:blipFill rotWithShape="1">
            <a:blip r:embed="rId4">
              <a:alphaModFix/>
            </a:blip>
            <a:stretch>
              <a:fillRect/>
            </a:stretch>
          </a:blipFill>
          <a:ln>
            <a:noFill/>
          </a:ln>
        </p:spPr>
      </p:sp>
      <p:sp>
        <p:nvSpPr>
          <p:cNvPr id="426" name="Google Shape;426;p33"/>
          <p:cNvSpPr txBox="1">
            <a:spLocks noGrp="1"/>
          </p:cNvSpPr>
          <p:nvPr>
            <p:ph type="title"/>
          </p:nvPr>
        </p:nvSpPr>
        <p:spPr>
          <a:xfrm>
            <a:off x="1970575" y="5125550"/>
            <a:ext cx="15421500" cy="3544800"/>
          </a:xfrm>
          <a:prstGeom prst="rect">
            <a:avLst/>
          </a:prstGeom>
          <a:noFill/>
          <a:ln>
            <a:noFill/>
          </a:ln>
        </p:spPr>
        <p:txBody>
          <a:bodyPr spcFirstLastPara="1" wrap="square" lIns="91425" tIns="91425" rIns="91425" bIns="91425" anchor="t" anchorCtr="0">
            <a:normAutofit/>
          </a:bodyPr>
          <a:lstStyle>
            <a:lvl1pPr lvl="0" rtl="0">
              <a:spcBef>
                <a:spcPts val="0"/>
              </a:spcBef>
              <a:spcAft>
                <a:spcPts val="0"/>
              </a:spcAft>
              <a:buClr>
                <a:schemeClr val="lt1"/>
              </a:buClr>
              <a:buSzPts val="10800"/>
              <a:buFont typeface="Montserrat Black"/>
              <a:buNone/>
              <a:defRPr sz="10800">
                <a:solidFill>
                  <a:schemeClr val="lt1"/>
                </a:solidFill>
                <a:latin typeface="Montserrat Black"/>
                <a:ea typeface="Montserrat Black"/>
                <a:cs typeface="Montserrat Black"/>
                <a:sym typeface="Montserrat Black"/>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427" name="Google Shape;427;p33"/>
          <p:cNvSpPr txBox="1">
            <a:spLocks noGrp="1"/>
          </p:cNvSpPr>
          <p:nvPr>
            <p:ph type="subTitle" idx="1"/>
          </p:nvPr>
        </p:nvSpPr>
        <p:spPr>
          <a:xfrm>
            <a:off x="1970575" y="8803900"/>
            <a:ext cx="20731800" cy="12405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rgbClr val="C1F400"/>
              </a:buClr>
              <a:buSzPts val="4900"/>
              <a:buFont typeface="Montserrat Medium"/>
              <a:buNone/>
              <a:defRPr sz="4900">
                <a:solidFill>
                  <a:srgbClr val="C1F400"/>
                </a:solidFill>
                <a:latin typeface="Montserrat Medium"/>
                <a:ea typeface="Montserrat Medium"/>
                <a:cs typeface="Montserrat Medium"/>
                <a:sym typeface="Montserrat Medium"/>
              </a:defRPr>
            </a:lvl1pPr>
            <a:lvl2pPr lvl="1" rtl="0">
              <a:spcBef>
                <a:spcPts val="0"/>
              </a:spcBef>
              <a:spcAft>
                <a:spcPts val="0"/>
              </a:spcAft>
              <a:buClr>
                <a:srgbClr val="C1F400"/>
              </a:buClr>
              <a:buSzPts val="1400"/>
              <a:buNone/>
              <a:defRPr>
                <a:solidFill>
                  <a:srgbClr val="C1F400"/>
                </a:solidFill>
              </a:defRPr>
            </a:lvl2pPr>
            <a:lvl3pPr lvl="2" rtl="0">
              <a:spcBef>
                <a:spcPts val="0"/>
              </a:spcBef>
              <a:spcAft>
                <a:spcPts val="0"/>
              </a:spcAft>
              <a:buClr>
                <a:srgbClr val="C1F400"/>
              </a:buClr>
              <a:buSzPts val="1400"/>
              <a:buNone/>
              <a:defRPr>
                <a:solidFill>
                  <a:srgbClr val="C1F400"/>
                </a:solidFill>
              </a:defRPr>
            </a:lvl3pPr>
            <a:lvl4pPr lvl="3" rtl="0">
              <a:spcBef>
                <a:spcPts val="0"/>
              </a:spcBef>
              <a:spcAft>
                <a:spcPts val="0"/>
              </a:spcAft>
              <a:buClr>
                <a:srgbClr val="C1F400"/>
              </a:buClr>
              <a:buSzPts val="1400"/>
              <a:buNone/>
              <a:defRPr>
                <a:solidFill>
                  <a:srgbClr val="C1F400"/>
                </a:solidFill>
              </a:defRPr>
            </a:lvl4pPr>
            <a:lvl5pPr lvl="4" rtl="0">
              <a:spcBef>
                <a:spcPts val="0"/>
              </a:spcBef>
              <a:spcAft>
                <a:spcPts val="0"/>
              </a:spcAft>
              <a:buClr>
                <a:srgbClr val="C1F400"/>
              </a:buClr>
              <a:buSzPts val="1400"/>
              <a:buNone/>
              <a:defRPr>
                <a:solidFill>
                  <a:srgbClr val="C1F400"/>
                </a:solidFill>
              </a:defRPr>
            </a:lvl5pPr>
            <a:lvl6pPr lvl="5" rtl="0">
              <a:spcBef>
                <a:spcPts val="0"/>
              </a:spcBef>
              <a:spcAft>
                <a:spcPts val="0"/>
              </a:spcAft>
              <a:buClr>
                <a:srgbClr val="C1F400"/>
              </a:buClr>
              <a:buSzPts val="1400"/>
              <a:buNone/>
              <a:defRPr>
                <a:solidFill>
                  <a:srgbClr val="C1F400"/>
                </a:solidFill>
              </a:defRPr>
            </a:lvl6pPr>
            <a:lvl7pPr lvl="6" rtl="0">
              <a:spcBef>
                <a:spcPts val="0"/>
              </a:spcBef>
              <a:spcAft>
                <a:spcPts val="0"/>
              </a:spcAft>
              <a:buClr>
                <a:srgbClr val="C1F400"/>
              </a:buClr>
              <a:buSzPts val="1400"/>
              <a:buNone/>
              <a:defRPr>
                <a:solidFill>
                  <a:srgbClr val="C1F400"/>
                </a:solidFill>
              </a:defRPr>
            </a:lvl7pPr>
            <a:lvl8pPr lvl="7" rtl="0">
              <a:spcBef>
                <a:spcPts val="0"/>
              </a:spcBef>
              <a:spcAft>
                <a:spcPts val="0"/>
              </a:spcAft>
              <a:buClr>
                <a:srgbClr val="C1F400"/>
              </a:buClr>
              <a:buSzPts val="1400"/>
              <a:buNone/>
              <a:defRPr>
                <a:solidFill>
                  <a:srgbClr val="C1F400"/>
                </a:solidFill>
              </a:defRPr>
            </a:lvl8pPr>
            <a:lvl9pPr lvl="8" rtl="0">
              <a:spcBef>
                <a:spcPts val="0"/>
              </a:spcBef>
              <a:spcAft>
                <a:spcPts val="0"/>
              </a:spcAft>
              <a:buClr>
                <a:srgbClr val="C1F400"/>
              </a:buClr>
              <a:buSzPts val="1400"/>
              <a:buNone/>
              <a:defRPr>
                <a:solidFill>
                  <a:srgbClr val="C1F400"/>
                </a:solidFill>
              </a:defRPr>
            </a:lvl9pPr>
          </a:lstStyle>
          <a:p>
            <a:endParaRPr/>
          </a:p>
        </p:txBody>
      </p:sp>
      <p:sp>
        <p:nvSpPr>
          <p:cNvPr id="428" name="Google Shape;428;p33"/>
          <p:cNvSpPr txBox="1">
            <a:spLocks noGrp="1"/>
          </p:cNvSpPr>
          <p:nvPr>
            <p:ph type="subTitle" idx="2"/>
          </p:nvPr>
        </p:nvSpPr>
        <p:spPr>
          <a:xfrm>
            <a:off x="17392050" y="11739600"/>
            <a:ext cx="5862900" cy="1240500"/>
          </a:xfrm>
          <a:prstGeom prst="rect">
            <a:avLst/>
          </a:prstGeom>
          <a:noFill/>
          <a:ln>
            <a:noFill/>
          </a:ln>
        </p:spPr>
        <p:txBody>
          <a:bodyPr spcFirstLastPara="1" wrap="square" lIns="91425" tIns="91425" rIns="91425" bIns="91425" anchor="ctr" anchorCtr="0">
            <a:noAutofit/>
          </a:bodyPr>
          <a:lstStyle>
            <a:lvl1pPr lvl="0" algn="r" rtl="0">
              <a:spcBef>
                <a:spcPts val="0"/>
              </a:spcBef>
              <a:spcAft>
                <a:spcPts val="0"/>
              </a:spcAft>
              <a:buClr>
                <a:srgbClr val="002A44"/>
              </a:buClr>
              <a:buSzPts val="2400"/>
              <a:buFont typeface="Montserrat SemiBold"/>
              <a:buNone/>
              <a:defRPr sz="2400">
                <a:solidFill>
                  <a:srgbClr val="002A44"/>
                </a:solidFill>
                <a:latin typeface="Montserrat SemiBold"/>
                <a:ea typeface="Montserrat SemiBold"/>
                <a:cs typeface="Montserrat SemiBold"/>
                <a:sym typeface="Montserrat SemiBold"/>
              </a:defRPr>
            </a:lvl1pPr>
            <a:lvl2pPr lvl="1" algn="r" rtl="0">
              <a:spcBef>
                <a:spcPts val="0"/>
              </a:spcBef>
              <a:spcAft>
                <a:spcPts val="0"/>
              </a:spcAft>
              <a:buClr>
                <a:srgbClr val="002A44"/>
              </a:buClr>
              <a:buSzPts val="2400"/>
              <a:buNone/>
              <a:defRPr sz="2400">
                <a:solidFill>
                  <a:srgbClr val="002A44"/>
                </a:solidFill>
              </a:defRPr>
            </a:lvl2pPr>
            <a:lvl3pPr lvl="2" algn="r" rtl="0">
              <a:spcBef>
                <a:spcPts val="0"/>
              </a:spcBef>
              <a:spcAft>
                <a:spcPts val="0"/>
              </a:spcAft>
              <a:buClr>
                <a:srgbClr val="002A44"/>
              </a:buClr>
              <a:buSzPts val="2400"/>
              <a:buNone/>
              <a:defRPr sz="2400">
                <a:solidFill>
                  <a:srgbClr val="002A44"/>
                </a:solidFill>
              </a:defRPr>
            </a:lvl3pPr>
            <a:lvl4pPr lvl="3" algn="r" rtl="0">
              <a:spcBef>
                <a:spcPts val="0"/>
              </a:spcBef>
              <a:spcAft>
                <a:spcPts val="0"/>
              </a:spcAft>
              <a:buClr>
                <a:srgbClr val="002A44"/>
              </a:buClr>
              <a:buSzPts val="2400"/>
              <a:buNone/>
              <a:defRPr sz="2400">
                <a:solidFill>
                  <a:srgbClr val="002A44"/>
                </a:solidFill>
              </a:defRPr>
            </a:lvl4pPr>
            <a:lvl5pPr lvl="4" algn="r" rtl="0">
              <a:spcBef>
                <a:spcPts val="0"/>
              </a:spcBef>
              <a:spcAft>
                <a:spcPts val="0"/>
              </a:spcAft>
              <a:buClr>
                <a:srgbClr val="002A44"/>
              </a:buClr>
              <a:buSzPts val="2400"/>
              <a:buNone/>
              <a:defRPr sz="2400">
                <a:solidFill>
                  <a:srgbClr val="002A44"/>
                </a:solidFill>
              </a:defRPr>
            </a:lvl5pPr>
            <a:lvl6pPr lvl="5" algn="r" rtl="0">
              <a:spcBef>
                <a:spcPts val="0"/>
              </a:spcBef>
              <a:spcAft>
                <a:spcPts val="0"/>
              </a:spcAft>
              <a:buClr>
                <a:srgbClr val="002A44"/>
              </a:buClr>
              <a:buSzPts val="2400"/>
              <a:buNone/>
              <a:defRPr sz="2400">
                <a:solidFill>
                  <a:srgbClr val="002A44"/>
                </a:solidFill>
              </a:defRPr>
            </a:lvl6pPr>
            <a:lvl7pPr lvl="6" algn="r" rtl="0">
              <a:spcBef>
                <a:spcPts val="0"/>
              </a:spcBef>
              <a:spcAft>
                <a:spcPts val="0"/>
              </a:spcAft>
              <a:buClr>
                <a:srgbClr val="002A44"/>
              </a:buClr>
              <a:buSzPts val="2400"/>
              <a:buNone/>
              <a:defRPr sz="2400">
                <a:solidFill>
                  <a:srgbClr val="002A44"/>
                </a:solidFill>
              </a:defRPr>
            </a:lvl7pPr>
            <a:lvl8pPr lvl="7" algn="r" rtl="0">
              <a:spcBef>
                <a:spcPts val="0"/>
              </a:spcBef>
              <a:spcAft>
                <a:spcPts val="0"/>
              </a:spcAft>
              <a:buClr>
                <a:srgbClr val="002A44"/>
              </a:buClr>
              <a:buSzPts val="2400"/>
              <a:buNone/>
              <a:defRPr sz="2400">
                <a:solidFill>
                  <a:srgbClr val="002A44"/>
                </a:solidFill>
              </a:defRPr>
            </a:lvl8pPr>
            <a:lvl9pPr lvl="8" algn="r" rtl="0">
              <a:spcBef>
                <a:spcPts val="0"/>
              </a:spcBef>
              <a:spcAft>
                <a:spcPts val="0"/>
              </a:spcAft>
              <a:buClr>
                <a:srgbClr val="002A44"/>
              </a:buClr>
              <a:buSzPts val="2400"/>
              <a:buNone/>
              <a:defRPr sz="2400">
                <a:solidFill>
                  <a:srgbClr val="002A44"/>
                </a:solidFill>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Slide 3">
  <p:cSld name="Title Slide 3">
    <p:bg>
      <p:bgPr>
        <a:solidFill>
          <a:srgbClr val="C1F400"/>
        </a:solidFill>
        <a:effectLst/>
      </p:bgPr>
    </p:bg>
    <p:spTree>
      <p:nvGrpSpPr>
        <p:cNvPr id="1" name="Shape 32"/>
        <p:cNvGrpSpPr/>
        <p:nvPr/>
      </p:nvGrpSpPr>
      <p:grpSpPr>
        <a:xfrm>
          <a:off x="0" y="0"/>
          <a:ext cx="0" cy="0"/>
          <a:chOff x="0" y="0"/>
          <a:chExt cx="0" cy="0"/>
        </a:xfrm>
      </p:grpSpPr>
      <p:pic>
        <p:nvPicPr>
          <p:cNvPr id="33" name="Google Shape;33;p4"/>
          <p:cNvPicPr preferRelativeResize="0"/>
          <p:nvPr/>
        </p:nvPicPr>
        <p:blipFill rotWithShape="1">
          <a:blip r:embed="rId2">
            <a:alphaModFix/>
          </a:blip>
          <a:srcRect t="18049" b="18056"/>
          <a:stretch/>
        </p:blipFill>
        <p:spPr>
          <a:xfrm flipH="1">
            <a:off x="0" y="-699009"/>
            <a:ext cx="24377650" cy="5724335"/>
          </a:xfrm>
          <a:prstGeom prst="rect">
            <a:avLst/>
          </a:prstGeom>
          <a:solidFill>
            <a:schemeClr val="lt2"/>
          </a:solidFill>
          <a:ln>
            <a:noFill/>
          </a:ln>
        </p:spPr>
      </p:pic>
      <p:pic>
        <p:nvPicPr>
          <p:cNvPr id="34" name="Google Shape;34;p4"/>
          <p:cNvPicPr preferRelativeResize="0"/>
          <p:nvPr/>
        </p:nvPicPr>
        <p:blipFill>
          <a:blip r:embed="rId3">
            <a:alphaModFix/>
          </a:blip>
          <a:stretch>
            <a:fillRect/>
          </a:stretch>
        </p:blipFill>
        <p:spPr>
          <a:xfrm>
            <a:off x="0" y="3103025"/>
            <a:ext cx="24377651" cy="9337150"/>
          </a:xfrm>
          <a:prstGeom prst="rect">
            <a:avLst/>
          </a:prstGeom>
          <a:noFill/>
          <a:ln>
            <a:noFill/>
          </a:ln>
        </p:spPr>
      </p:pic>
      <p:sp>
        <p:nvSpPr>
          <p:cNvPr id="35" name="Google Shape;35;p4"/>
          <p:cNvSpPr/>
          <p:nvPr/>
        </p:nvSpPr>
        <p:spPr>
          <a:xfrm>
            <a:off x="19956001" y="4397425"/>
            <a:ext cx="3072638" cy="1745259"/>
          </a:xfrm>
          <a:custGeom>
            <a:avLst/>
            <a:gdLst/>
            <a:ahLst/>
            <a:cxnLst/>
            <a:rect l="l" t="t" r="r" b="b"/>
            <a:pathLst>
              <a:path w="3864954" h="2195294" extrusionOk="0">
                <a:moveTo>
                  <a:pt x="0" y="0"/>
                </a:moveTo>
                <a:lnTo>
                  <a:pt x="3864953" y="0"/>
                </a:lnTo>
                <a:lnTo>
                  <a:pt x="3864953" y="2195294"/>
                </a:lnTo>
                <a:lnTo>
                  <a:pt x="0" y="2195294"/>
                </a:lnTo>
                <a:lnTo>
                  <a:pt x="0" y="0"/>
                </a:lnTo>
                <a:close/>
              </a:path>
            </a:pathLst>
          </a:custGeom>
          <a:blipFill rotWithShape="1">
            <a:blip r:embed="rId4">
              <a:alphaModFix/>
            </a:blip>
            <a:stretch>
              <a:fillRect/>
            </a:stretch>
          </a:blipFill>
          <a:ln>
            <a:noFill/>
          </a:ln>
        </p:spPr>
      </p:sp>
      <p:sp>
        <p:nvSpPr>
          <p:cNvPr id="36" name="Google Shape;36;p4"/>
          <p:cNvSpPr txBox="1">
            <a:spLocks noGrp="1"/>
          </p:cNvSpPr>
          <p:nvPr>
            <p:ph type="title"/>
          </p:nvPr>
        </p:nvSpPr>
        <p:spPr>
          <a:xfrm>
            <a:off x="1970575" y="5125550"/>
            <a:ext cx="15421500" cy="3544800"/>
          </a:xfrm>
          <a:prstGeom prst="rect">
            <a:avLst/>
          </a:prstGeom>
          <a:noFill/>
          <a:ln>
            <a:noFill/>
          </a:ln>
        </p:spPr>
        <p:txBody>
          <a:bodyPr spcFirstLastPara="1" wrap="square" lIns="91425" tIns="91425" rIns="91425" bIns="91425" anchor="t" anchorCtr="0">
            <a:normAutofit/>
          </a:bodyPr>
          <a:lstStyle>
            <a:lvl1pPr lvl="0" rtl="0">
              <a:spcBef>
                <a:spcPts val="0"/>
              </a:spcBef>
              <a:spcAft>
                <a:spcPts val="0"/>
              </a:spcAft>
              <a:buClr>
                <a:schemeClr val="lt1"/>
              </a:buClr>
              <a:buSzPts val="10800"/>
              <a:buFont typeface="Montserrat Black"/>
              <a:buNone/>
              <a:defRPr sz="10800">
                <a:solidFill>
                  <a:schemeClr val="lt1"/>
                </a:solidFill>
                <a:latin typeface="Montserrat Black"/>
                <a:ea typeface="Montserrat Black"/>
                <a:cs typeface="Montserrat Black"/>
                <a:sym typeface="Montserrat Black"/>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37" name="Google Shape;37;p4"/>
          <p:cNvSpPr txBox="1">
            <a:spLocks noGrp="1"/>
          </p:cNvSpPr>
          <p:nvPr>
            <p:ph type="subTitle" idx="1"/>
          </p:nvPr>
        </p:nvSpPr>
        <p:spPr>
          <a:xfrm>
            <a:off x="1970575" y="8803900"/>
            <a:ext cx="20731800" cy="12405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rgbClr val="C1F400"/>
              </a:buClr>
              <a:buSzPts val="4900"/>
              <a:buFont typeface="Montserrat Medium"/>
              <a:buNone/>
              <a:defRPr sz="4900">
                <a:solidFill>
                  <a:srgbClr val="C1F400"/>
                </a:solidFill>
                <a:latin typeface="Montserrat Medium"/>
                <a:ea typeface="Montserrat Medium"/>
                <a:cs typeface="Montserrat Medium"/>
                <a:sym typeface="Montserrat Medium"/>
              </a:defRPr>
            </a:lvl1pPr>
            <a:lvl2pPr lvl="1" rtl="0">
              <a:spcBef>
                <a:spcPts val="0"/>
              </a:spcBef>
              <a:spcAft>
                <a:spcPts val="0"/>
              </a:spcAft>
              <a:buClr>
                <a:srgbClr val="C1F400"/>
              </a:buClr>
              <a:buSzPts val="1400"/>
              <a:buNone/>
              <a:defRPr>
                <a:solidFill>
                  <a:srgbClr val="C1F400"/>
                </a:solidFill>
              </a:defRPr>
            </a:lvl2pPr>
            <a:lvl3pPr lvl="2" rtl="0">
              <a:spcBef>
                <a:spcPts val="0"/>
              </a:spcBef>
              <a:spcAft>
                <a:spcPts val="0"/>
              </a:spcAft>
              <a:buClr>
                <a:srgbClr val="C1F400"/>
              </a:buClr>
              <a:buSzPts val="1400"/>
              <a:buNone/>
              <a:defRPr>
                <a:solidFill>
                  <a:srgbClr val="C1F400"/>
                </a:solidFill>
              </a:defRPr>
            </a:lvl3pPr>
            <a:lvl4pPr lvl="3" rtl="0">
              <a:spcBef>
                <a:spcPts val="0"/>
              </a:spcBef>
              <a:spcAft>
                <a:spcPts val="0"/>
              </a:spcAft>
              <a:buClr>
                <a:srgbClr val="C1F400"/>
              </a:buClr>
              <a:buSzPts val="1400"/>
              <a:buNone/>
              <a:defRPr>
                <a:solidFill>
                  <a:srgbClr val="C1F400"/>
                </a:solidFill>
              </a:defRPr>
            </a:lvl4pPr>
            <a:lvl5pPr lvl="4" rtl="0">
              <a:spcBef>
                <a:spcPts val="0"/>
              </a:spcBef>
              <a:spcAft>
                <a:spcPts val="0"/>
              </a:spcAft>
              <a:buClr>
                <a:srgbClr val="C1F400"/>
              </a:buClr>
              <a:buSzPts val="1400"/>
              <a:buNone/>
              <a:defRPr>
                <a:solidFill>
                  <a:srgbClr val="C1F400"/>
                </a:solidFill>
              </a:defRPr>
            </a:lvl5pPr>
            <a:lvl6pPr lvl="5" rtl="0">
              <a:spcBef>
                <a:spcPts val="0"/>
              </a:spcBef>
              <a:spcAft>
                <a:spcPts val="0"/>
              </a:spcAft>
              <a:buClr>
                <a:srgbClr val="C1F400"/>
              </a:buClr>
              <a:buSzPts val="1400"/>
              <a:buNone/>
              <a:defRPr>
                <a:solidFill>
                  <a:srgbClr val="C1F400"/>
                </a:solidFill>
              </a:defRPr>
            </a:lvl6pPr>
            <a:lvl7pPr lvl="6" rtl="0">
              <a:spcBef>
                <a:spcPts val="0"/>
              </a:spcBef>
              <a:spcAft>
                <a:spcPts val="0"/>
              </a:spcAft>
              <a:buClr>
                <a:srgbClr val="C1F400"/>
              </a:buClr>
              <a:buSzPts val="1400"/>
              <a:buNone/>
              <a:defRPr>
                <a:solidFill>
                  <a:srgbClr val="C1F400"/>
                </a:solidFill>
              </a:defRPr>
            </a:lvl7pPr>
            <a:lvl8pPr lvl="7" rtl="0">
              <a:spcBef>
                <a:spcPts val="0"/>
              </a:spcBef>
              <a:spcAft>
                <a:spcPts val="0"/>
              </a:spcAft>
              <a:buClr>
                <a:srgbClr val="C1F400"/>
              </a:buClr>
              <a:buSzPts val="1400"/>
              <a:buNone/>
              <a:defRPr>
                <a:solidFill>
                  <a:srgbClr val="C1F400"/>
                </a:solidFill>
              </a:defRPr>
            </a:lvl8pPr>
            <a:lvl9pPr lvl="8" rtl="0">
              <a:spcBef>
                <a:spcPts val="0"/>
              </a:spcBef>
              <a:spcAft>
                <a:spcPts val="0"/>
              </a:spcAft>
              <a:buClr>
                <a:srgbClr val="C1F400"/>
              </a:buClr>
              <a:buSzPts val="1400"/>
              <a:buNone/>
              <a:defRPr>
                <a:solidFill>
                  <a:srgbClr val="C1F400"/>
                </a:solidFill>
              </a:defRPr>
            </a:lvl9pPr>
          </a:lstStyle>
          <a:p>
            <a:endParaRPr/>
          </a:p>
        </p:txBody>
      </p:sp>
      <p:sp>
        <p:nvSpPr>
          <p:cNvPr id="38" name="Google Shape;38;p4"/>
          <p:cNvSpPr txBox="1">
            <a:spLocks noGrp="1"/>
          </p:cNvSpPr>
          <p:nvPr>
            <p:ph type="subTitle" idx="2"/>
          </p:nvPr>
        </p:nvSpPr>
        <p:spPr>
          <a:xfrm>
            <a:off x="17392050" y="11739600"/>
            <a:ext cx="5862900" cy="1240500"/>
          </a:xfrm>
          <a:prstGeom prst="rect">
            <a:avLst/>
          </a:prstGeom>
          <a:noFill/>
          <a:ln>
            <a:noFill/>
          </a:ln>
        </p:spPr>
        <p:txBody>
          <a:bodyPr spcFirstLastPara="1" wrap="square" lIns="91425" tIns="91425" rIns="91425" bIns="91425" anchor="ctr" anchorCtr="0">
            <a:noAutofit/>
          </a:bodyPr>
          <a:lstStyle>
            <a:lvl1pPr lvl="0" algn="r" rtl="0">
              <a:spcBef>
                <a:spcPts val="0"/>
              </a:spcBef>
              <a:spcAft>
                <a:spcPts val="0"/>
              </a:spcAft>
              <a:buClr>
                <a:srgbClr val="002A44"/>
              </a:buClr>
              <a:buSzPts val="2400"/>
              <a:buFont typeface="Montserrat SemiBold"/>
              <a:buNone/>
              <a:defRPr sz="2400">
                <a:solidFill>
                  <a:srgbClr val="002A44"/>
                </a:solidFill>
                <a:latin typeface="Montserrat SemiBold"/>
                <a:ea typeface="Montserrat SemiBold"/>
                <a:cs typeface="Montserrat SemiBold"/>
                <a:sym typeface="Montserrat SemiBold"/>
              </a:defRPr>
            </a:lvl1pPr>
            <a:lvl2pPr lvl="1" algn="r" rtl="0">
              <a:spcBef>
                <a:spcPts val="0"/>
              </a:spcBef>
              <a:spcAft>
                <a:spcPts val="0"/>
              </a:spcAft>
              <a:buClr>
                <a:srgbClr val="002A44"/>
              </a:buClr>
              <a:buSzPts val="2400"/>
              <a:buNone/>
              <a:defRPr sz="2400">
                <a:solidFill>
                  <a:srgbClr val="002A44"/>
                </a:solidFill>
              </a:defRPr>
            </a:lvl2pPr>
            <a:lvl3pPr lvl="2" algn="r" rtl="0">
              <a:spcBef>
                <a:spcPts val="0"/>
              </a:spcBef>
              <a:spcAft>
                <a:spcPts val="0"/>
              </a:spcAft>
              <a:buClr>
                <a:srgbClr val="002A44"/>
              </a:buClr>
              <a:buSzPts val="2400"/>
              <a:buNone/>
              <a:defRPr sz="2400">
                <a:solidFill>
                  <a:srgbClr val="002A44"/>
                </a:solidFill>
              </a:defRPr>
            </a:lvl3pPr>
            <a:lvl4pPr lvl="3" algn="r" rtl="0">
              <a:spcBef>
                <a:spcPts val="0"/>
              </a:spcBef>
              <a:spcAft>
                <a:spcPts val="0"/>
              </a:spcAft>
              <a:buClr>
                <a:srgbClr val="002A44"/>
              </a:buClr>
              <a:buSzPts val="2400"/>
              <a:buNone/>
              <a:defRPr sz="2400">
                <a:solidFill>
                  <a:srgbClr val="002A44"/>
                </a:solidFill>
              </a:defRPr>
            </a:lvl4pPr>
            <a:lvl5pPr lvl="4" algn="r" rtl="0">
              <a:spcBef>
                <a:spcPts val="0"/>
              </a:spcBef>
              <a:spcAft>
                <a:spcPts val="0"/>
              </a:spcAft>
              <a:buClr>
                <a:srgbClr val="002A44"/>
              </a:buClr>
              <a:buSzPts val="2400"/>
              <a:buNone/>
              <a:defRPr sz="2400">
                <a:solidFill>
                  <a:srgbClr val="002A44"/>
                </a:solidFill>
              </a:defRPr>
            </a:lvl5pPr>
            <a:lvl6pPr lvl="5" algn="r" rtl="0">
              <a:spcBef>
                <a:spcPts val="0"/>
              </a:spcBef>
              <a:spcAft>
                <a:spcPts val="0"/>
              </a:spcAft>
              <a:buClr>
                <a:srgbClr val="002A44"/>
              </a:buClr>
              <a:buSzPts val="2400"/>
              <a:buNone/>
              <a:defRPr sz="2400">
                <a:solidFill>
                  <a:srgbClr val="002A44"/>
                </a:solidFill>
              </a:defRPr>
            </a:lvl6pPr>
            <a:lvl7pPr lvl="6" algn="r" rtl="0">
              <a:spcBef>
                <a:spcPts val="0"/>
              </a:spcBef>
              <a:spcAft>
                <a:spcPts val="0"/>
              </a:spcAft>
              <a:buClr>
                <a:srgbClr val="002A44"/>
              </a:buClr>
              <a:buSzPts val="2400"/>
              <a:buNone/>
              <a:defRPr sz="2400">
                <a:solidFill>
                  <a:srgbClr val="002A44"/>
                </a:solidFill>
              </a:defRPr>
            </a:lvl7pPr>
            <a:lvl8pPr lvl="7" algn="r" rtl="0">
              <a:spcBef>
                <a:spcPts val="0"/>
              </a:spcBef>
              <a:spcAft>
                <a:spcPts val="0"/>
              </a:spcAft>
              <a:buClr>
                <a:srgbClr val="002A44"/>
              </a:buClr>
              <a:buSzPts val="2400"/>
              <a:buNone/>
              <a:defRPr sz="2400">
                <a:solidFill>
                  <a:srgbClr val="002A44"/>
                </a:solidFill>
              </a:defRPr>
            </a:lvl8pPr>
            <a:lvl9pPr lvl="8" algn="r" rtl="0">
              <a:spcBef>
                <a:spcPts val="0"/>
              </a:spcBef>
              <a:spcAft>
                <a:spcPts val="0"/>
              </a:spcAft>
              <a:buClr>
                <a:srgbClr val="002A44"/>
              </a:buClr>
              <a:buSzPts val="2400"/>
              <a:buNone/>
              <a:defRPr sz="2400">
                <a:solidFill>
                  <a:srgbClr val="002A44"/>
                </a:solidFill>
              </a:defRPr>
            </a:lvl9pPr>
          </a:lstStyle>
          <a:p>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Title Slide 3 1">
  <p:cSld name="Title Slide 3 1">
    <p:bg>
      <p:bgPr>
        <a:solidFill>
          <a:srgbClr val="C1F400"/>
        </a:solidFill>
        <a:effectLst/>
      </p:bgPr>
    </p:bg>
    <p:spTree>
      <p:nvGrpSpPr>
        <p:cNvPr id="1" name="Shape 429"/>
        <p:cNvGrpSpPr/>
        <p:nvPr/>
      </p:nvGrpSpPr>
      <p:grpSpPr>
        <a:xfrm>
          <a:off x="0" y="0"/>
          <a:ext cx="0" cy="0"/>
          <a:chOff x="0" y="0"/>
          <a:chExt cx="0" cy="0"/>
        </a:xfrm>
      </p:grpSpPr>
      <p:pic>
        <p:nvPicPr>
          <p:cNvPr id="430" name="Google Shape;430;p34"/>
          <p:cNvPicPr preferRelativeResize="0"/>
          <p:nvPr/>
        </p:nvPicPr>
        <p:blipFill>
          <a:blip r:embed="rId2">
            <a:alphaModFix/>
          </a:blip>
          <a:stretch>
            <a:fillRect/>
          </a:stretch>
        </p:blipFill>
        <p:spPr>
          <a:xfrm>
            <a:off x="0" y="1202800"/>
            <a:ext cx="24377651" cy="11237374"/>
          </a:xfrm>
          <a:prstGeom prst="rect">
            <a:avLst/>
          </a:prstGeom>
          <a:noFill/>
          <a:ln>
            <a:noFill/>
          </a:ln>
        </p:spPr>
      </p:pic>
      <p:sp>
        <p:nvSpPr>
          <p:cNvPr id="431" name="Google Shape;431;p34"/>
          <p:cNvSpPr txBox="1">
            <a:spLocks noGrp="1"/>
          </p:cNvSpPr>
          <p:nvPr>
            <p:ph type="title"/>
          </p:nvPr>
        </p:nvSpPr>
        <p:spPr>
          <a:xfrm>
            <a:off x="2090575" y="3944450"/>
            <a:ext cx="15421500" cy="3544800"/>
          </a:xfrm>
          <a:prstGeom prst="rect">
            <a:avLst/>
          </a:prstGeom>
          <a:noFill/>
          <a:ln>
            <a:noFill/>
          </a:ln>
        </p:spPr>
        <p:txBody>
          <a:bodyPr spcFirstLastPara="1" wrap="square" lIns="91425" tIns="91425" rIns="91425" bIns="91425" anchor="t" anchorCtr="0">
            <a:normAutofit/>
          </a:bodyPr>
          <a:lstStyle>
            <a:lvl1pPr lvl="0" rtl="0">
              <a:spcBef>
                <a:spcPts val="0"/>
              </a:spcBef>
              <a:spcAft>
                <a:spcPts val="0"/>
              </a:spcAft>
              <a:buClr>
                <a:schemeClr val="lt1"/>
              </a:buClr>
              <a:buSzPts val="10800"/>
              <a:buFont typeface="Montserrat Black"/>
              <a:buNone/>
              <a:defRPr sz="10800">
                <a:solidFill>
                  <a:schemeClr val="lt1"/>
                </a:solidFill>
                <a:latin typeface="Montserrat Black"/>
                <a:ea typeface="Montserrat Black"/>
                <a:cs typeface="Montserrat Black"/>
                <a:sym typeface="Montserrat Black"/>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432" name="Google Shape;432;p34"/>
          <p:cNvSpPr txBox="1">
            <a:spLocks noGrp="1"/>
          </p:cNvSpPr>
          <p:nvPr>
            <p:ph type="subTitle" idx="1"/>
          </p:nvPr>
        </p:nvSpPr>
        <p:spPr>
          <a:xfrm>
            <a:off x="1970575" y="7622800"/>
            <a:ext cx="20398500" cy="12405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rgbClr val="C1F400"/>
              </a:buClr>
              <a:buSzPts val="4900"/>
              <a:buFont typeface="Montserrat Medium"/>
              <a:buNone/>
              <a:defRPr sz="4900">
                <a:solidFill>
                  <a:srgbClr val="C1F400"/>
                </a:solidFill>
                <a:latin typeface="Montserrat Medium"/>
                <a:ea typeface="Montserrat Medium"/>
                <a:cs typeface="Montserrat Medium"/>
                <a:sym typeface="Montserrat Medium"/>
              </a:defRPr>
            </a:lvl1pPr>
            <a:lvl2pPr lvl="1" rtl="0">
              <a:spcBef>
                <a:spcPts val="0"/>
              </a:spcBef>
              <a:spcAft>
                <a:spcPts val="0"/>
              </a:spcAft>
              <a:buClr>
                <a:srgbClr val="C1F400"/>
              </a:buClr>
              <a:buSzPts val="1400"/>
              <a:buNone/>
              <a:defRPr>
                <a:solidFill>
                  <a:srgbClr val="C1F400"/>
                </a:solidFill>
              </a:defRPr>
            </a:lvl2pPr>
            <a:lvl3pPr lvl="2" rtl="0">
              <a:spcBef>
                <a:spcPts val="0"/>
              </a:spcBef>
              <a:spcAft>
                <a:spcPts val="0"/>
              </a:spcAft>
              <a:buClr>
                <a:srgbClr val="C1F400"/>
              </a:buClr>
              <a:buSzPts val="1400"/>
              <a:buNone/>
              <a:defRPr>
                <a:solidFill>
                  <a:srgbClr val="C1F400"/>
                </a:solidFill>
              </a:defRPr>
            </a:lvl3pPr>
            <a:lvl4pPr lvl="3" rtl="0">
              <a:spcBef>
                <a:spcPts val="0"/>
              </a:spcBef>
              <a:spcAft>
                <a:spcPts val="0"/>
              </a:spcAft>
              <a:buClr>
                <a:srgbClr val="C1F400"/>
              </a:buClr>
              <a:buSzPts val="1400"/>
              <a:buNone/>
              <a:defRPr>
                <a:solidFill>
                  <a:srgbClr val="C1F400"/>
                </a:solidFill>
              </a:defRPr>
            </a:lvl4pPr>
            <a:lvl5pPr lvl="4" rtl="0">
              <a:spcBef>
                <a:spcPts val="0"/>
              </a:spcBef>
              <a:spcAft>
                <a:spcPts val="0"/>
              </a:spcAft>
              <a:buClr>
                <a:srgbClr val="C1F400"/>
              </a:buClr>
              <a:buSzPts val="1400"/>
              <a:buNone/>
              <a:defRPr>
                <a:solidFill>
                  <a:srgbClr val="C1F400"/>
                </a:solidFill>
              </a:defRPr>
            </a:lvl5pPr>
            <a:lvl6pPr lvl="5" rtl="0">
              <a:spcBef>
                <a:spcPts val="0"/>
              </a:spcBef>
              <a:spcAft>
                <a:spcPts val="0"/>
              </a:spcAft>
              <a:buClr>
                <a:srgbClr val="C1F400"/>
              </a:buClr>
              <a:buSzPts val="1400"/>
              <a:buNone/>
              <a:defRPr>
                <a:solidFill>
                  <a:srgbClr val="C1F400"/>
                </a:solidFill>
              </a:defRPr>
            </a:lvl6pPr>
            <a:lvl7pPr lvl="6" rtl="0">
              <a:spcBef>
                <a:spcPts val="0"/>
              </a:spcBef>
              <a:spcAft>
                <a:spcPts val="0"/>
              </a:spcAft>
              <a:buClr>
                <a:srgbClr val="C1F400"/>
              </a:buClr>
              <a:buSzPts val="1400"/>
              <a:buNone/>
              <a:defRPr>
                <a:solidFill>
                  <a:srgbClr val="C1F400"/>
                </a:solidFill>
              </a:defRPr>
            </a:lvl7pPr>
            <a:lvl8pPr lvl="7" rtl="0">
              <a:spcBef>
                <a:spcPts val="0"/>
              </a:spcBef>
              <a:spcAft>
                <a:spcPts val="0"/>
              </a:spcAft>
              <a:buClr>
                <a:srgbClr val="C1F400"/>
              </a:buClr>
              <a:buSzPts val="1400"/>
              <a:buNone/>
              <a:defRPr>
                <a:solidFill>
                  <a:srgbClr val="C1F400"/>
                </a:solidFill>
              </a:defRPr>
            </a:lvl8pPr>
            <a:lvl9pPr lvl="8" rtl="0">
              <a:spcBef>
                <a:spcPts val="0"/>
              </a:spcBef>
              <a:spcAft>
                <a:spcPts val="0"/>
              </a:spcAft>
              <a:buClr>
                <a:srgbClr val="C1F400"/>
              </a:buClr>
              <a:buSzPts val="1400"/>
              <a:buNone/>
              <a:defRPr>
                <a:solidFill>
                  <a:srgbClr val="C1F400"/>
                </a:solidFill>
              </a:defRPr>
            </a:lvl9pPr>
          </a:lstStyle>
          <a:p>
            <a:endParaRPr/>
          </a:p>
        </p:txBody>
      </p:sp>
      <p:sp>
        <p:nvSpPr>
          <p:cNvPr id="433" name="Google Shape;433;p34"/>
          <p:cNvSpPr txBox="1">
            <a:spLocks noGrp="1"/>
          </p:cNvSpPr>
          <p:nvPr>
            <p:ph type="subTitle" idx="2"/>
          </p:nvPr>
        </p:nvSpPr>
        <p:spPr>
          <a:xfrm>
            <a:off x="17392050" y="11739600"/>
            <a:ext cx="5862900" cy="1240500"/>
          </a:xfrm>
          <a:prstGeom prst="rect">
            <a:avLst/>
          </a:prstGeom>
          <a:noFill/>
          <a:ln>
            <a:noFill/>
          </a:ln>
        </p:spPr>
        <p:txBody>
          <a:bodyPr spcFirstLastPara="1" wrap="square" lIns="91425" tIns="91425" rIns="91425" bIns="91425" anchor="ctr" anchorCtr="0">
            <a:noAutofit/>
          </a:bodyPr>
          <a:lstStyle>
            <a:lvl1pPr lvl="0" algn="r" rtl="0">
              <a:spcBef>
                <a:spcPts val="0"/>
              </a:spcBef>
              <a:spcAft>
                <a:spcPts val="0"/>
              </a:spcAft>
              <a:buClr>
                <a:srgbClr val="002A44"/>
              </a:buClr>
              <a:buSzPts val="2400"/>
              <a:buFont typeface="Montserrat SemiBold"/>
              <a:buNone/>
              <a:defRPr sz="2400">
                <a:solidFill>
                  <a:srgbClr val="002A44"/>
                </a:solidFill>
                <a:latin typeface="Montserrat SemiBold"/>
                <a:ea typeface="Montserrat SemiBold"/>
                <a:cs typeface="Montserrat SemiBold"/>
                <a:sym typeface="Montserrat SemiBold"/>
              </a:defRPr>
            </a:lvl1pPr>
            <a:lvl2pPr lvl="1" algn="r" rtl="0">
              <a:spcBef>
                <a:spcPts val="0"/>
              </a:spcBef>
              <a:spcAft>
                <a:spcPts val="0"/>
              </a:spcAft>
              <a:buClr>
                <a:srgbClr val="002A44"/>
              </a:buClr>
              <a:buSzPts val="2400"/>
              <a:buNone/>
              <a:defRPr sz="2400">
                <a:solidFill>
                  <a:srgbClr val="002A44"/>
                </a:solidFill>
              </a:defRPr>
            </a:lvl2pPr>
            <a:lvl3pPr lvl="2" algn="r" rtl="0">
              <a:spcBef>
                <a:spcPts val="0"/>
              </a:spcBef>
              <a:spcAft>
                <a:spcPts val="0"/>
              </a:spcAft>
              <a:buClr>
                <a:srgbClr val="002A44"/>
              </a:buClr>
              <a:buSzPts val="2400"/>
              <a:buNone/>
              <a:defRPr sz="2400">
                <a:solidFill>
                  <a:srgbClr val="002A44"/>
                </a:solidFill>
              </a:defRPr>
            </a:lvl3pPr>
            <a:lvl4pPr lvl="3" algn="r" rtl="0">
              <a:spcBef>
                <a:spcPts val="0"/>
              </a:spcBef>
              <a:spcAft>
                <a:spcPts val="0"/>
              </a:spcAft>
              <a:buClr>
                <a:srgbClr val="002A44"/>
              </a:buClr>
              <a:buSzPts val="2400"/>
              <a:buNone/>
              <a:defRPr sz="2400">
                <a:solidFill>
                  <a:srgbClr val="002A44"/>
                </a:solidFill>
              </a:defRPr>
            </a:lvl4pPr>
            <a:lvl5pPr lvl="4" algn="r" rtl="0">
              <a:spcBef>
                <a:spcPts val="0"/>
              </a:spcBef>
              <a:spcAft>
                <a:spcPts val="0"/>
              </a:spcAft>
              <a:buClr>
                <a:srgbClr val="002A44"/>
              </a:buClr>
              <a:buSzPts val="2400"/>
              <a:buNone/>
              <a:defRPr sz="2400">
                <a:solidFill>
                  <a:srgbClr val="002A44"/>
                </a:solidFill>
              </a:defRPr>
            </a:lvl5pPr>
            <a:lvl6pPr lvl="5" algn="r" rtl="0">
              <a:spcBef>
                <a:spcPts val="0"/>
              </a:spcBef>
              <a:spcAft>
                <a:spcPts val="0"/>
              </a:spcAft>
              <a:buClr>
                <a:srgbClr val="002A44"/>
              </a:buClr>
              <a:buSzPts val="2400"/>
              <a:buNone/>
              <a:defRPr sz="2400">
                <a:solidFill>
                  <a:srgbClr val="002A44"/>
                </a:solidFill>
              </a:defRPr>
            </a:lvl6pPr>
            <a:lvl7pPr lvl="6" algn="r" rtl="0">
              <a:spcBef>
                <a:spcPts val="0"/>
              </a:spcBef>
              <a:spcAft>
                <a:spcPts val="0"/>
              </a:spcAft>
              <a:buClr>
                <a:srgbClr val="002A44"/>
              </a:buClr>
              <a:buSzPts val="2400"/>
              <a:buNone/>
              <a:defRPr sz="2400">
                <a:solidFill>
                  <a:srgbClr val="002A44"/>
                </a:solidFill>
              </a:defRPr>
            </a:lvl7pPr>
            <a:lvl8pPr lvl="7" algn="r" rtl="0">
              <a:spcBef>
                <a:spcPts val="0"/>
              </a:spcBef>
              <a:spcAft>
                <a:spcPts val="0"/>
              </a:spcAft>
              <a:buClr>
                <a:srgbClr val="002A44"/>
              </a:buClr>
              <a:buSzPts val="2400"/>
              <a:buNone/>
              <a:defRPr sz="2400">
                <a:solidFill>
                  <a:srgbClr val="002A44"/>
                </a:solidFill>
              </a:defRPr>
            </a:lvl8pPr>
            <a:lvl9pPr lvl="8" algn="r" rtl="0">
              <a:spcBef>
                <a:spcPts val="0"/>
              </a:spcBef>
              <a:spcAft>
                <a:spcPts val="0"/>
              </a:spcAft>
              <a:buClr>
                <a:srgbClr val="002A44"/>
              </a:buClr>
              <a:buSzPts val="2400"/>
              <a:buNone/>
              <a:defRPr sz="2400">
                <a:solidFill>
                  <a:srgbClr val="002A44"/>
                </a:solidFill>
              </a:defRPr>
            </a:lvl9pPr>
          </a:lstStyle>
          <a:p>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Agenda / Contents">
  <p:cSld name="Agenda / Contents">
    <p:bg>
      <p:bgPr>
        <a:solidFill>
          <a:srgbClr val="C1F400"/>
        </a:solidFill>
        <a:effectLst/>
      </p:bgPr>
    </p:bg>
    <p:spTree>
      <p:nvGrpSpPr>
        <p:cNvPr id="1" name="Shape 434"/>
        <p:cNvGrpSpPr/>
        <p:nvPr/>
      </p:nvGrpSpPr>
      <p:grpSpPr>
        <a:xfrm>
          <a:off x="0" y="0"/>
          <a:ext cx="0" cy="0"/>
          <a:chOff x="0" y="0"/>
          <a:chExt cx="0" cy="0"/>
        </a:xfrm>
      </p:grpSpPr>
      <p:sp>
        <p:nvSpPr>
          <p:cNvPr id="435" name="Google Shape;435;p35"/>
          <p:cNvSpPr/>
          <p:nvPr/>
        </p:nvSpPr>
        <p:spPr>
          <a:xfrm>
            <a:off x="2126500" y="5300700"/>
            <a:ext cx="9028200" cy="2407800"/>
          </a:xfrm>
          <a:prstGeom prst="rect">
            <a:avLst/>
          </a:prstGeom>
          <a:noFill/>
          <a:ln w="152400" cap="flat" cmpd="sng">
            <a:solidFill>
              <a:srgbClr val="002A44"/>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436" name="Google Shape;436;p35"/>
          <p:cNvPicPr preferRelativeResize="0"/>
          <p:nvPr/>
        </p:nvPicPr>
        <p:blipFill rotWithShape="1">
          <a:blip r:embed="rId2">
            <a:alphaModFix/>
          </a:blip>
          <a:srcRect t="65807"/>
          <a:stretch/>
        </p:blipFill>
        <p:spPr>
          <a:xfrm>
            <a:off x="0" y="0"/>
            <a:ext cx="24377651" cy="1994075"/>
          </a:xfrm>
          <a:prstGeom prst="rect">
            <a:avLst/>
          </a:prstGeom>
          <a:noFill/>
          <a:ln>
            <a:noFill/>
          </a:ln>
        </p:spPr>
      </p:pic>
      <p:pic>
        <p:nvPicPr>
          <p:cNvPr id="437" name="Google Shape;437;p35"/>
          <p:cNvPicPr preferRelativeResize="0"/>
          <p:nvPr/>
        </p:nvPicPr>
        <p:blipFill rotWithShape="1">
          <a:blip r:embed="rId2">
            <a:alphaModFix/>
          </a:blip>
          <a:srcRect b="84665"/>
          <a:stretch/>
        </p:blipFill>
        <p:spPr>
          <a:xfrm>
            <a:off x="0" y="12089300"/>
            <a:ext cx="24377651" cy="1626700"/>
          </a:xfrm>
          <a:prstGeom prst="rect">
            <a:avLst/>
          </a:prstGeom>
          <a:noFill/>
          <a:ln>
            <a:noFill/>
          </a:ln>
        </p:spPr>
      </p:pic>
      <p:sp>
        <p:nvSpPr>
          <p:cNvPr id="438" name="Google Shape;438;p35"/>
          <p:cNvSpPr txBox="1"/>
          <p:nvPr/>
        </p:nvSpPr>
        <p:spPr>
          <a:xfrm>
            <a:off x="13255625" y="2624475"/>
            <a:ext cx="945000" cy="11697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6400">
                <a:solidFill>
                  <a:srgbClr val="002A44"/>
                </a:solidFill>
                <a:latin typeface="Montserrat Black"/>
                <a:ea typeface="Montserrat Black"/>
                <a:cs typeface="Montserrat Black"/>
                <a:sym typeface="Montserrat Black"/>
              </a:rPr>
              <a:t>1</a:t>
            </a:r>
            <a:endParaRPr sz="6400">
              <a:solidFill>
                <a:srgbClr val="002A44"/>
              </a:solidFill>
              <a:latin typeface="Montserrat Black"/>
              <a:ea typeface="Montserrat Black"/>
              <a:cs typeface="Montserrat Black"/>
              <a:sym typeface="Montserrat Black"/>
            </a:endParaRPr>
          </a:p>
        </p:txBody>
      </p:sp>
      <p:sp>
        <p:nvSpPr>
          <p:cNvPr id="439" name="Google Shape;439;p35"/>
          <p:cNvSpPr txBox="1"/>
          <p:nvPr/>
        </p:nvSpPr>
        <p:spPr>
          <a:xfrm>
            <a:off x="13255625" y="4118250"/>
            <a:ext cx="945000" cy="11697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6400">
                <a:solidFill>
                  <a:srgbClr val="002A44"/>
                </a:solidFill>
                <a:latin typeface="Montserrat Black"/>
                <a:ea typeface="Montserrat Black"/>
                <a:cs typeface="Montserrat Black"/>
                <a:sym typeface="Montserrat Black"/>
              </a:rPr>
              <a:t>2</a:t>
            </a:r>
            <a:endParaRPr sz="6400">
              <a:solidFill>
                <a:srgbClr val="002A44"/>
              </a:solidFill>
              <a:latin typeface="Montserrat Black"/>
              <a:ea typeface="Montserrat Black"/>
              <a:cs typeface="Montserrat Black"/>
              <a:sym typeface="Montserrat Black"/>
            </a:endParaRPr>
          </a:p>
        </p:txBody>
      </p:sp>
      <p:sp>
        <p:nvSpPr>
          <p:cNvPr id="440" name="Google Shape;440;p35"/>
          <p:cNvSpPr txBox="1"/>
          <p:nvPr/>
        </p:nvSpPr>
        <p:spPr>
          <a:xfrm>
            <a:off x="13255625" y="5612028"/>
            <a:ext cx="945000" cy="11697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6400">
                <a:solidFill>
                  <a:srgbClr val="002A44"/>
                </a:solidFill>
                <a:latin typeface="Montserrat Black"/>
                <a:ea typeface="Montserrat Black"/>
                <a:cs typeface="Montserrat Black"/>
                <a:sym typeface="Montserrat Black"/>
              </a:rPr>
              <a:t>3</a:t>
            </a:r>
            <a:endParaRPr sz="6400">
              <a:solidFill>
                <a:srgbClr val="002A44"/>
              </a:solidFill>
              <a:latin typeface="Montserrat Black"/>
              <a:ea typeface="Montserrat Black"/>
              <a:cs typeface="Montserrat Black"/>
              <a:sym typeface="Montserrat Black"/>
            </a:endParaRPr>
          </a:p>
        </p:txBody>
      </p:sp>
      <p:sp>
        <p:nvSpPr>
          <p:cNvPr id="441" name="Google Shape;441;p35"/>
          <p:cNvSpPr txBox="1"/>
          <p:nvPr/>
        </p:nvSpPr>
        <p:spPr>
          <a:xfrm>
            <a:off x="13255625" y="7089530"/>
            <a:ext cx="945000" cy="11697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6400">
                <a:solidFill>
                  <a:srgbClr val="002A44"/>
                </a:solidFill>
                <a:latin typeface="Montserrat Black"/>
                <a:ea typeface="Montserrat Black"/>
                <a:cs typeface="Montserrat Black"/>
                <a:sym typeface="Montserrat Black"/>
              </a:rPr>
              <a:t>4</a:t>
            </a:r>
            <a:endParaRPr sz="6400">
              <a:solidFill>
                <a:srgbClr val="002A44"/>
              </a:solidFill>
              <a:latin typeface="Montserrat Black"/>
              <a:ea typeface="Montserrat Black"/>
              <a:cs typeface="Montserrat Black"/>
              <a:sym typeface="Montserrat Black"/>
            </a:endParaRPr>
          </a:p>
        </p:txBody>
      </p:sp>
      <p:sp>
        <p:nvSpPr>
          <p:cNvPr id="442" name="Google Shape;442;p35"/>
          <p:cNvSpPr txBox="1"/>
          <p:nvPr/>
        </p:nvSpPr>
        <p:spPr>
          <a:xfrm>
            <a:off x="13255625" y="8506895"/>
            <a:ext cx="945000" cy="11697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6400">
                <a:solidFill>
                  <a:srgbClr val="002A44"/>
                </a:solidFill>
                <a:latin typeface="Montserrat Black"/>
                <a:ea typeface="Montserrat Black"/>
                <a:cs typeface="Montserrat Black"/>
                <a:sym typeface="Montserrat Black"/>
              </a:rPr>
              <a:t>5</a:t>
            </a:r>
            <a:endParaRPr sz="6400">
              <a:solidFill>
                <a:srgbClr val="002A44"/>
              </a:solidFill>
              <a:latin typeface="Montserrat Black"/>
              <a:ea typeface="Montserrat Black"/>
              <a:cs typeface="Montserrat Black"/>
              <a:sym typeface="Montserrat Black"/>
            </a:endParaRPr>
          </a:p>
        </p:txBody>
      </p:sp>
      <p:sp>
        <p:nvSpPr>
          <p:cNvPr id="443" name="Google Shape;443;p35"/>
          <p:cNvSpPr txBox="1"/>
          <p:nvPr/>
        </p:nvSpPr>
        <p:spPr>
          <a:xfrm>
            <a:off x="13255625" y="9984398"/>
            <a:ext cx="945000" cy="11697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6400">
                <a:solidFill>
                  <a:srgbClr val="002A44"/>
                </a:solidFill>
                <a:latin typeface="Montserrat Black"/>
                <a:ea typeface="Montserrat Black"/>
                <a:cs typeface="Montserrat Black"/>
                <a:sym typeface="Montserrat Black"/>
              </a:rPr>
              <a:t>6</a:t>
            </a:r>
            <a:endParaRPr sz="6400">
              <a:solidFill>
                <a:srgbClr val="002A44"/>
              </a:solidFill>
              <a:latin typeface="Montserrat Black"/>
              <a:ea typeface="Montserrat Black"/>
              <a:cs typeface="Montserrat Black"/>
              <a:sym typeface="Montserrat Black"/>
            </a:endParaRPr>
          </a:p>
        </p:txBody>
      </p:sp>
      <p:sp>
        <p:nvSpPr>
          <p:cNvPr id="444" name="Google Shape;444;p35"/>
          <p:cNvSpPr txBox="1">
            <a:spLocks noGrp="1"/>
          </p:cNvSpPr>
          <p:nvPr>
            <p:ph type="title"/>
          </p:nvPr>
        </p:nvSpPr>
        <p:spPr>
          <a:xfrm>
            <a:off x="2388475" y="5764425"/>
            <a:ext cx="8382000" cy="35448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rgbClr val="002A44"/>
              </a:buClr>
              <a:buSzPts val="8400"/>
              <a:buFont typeface="Montserrat Black"/>
              <a:buNone/>
              <a:defRPr sz="8400">
                <a:solidFill>
                  <a:srgbClr val="002A44"/>
                </a:solidFill>
                <a:latin typeface="Montserrat Black"/>
                <a:ea typeface="Montserrat Black"/>
                <a:cs typeface="Montserrat Black"/>
                <a:sym typeface="Montserrat Black"/>
              </a:defRPr>
            </a:lvl1pPr>
            <a:lvl2pPr lvl="1" algn="ctr" rtl="0">
              <a:spcBef>
                <a:spcPts val="0"/>
              </a:spcBef>
              <a:spcAft>
                <a:spcPts val="0"/>
              </a:spcAft>
              <a:buSzPts val="8400"/>
              <a:buNone/>
              <a:defRPr sz="8400"/>
            </a:lvl2pPr>
            <a:lvl3pPr lvl="2" algn="ctr" rtl="0">
              <a:spcBef>
                <a:spcPts val="0"/>
              </a:spcBef>
              <a:spcAft>
                <a:spcPts val="0"/>
              </a:spcAft>
              <a:buSzPts val="8400"/>
              <a:buNone/>
              <a:defRPr sz="8400"/>
            </a:lvl3pPr>
            <a:lvl4pPr lvl="3" algn="ctr" rtl="0">
              <a:spcBef>
                <a:spcPts val="0"/>
              </a:spcBef>
              <a:spcAft>
                <a:spcPts val="0"/>
              </a:spcAft>
              <a:buSzPts val="8400"/>
              <a:buNone/>
              <a:defRPr sz="8400"/>
            </a:lvl4pPr>
            <a:lvl5pPr lvl="4" algn="ctr" rtl="0">
              <a:spcBef>
                <a:spcPts val="0"/>
              </a:spcBef>
              <a:spcAft>
                <a:spcPts val="0"/>
              </a:spcAft>
              <a:buSzPts val="8400"/>
              <a:buNone/>
              <a:defRPr sz="8400"/>
            </a:lvl5pPr>
            <a:lvl6pPr lvl="5" algn="ctr" rtl="0">
              <a:spcBef>
                <a:spcPts val="0"/>
              </a:spcBef>
              <a:spcAft>
                <a:spcPts val="0"/>
              </a:spcAft>
              <a:buSzPts val="8400"/>
              <a:buNone/>
              <a:defRPr sz="8400"/>
            </a:lvl6pPr>
            <a:lvl7pPr lvl="6" algn="ctr" rtl="0">
              <a:spcBef>
                <a:spcPts val="0"/>
              </a:spcBef>
              <a:spcAft>
                <a:spcPts val="0"/>
              </a:spcAft>
              <a:buSzPts val="8400"/>
              <a:buNone/>
              <a:defRPr sz="8400"/>
            </a:lvl7pPr>
            <a:lvl8pPr lvl="7" algn="ctr" rtl="0">
              <a:spcBef>
                <a:spcPts val="0"/>
              </a:spcBef>
              <a:spcAft>
                <a:spcPts val="0"/>
              </a:spcAft>
              <a:buSzPts val="8400"/>
              <a:buNone/>
              <a:defRPr sz="8400"/>
            </a:lvl8pPr>
            <a:lvl9pPr lvl="8" algn="ctr" rtl="0">
              <a:spcBef>
                <a:spcPts val="0"/>
              </a:spcBef>
              <a:spcAft>
                <a:spcPts val="0"/>
              </a:spcAft>
              <a:buSzPts val="8400"/>
              <a:buNone/>
              <a:defRPr sz="8400"/>
            </a:lvl9pPr>
          </a:lstStyle>
          <a:p>
            <a:endParaRPr/>
          </a:p>
        </p:txBody>
      </p:sp>
      <p:sp>
        <p:nvSpPr>
          <p:cNvPr id="445" name="Google Shape;445;p35">
            <a:hlinkClick r:id="rId3" action="ppaction://hlinksldjump"/>
          </p:cNvPr>
          <p:cNvSpPr txBox="1">
            <a:spLocks noGrp="1"/>
          </p:cNvSpPr>
          <p:nvPr>
            <p:ph type="subTitle" idx="1"/>
          </p:nvPr>
        </p:nvSpPr>
        <p:spPr>
          <a:xfrm>
            <a:off x="14524100" y="2809425"/>
            <a:ext cx="8485200" cy="552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2400"/>
              <a:buFont typeface="Montserrat SemiBold"/>
              <a:buNone/>
              <a:defRPr sz="2400" u="sng">
                <a:solidFill>
                  <a:srgbClr val="002A44"/>
                </a:solidFill>
                <a:latin typeface="Montserrat SemiBold"/>
                <a:ea typeface="Montserrat SemiBold"/>
                <a:cs typeface="Montserrat SemiBold"/>
                <a:sym typeface="Montserrat SemiBold"/>
              </a:defRPr>
            </a:lvl1pPr>
            <a:lvl2pPr lvl="1"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2pPr>
            <a:lvl3pPr lvl="2"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3pPr>
            <a:lvl4pPr lvl="3"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4pPr>
            <a:lvl5pPr lvl="4"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5pPr>
            <a:lvl6pPr lvl="5"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6pPr>
            <a:lvl7pPr lvl="6"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7pPr>
            <a:lvl8pPr lvl="7"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8pPr>
            <a:lvl9pPr lvl="8"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9pPr>
          </a:lstStyle>
          <a:p>
            <a:endParaRPr/>
          </a:p>
        </p:txBody>
      </p:sp>
      <p:sp>
        <p:nvSpPr>
          <p:cNvPr id="446" name="Google Shape;446;p35"/>
          <p:cNvSpPr txBox="1">
            <a:spLocks noGrp="1"/>
          </p:cNvSpPr>
          <p:nvPr>
            <p:ph type="subTitle" idx="2"/>
          </p:nvPr>
        </p:nvSpPr>
        <p:spPr>
          <a:xfrm>
            <a:off x="14524100" y="3361725"/>
            <a:ext cx="8485200" cy="552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1800"/>
              <a:buFont typeface="Open Sans"/>
              <a:buNone/>
              <a:defRPr sz="1800">
                <a:solidFill>
                  <a:srgbClr val="002A44"/>
                </a:solidFill>
                <a:latin typeface="Open Sans"/>
                <a:ea typeface="Open Sans"/>
                <a:cs typeface="Open Sans"/>
                <a:sym typeface="Open Sans"/>
              </a:defRPr>
            </a:lvl1pPr>
            <a:lvl2pPr lvl="1"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2pPr>
            <a:lvl3pPr lvl="2"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3pPr>
            <a:lvl4pPr lvl="3"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4pPr>
            <a:lvl5pPr lvl="4"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5pPr>
            <a:lvl6pPr lvl="5"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6pPr>
            <a:lvl7pPr lvl="6"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7pPr>
            <a:lvl8pPr lvl="7"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8pPr>
            <a:lvl9pPr lvl="8"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9pPr>
          </a:lstStyle>
          <a:p>
            <a:endParaRPr/>
          </a:p>
        </p:txBody>
      </p:sp>
      <p:sp>
        <p:nvSpPr>
          <p:cNvPr id="447" name="Google Shape;447;p35">
            <a:hlinkClick r:id="rId3" action="ppaction://hlinksldjump"/>
          </p:cNvPr>
          <p:cNvSpPr txBox="1">
            <a:spLocks noGrp="1"/>
          </p:cNvSpPr>
          <p:nvPr>
            <p:ph type="subTitle" idx="3"/>
          </p:nvPr>
        </p:nvSpPr>
        <p:spPr>
          <a:xfrm>
            <a:off x="14524100" y="4219125"/>
            <a:ext cx="8485200" cy="552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2400"/>
              <a:buFont typeface="Montserrat SemiBold"/>
              <a:buNone/>
              <a:defRPr sz="2400" u="sng">
                <a:solidFill>
                  <a:srgbClr val="002A44"/>
                </a:solidFill>
                <a:latin typeface="Montserrat SemiBold"/>
                <a:ea typeface="Montserrat SemiBold"/>
                <a:cs typeface="Montserrat SemiBold"/>
                <a:sym typeface="Montserrat SemiBold"/>
              </a:defRPr>
            </a:lvl1pPr>
            <a:lvl2pPr lvl="1"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2pPr>
            <a:lvl3pPr lvl="2"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3pPr>
            <a:lvl4pPr lvl="3"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4pPr>
            <a:lvl5pPr lvl="4"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5pPr>
            <a:lvl6pPr lvl="5"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6pPr>
            <a:lvl7pPr lvl="6"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7pPr>
            <a:lvl8pPr lvl="7"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8pPr>
            <a:lvl9pPr lvl="8"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9pPr>
          </a:lstStyle>
          <a:p>
            <a:endParaRPr/>
          </a:p>
        </p:txBody>
      </p:sp>
      <p:sp>
        <p:nvSpPr>
          <p:cNvPr id="448" name="Google Shape;448;p35"/>
          <p:cNvSpPr txBox="1">
            <a:spLocks noGrp="1"/>
          </p:cNvSpPr>
          <p:nvPr>
            <p:ph type="subTitle" idx="4"/>
          </p:nvPr>
        </p:nvSpPr>
        <p:spPr>
          <a:xfrm>
            <a:off x="14524100" y="4771425"/>
            <a:ext cx="8485200" cy="552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1800"/>
              <a:buFont typeface="Open Sans"/>
              <a:buNone/>
              <a:defRPr sz="1800">
                <a:solidFill>
                  <a:srgbClr val="002A44"/>
                </a:solidFill>
                <a:latin typeface="Open Sans"/>
                <a:ea typeface="Open Sans"/>
                <a:cs typeface="Open Sans"/>
                <a:sym typeface="Open Sans"/>
              </a:defRPr>
            </a:lvl1pPr>
            <a:lvl2pPr lvl="1"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2pPr>
            <a:lvl3pPr lvl="2"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3pPr>
            <a:lvl4pPr lvl="3"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4pPr>
            <a:lvl5pPr lvl="4"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5pPr>
            <a:lvl6pPr lvl="5"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6pPr>
            <a:lvl7pPr lvl="6"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7pPr>
            <a:lvl8pPr lvl="7"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8pPr>
            <a:lvl9pPr lvl="8"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9pPr>
          </a:lstStyle>
          <a:p>
            <a:endParaRPr/>
          </a:p>
        </p:txBody>
      </p:sp>
      <p:sp>
        <p:nvSpPr>
          <p:cNvPr id="449" name="Google Shape;449;p35">
            <a:hlinkClick r:id="rId3" action="ppaction://hlinksldjump"/>
          </p:cNvPr>
          <p:cNvSpPr txBox="1">
            <a:spLocks noGrp="1"/>
          </p:cNvSpPr>
          <p:nvPr>
            <p:ph type="subTitle" idx="5"/>
          </p:nvPr>
        </p:nvSpPr>
        <p:spPr>
          <a:xfrm>
            <a:off x="14524100" y="5705025"/>
            <a:ext cx="8485200" cy="552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2400"/>
              <a:buFont typeface="Montserrat SemiBold"/>
              <a:buNone/>
              <a:defRPr sz="2400" u="sng">
                <a:solidFill>
                  <a:srgbClr val="002A44"/>
                </a:solidFill>
                <a:latin typeface="Montserrat SemiBold"/>
                <a:ea typeface="Montserrat SemiBold"/>
                <a:cs typeface="Montserrat SemiBold"/>
                <a:sym typeface="Montserrat SemiBold"/>
              </a:defRPr>
            </a:lvl1pPr>
            <a:lvl2pPr lvl="1"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2pPr>
            <a:lvl3pPr lvl="2"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3pPr>
            <a:lvl4pPr lvl="3"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4pPr>
            <a:lvl5pPr lvl="4"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5pPr>
            <a:lvl6pPr lvl="5"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6pPr>
            <a:lvl7pPr lvl="6"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7pPr>
            <a:lvl8pPr lvl="7"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8pPr>
            <a:lvl9pPr lvl="8"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9pPr>
          </a:lstStyle>
          <a:p>
            <a:endParaRPr/>
          </a:p>
        </p:txBody>
      </p:sp>
      <p:sp>
        <p:nvSpPr>
          <p:cNvPr id="450" name="Google Shape;450;p35"/>
          <p:cNvSpPr txBox="1">
            <a:spLocks noGrp="1"/>
          </p:cNvSpPr>
          <p:nvPr>
            <p:ph type="subTitle" idx="6"/>
          </p:nvPr>
        </p:nvSpPr>
        <p:spPr>
          <a:xfrm>
            <a:off x="14524100" y="6257325"/>
            <a:ext cx="8485200" cy="552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1800"/>
              <a:buFont typeface="Open Sans"/>
              <a:buNone/>
              <a:defRPr sz="1800">
                <a:solidFill>
                  <a:srgbClr val="002A44"/>
                </a:solidFill>
                <a:latin typeface="Open Sans"/>
                <a:ea typeface="Open Sans"/>
                <a:cs typeface="Open Sans"/>
                <a:sym typeface="Open Sans"/>
              </a:defRPr>
            </a:lvl1pPr>
            <a:lvl2pPr lvl="1"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2pPr>
            <a:lvl3pPr lvl="2"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3pPr>
            <a:lvl4pPr lvl="3"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4pPr>
            <a:lvl5pPr lvl="4"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5pPr>
            <a:lvl6pPr lvl="5"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6pPr>
            <a:lvl7pPr lvl="6"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7pPr>
            <a:lvl8pPr lvl="7"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8pPr>
            <a:lvl9pPr lvl="8"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9pPr>
          </a:lstStyle>
          <a:p>
            <a:endParaRPr/>
          </a:p>
        </p:txBody>
      </p:sp>
      <p:sp>
        <p:nvSpPr>
          <p:cNvPr id="451" name="Google Shape;451;p35">
            <a:hlinkClick r:id="rId3" action="ppaction://hlinksldjump"/>
          </p:cNvPr>
          <p:cNvSpPr txBox="1">
            <a:spLocks noGrp="1"/>
          </p:cNvSpPr>
          <p:nvPr>
            <p:ph type="subTitle" idx="7"/>
          </p:nvPr>
        </p:nvSpPr>
        <p:spPr>
          <a:xfrm>
            <a:off x="14524100" y="7186463"/>
            <a:ext cx="8485200" cy="552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2400"/>
              <a:buFont typeface="Montserrat SemiBold"/>
              <a:buNone/>
              <a:defRPr sz="2400" u="sng">
                <a:solidFill>
                  <a:srgbClr val="002A44"/>
                </a:solidFill>
                <a:latin typeface="Montserrat SemiBold"/>
                <a:ea typeface="Montserrat SemiBold"/>
                <a:cs typeface="Montserrat SemiBold"/>
                <a:sym typeface="Montserrat SemiBold"/>
              </a:defRPr>
            </a:lvl1pPr>
            <a:lvl2pPr lvl="1"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2pPr>
            <a:lvl3pPr lvl="2"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3pPr>
            <a:lvl4pPr lvl="3"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4pPr>
            <a:lvl5pPr lvl="4"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5pPr>
            <a:lvl6pPr lvl="5"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6pPr>
            <a:lvl7pPr lvl="6"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7pPr>
            <a:lvl8pPr lvl="7"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8pPr>
            <a:lvl9pPr lvl="8"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9pPr>
          </a:lstStyle>
          <a:p>
            <a:endParaRPr/>
          </a:p>
        </p:txBody>
      </p:sp>
      <p:sp>
        <p:nvSpPr>
          <p:cNvPr id="452" name="Google Shape;452;p35"/>
          <p:cNvSpPr txBox="1">
            <a:spLocks noGrp="1"/>
          </p:cNvSpPr>
          <p:nvPr>
            <p:ph type="subTitle" idx="8"/>
          </p:nvPr>
        </p:nvSpPr>
        <p:spPr>
          <a:xfrm>
            <a:off x="14524100" y="7738763"/>
            <a:ext cx="8485200" cy="552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1800"/>
              <a:buFont typeface="Open Sans"/>
              <a:buNone/>
              <a:defRPr sz="1800">
                <a:solidFill>
                  <a:srgbClr val="002A44"/>
                </a:solidFill>
                <a:latin typeface="Open Sans"/>
                <a:ea typeface="Open Sans"/>
                <a:cs typeface="Open Sans"/>
                <a:sym typeface="Open Sans"/>
              </a:defRPr>
            </a:lvl1pPr>
            <a:lvl2pPr lvl="1"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2pPr>
            <a:lvl3pPr lvl="2"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3pPr>
            <a:lvl4pPr lvl="3"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4pPr>
            <a:lvl5pPr lvl="4"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5pPr>
            <a:lvl6pPr lvl="5"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6pPr>
            <a:lvl7pPr lvl="6"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7pPr>
            <a:lvl8pPr lvl="7"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8pPr>
            <a:lvl9pPr lvl="8"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9pPr>
          </a:lstStyle>
          <a:p>
            <a:endParaRPr/>
          </a:p>
        </p:txBody>
      </p:sp>
      <p:sp>
        <p:nvSpPr>
          <p:cNvPr id="453" name="Google Shape;453;p35">
            <a:hlinkClick r:id="rId3" action="ppaction://hlinksldjump"/>
          </p:cNvPr>
          <p:cNvSpPr txBox="1">
            <a:spLocks noGrp="1"/>
          </p:cNvSpPr>
          <p:nvPr>
            <p:ph type="subTitle" idx="9"/>
          </p:nvPr>
        </p:nvSpPr>
        <p:spPr>
          <a:xfrm>
            <a:off x="14524100" y="8558050"/>
            <a:ext cx="8485200" cy="552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2400"/>
              <a:buFont typeface="Montserrat SemiBold"/>
              <a:buNone/>
              <a:defRPr sz="2400" u="sng">
                <a:solidFill>
                  <a:srgbClr val="002A44"/>
                </a:solidFill>
                <a:latin typeface="Montserrat SemiBold"/>
                <a:ea typeface="Montserrat SemiBold"/>
                <a:cs typeface="Montserrat SemiBold"/>
                <a:sym typeface="Montserrat SemiBold"/>
              </a:defRPr>
            </a:lvl1pPr>
            <a:lvl2pPr lvl="1"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2pPr>
            <a:lvl3pPr lvl="2"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3pPr>
            <a:lvl4pPr lvl="3"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4pPr>
            <a:lvl5pPr lvl="4"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5pPr>
            <a:lvl6pPr lvl="5"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6pPr>
            <a:lvl7pPr lvl="6"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7pPr>
            <a:lvl8pPr lvl="7"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8pPr>
            <a:lvl9pPr lvl="8"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9pPr>
          </a:lstStyle>
          <a:p>
            <a:endParaRPr/>
          </a:p>
        </p:txBody>
      </p:sp>
      <p:sp>
        <p:nvSpPr>
          <p:cNvPr id="454" name="Google Shape;454;p35"/>
          <p:cNvSpPr txBox="1">
            <a:spLocks noGrp="1"/>
          </p:cNvSpPr>
          <p:nvPr>
            <p:ph type="subTitle" idx="13"/>
          </p:nvPr>
        </p:nvSpPr>
        <p:spPr>
          <a:xfrm>
            <a:off x="14524100" y="9110350"/>
            <a:ext cx="8485200" cy="552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1800"/>
              <a:buFont typeface="Open Sans"/>
              <a:buNone/>
              <a:defRPr sz="1800">
                <a:solidFill>
                  <a:srgbClr val="002A44"/>
                </a:solidFill>
                <a:latin typeface="Open Sans"/>
                <a:ea typeface="Open Sans"/>
                <a:cs typeface="Open Sans"/>
                <a:sym typeface="Open Sans"/>
              </a:defRPr>
            </a:lvl1pPr>
            <a:lvl2pPr lvl="1"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2pPr>
            <a:lvl3pPr lvl="2"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3pPr>
            <a:lvl4pPr lvl="3"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4pPr>
            <a:lvl5pPr lvl="4"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5pPr>
            <a:lvl6pPr lvl="5"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6pPr>
            <a:lvl7pPr lvl="6"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7pPr>
            <a:lvl8pPr lvl="7"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8pPr>
            <a:lvl9pPr lvl="8"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9pPr>
          </a:lstStyle>
          <a:p>
            <a:endParaRPr/>
          </a:p>
        </p:txBody>
      </p:sp>
      <p:sp>
        <p:nvSpPr>
          <p:cNvPr id="455" name="Google Shape;455;p35">
            <a:hlinkClick r:id="rId3" action="ppaction://hlinksldjump"/>
          </p:cNvPr>
          <p:cNvSpPr txBox="1">
            <a:spLocks noGrp="1"/>
          </p:cNvSpPr>
          <p:nvPr>
            <p:ph type="subTitle" idx="14"/>
          </p:nvPr>
        </p:nvSpPr>
        <p:spPr>
          <a:xfrm>
            <a:off x="14524100" y="10077625"/>
            <a:ext cx="8485200" cy="552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2400"/>
              <a:buFont typeface="Montserrat SemiBold"/>
              <a:buNone/>
              <a:defRPr sz="2400" u="sng">
                <a:solidFill>
                  <a:srgbClr val="002A44"/>
                </a:solidFill>
                <a:latin typeface="Montserrat SemiBold"/>
                <a:ea typeface="Montserrat SemiBold"/>
                <a:cs typeface="Montserrat SemiBold"/>
                <a:sym typeface="Montserrat SemiBold"/>
              </a:defRPr>
            </a:lvl1pPr>
            <a:lvl2pPr lvl="1"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2pPr>
            <a:lvl3pPr lvl="2"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3pPr>
            <a:lvl4pPr lvl="3"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4pPr>
            <a:lvl5pPr lvl="4"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5pPr>
            <a:lvl6pPr lvl="5"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6pPr>
            <a:lvl7pPr lvl="6"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7pPr>
            <a:lvl8pPr lvl="7"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8pPr>
            <a:lvl9pPr lvl="8"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9pPr>
          </a:lstStyle>
          <a:p>
            <a:endParaRPr/>
          </a:p>
        </p:txBody>
      </p:sp>
      <p:sp>
        <p:nvSpPr>
          <p:cNvPr id="456" name="Google Shape;456;p35"/>
          <p:cNvSpPr txBox="1">
            <a:spLocks noGrp="1"/>
          </p:cNvSpPr>
          <p:nvPr>
            <p:ph type="subTitle" idx="15"/>
          </p:nvPr>
        </p:nvSpPr>
        <p:spPr>
          <a:xfrm>
            <a:off x="14524100" y="10629925"/>
            <a:ext cx="8485200" cy="552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1800"/>
              <a:buFont typeface="Open Sans"/>
              <a:buNone/>
              <a:defRPr sz="1800">
                <a:solidFill>
                  <a:srgbClr val="002A44"/>
                </a:solidFill>
                <a:latin typeface="Open Sans"/>
                <a:ea typeface="Open Sans"/>
                <a:cs typeface="Open Sans"/>
                <a:sym typeface="Open Sans"/>
              </a:defRPr>
            </a:lvl1pPr>
            <a:lvl2pPr lvl="1"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2pPr>
            <a:lvl3pPr lvl="2"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3pPr>
            <a:lvl4pPr lvl="3"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4pPr>
            <a:lvl5pPr lvl="4"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5pPr>
            <a:lvl6pPr lvl="5"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6pPr>
            <a:lvl7pPr lvl="6"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7pPr>
            <a:lvl8pPr lvl="7"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8pPr>
            <a:lvl9pPr lvl="8"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9pPr>
          </a:lstStyle>
          <a:p>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Summary Slide with main idea and key points">
  <p:cSld name="Summary Slide with main idea and key points">
    <p:spTree>
      <p:nvGrpSpPr>
        <p:cNvPr id="1" name="Shape 457"/>
        <p:cNvGrpSpPr/>
        <p:nvPr/>
      </p:nvGrpSpPr>
      <p:grpSpPr>
        <a:xfrm>
          <a:off x="0" y="0"/>
          <a:ext cx="0" cy="0"/>
          <a:chOff x="0" y="0"/>
          <a:chExt cx="0" cy="0"/>
        </a:xfrm>
      </p:grpSpPr>
      <p:sp>
        <p:nvSpPr>
          <p:cNvPr id="458" name="Google Shape;458;p36"/>
          <p:cNvSpPr/>
          <p:nvPr/>
        </p:nvSpPr>
        <p:spPr>
          <a:xfrm>
            <a:off x="-115950" y="9805300"/>
            <a:ext cx="24535500" cy="3910800"/>
          </a:xfrm>
          <a:prstGeom prst="rect">
            <a:avLst/>
          </a:prstGeom>
          <a:solidFill>
            <a:srgbClr val="002A4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459" name="Google Shape;459;p36"/>
          <p:cNvPicPr preferRelativeResize="0"/>
          <p:nvPr/>
        </p:nvPicPr>
        <p:blipFill>
          <a:blip r:embed="rId2">
            <a:alphaModFix/>
          </a:blip>
          <a:stretch>
            <a:fillRect/>
          </a:stretch>
        </p:blipFill>
        <p:spPr>
          <a:xfrm>
            <a:off x="-76200" y="4620075"/>
            <a:ext cx="24535501" cy="9096026"/>
          </a:xfrm>
          <a:prstGeom prst="rect">
            <a:avLst/>
          </a:prstGeom>
          <a:noFill/>
          <a:ln>
            <a:noFill/>
          </a:ln>
        </p:spPr>
      </p:pic>
      <p:sp>
        <p:nvSpPr>
          <p:cNvPr id="460" name="Google Shape;460;p36"/>
          <p:cNvSpPr/>
          <p:nvPr/>
        </p:nvSpPr>
        <p:spPr>
          <a:xfrm>
            <a:off x="1990350" y="7446675"/>
            <a:ext cx="2650500" cy="2650500"/>
          </a:xfrm>
          <a:prstGeom prst="ellipse">
            <a:avLst/>
          </a:prstGeom>
          <a:solidFill>
            <a:srgbClr val="002A44"/>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461" name="Google Shape;461;p36"/>
          <p:cNvSpPr/>
          <p:nvPr/>
        </p:nvSpPr>
        <p:spPr>
          <a:xfrm>
            <a:off x="9617375" y="7446675"/>
            <a:ext cx="2650500" cy="2650500"/>
          </a:xfrm>
          <a:prstGeom prst="ellipse">
            <a:avLst/>
          </a:prstGeom>
          <a:solidFill>
            <a:srgbClr val="002A44"/>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462" name="Google Shape;462;p36"/>
          <p:cNvSpPr/>
          <p:nvPr/>
        </p:nvSpPr>
        <p:spPr>
          <a:xfrm>
            <a:off x="17355650" y="7446675"/>
            <a:ext cx="2650500" cy="2650500"/>
          </a:xfrm>
          <a:prstGeom prst="ellipse">
            <a:avLst/>
          </a:prstGeom>
          <a:solidFill>
            <a:srgbClr val="002A44"/>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463" name="Google Shape;463;p36"/>
          <p:cNvSpPr>
            <a:spLocks noGrp="1"/>
          </p:cNvSpPr>
          <p:nvPr>
            <p:ph type="pic" idx="2"/>
          </p:nvPr>
        </p:nvSpPr>
        <p:spPr>
          <a:xfrm>
            <a:off x="2471025" y="7927350"/>
            <a:ext cx="1689000" cy="1689000"/>
          </a:xfrm>
          <a:prstGeom prst="ellipse">
            <a:avLst/>
          </a:prstGeom>
          <a:noFill/>
          <a:ln>
            <a:noFill/>
          </a:ln>
        </p:spPr>
      </p:sp>
      <p:sp>
        <p:nvSpPr>
          <p:cNvPr id="464" name="Google Shape;464;p36"/>
          <p:cNvSpPr/>
          <p:nvPr/>
        </p:nvSpPr>
        <p:spPr>
          <a:xfrm>
            <a:off x="22412037" y="536597"/>
            <a:ext cx="1515111" cy="1515111"/>
          </a:xfrm>
          <a:custGeom>
            <a:avLst/>
            <a:gdLst/>
            <a:ahLst/>
            <a:cxnLst/>
            <a:rect l="l" t="t" r="r" b="b"/>
            <a:pathLst>
              <a:path w="1137044" h="1137044" extrusionOk="0">
                <a:moveTo>
                  <a:pt x="0" y="0"/>
                </a:moveTo>
                <a:lnTo>
                  <a:pt x="1137044" y="0"/>
                </a:lnTo>
                <a:lnTo>
                  <a:pt x="1137044" y="1137044"/>
                </a:lnTo>
                <a:lnTo>
                  <a:pt x="0" y="1137044"/>
                </a:lnTo>
                <a:lnTo>
                  <a:pt x="0" y="0"/>
                </a:lnTo>
                <a:close/>
              </a:path>
            </a:pathLst>
          </a:custGeom>
          <a:blipFill rotWithShape="1">
            <a:blip r:embed="rId3">
              <a:alphaModFix/>
            </a:blip>
            <a:stretch>
              <a:fillRect/>
            </a:stretch>
          </a:blipFill>
          <a:ln>
            <a:noFill/>
          </a:ln>
        </p:spPr>
      </p:sp>
      <p:sp>
        <p:nvSpPr>
          <p:cNvPr id="465" name="Google Shape;465;p36"/>
          <p:cNvSpPr txBox="1">
            <a:spLocks noGrp="1"/>
          </p:cNvSpPr>
          <p:nvPr>
            <p:ph type="subTitle" idx="1"/>
          </p:nvPr>
        </p:nvSpPr>
        <p:spPr>
          <a:xfrm>
            <a:off x="2083675" y="5770913"/>
            <a:ext cx="19507200" cy="11619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2800"/>
              <a:buFont typeface="Montserrat SemiBold"/>
              <a:buNone/>
              <a:defRPr sz="2800">
                <a:solidFill>
                  <a:srgbClr val="002A44"/>
                </a:solidFill>
                <a:latin typeface="Montserrat SemiBold"/>
                <a:ea typeface="Montserrat SemiBold"/>
                <a:cs typeface="Montserrat SemiBold"/>
                <a:sym typeface="Montserrat SemiBold"/>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466" name="Google Shape;466;p36"/>
          <p:cNvSpPr txBox="1">
            <a:spLocks noGrp="1"/>
          </p:cNvSpPr>
          <p:nvPr>
            <p:ph type="subTitle" idx="3"/>
          </p:nvPr>
        </p:nvSpPr>
        <p:spPr>
          <a:xfrm>
            <a:off x="2083675" y="10361975"/>
            <a:ext cx="5200800" cy="1775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2200"/>
              <a:buFont typeface="Open Sans"/>
              <a:buNone/>
              <a:defRPr sz="2200">
                <a:solidFill>
                  <a:srgbClr val="002A44"/>
                </a:solidFill>
                <a:latin typeface="Open Sans"/>
                <a:ea typeface="Open Sans"/>
                <a:cs typeface="Open Sans"/>
                <a:sym typeface="Open Sans"/>
              </a:defRPr>
            </a:lvl1pPr>
            <a:lvl2pPr lvl="1" rtl="0">
              <a:spcBef>
                <a:spcPts val="0"/>
              </a:spcBef>
              <a:spcAft>
                <a:spcPts val="0"/>
              </a:spcAft>
              <a:buSzPts val="2200"/>
              <a:buNone/>
              <a:defRPr sz="2200"/>
            </a:lvl2pPr>
            <a:lvl3pPr lvl="2" rtl="0">
              <a:spcBef>
                <a:spcPts val="0"/>
              </a:spcBef>
              <a:spcAft>
                <a:spcPts val="0"/>
              </a:spcAft>
              <a:buSzPts val="2200"/>
              <a:buNone/>
              <a:defRPr sz="2200"/>
            </a:lvl3pPr>
            <a:lvl4pPr lvl="3" rtl="0">
              <a:spcBef>
                <a:spcPts val="0"/>
              </a:spcBef>
              <a:spcAft>
                <a:spcPts val="0"/>
              </a:spcAft>
              <a:buSzPts val="2200"/>
              <a:buNone/>
              <a:defRPr sz="2200"/>
            </a:lvl4pPr>
            <a:lvl5pPr lvl="4" rtl="0">
              <a:spcBef>
                <a:spcPts val="0"/>
              </a:spcBef>
              <a:spcAft>
                <a:spcPts val="0"/>
              </a:spcAft>
              <a:buSzPts val="2200"/>
              <a:buNone/>
              <a:defRPr sz="2200"/>
            </a:lvl5pPr>
            <a:lvl6pPr lvl="5" rtl="0">
              <a:spcBef>
                <a:spcPts val="0"/>
              </a:spcBef>
              <a:spcAft>
                <a:spcPts val="0"/>
              </a:spcAft>
              <a:buSzPts val="2200"/>
              <a:buNone/>
              <a:defRPr sz="2200"/>
            </a:lvl6pPr>
            <a:lvl7pPr lvl="6" rtl="0">
              <a:spcBef>
                <a:spcPts val="0"/>
              </a:spcBef>
              <a:spcAft>
                <a:spcPts val="0"/>
              </a:spcAft>
              <a:buSzPts val="2200"/>
              <a:buNone/>
              <a:defRPr sz="2200"/>
            </a:lvl7pPr>
            <a:lvl8pPr lvl="7" rtl="0">
              <a:spcBef>
                <a:spcPts val="0"/>
              </a:spcBef>
              <a:spcAft>
                <a:spcPts val="0"/>
              </a:spcAft>
              <a:buSzPts val="2200"/>
              <a:buNone/>
              <a:defRPr sz="2200"/>
            </a:lvl8pPr>
            <a:lvl9pPr lvl="8" rtl="0">
              <a:spcBef>
                <a:spcPts val="0"/>
              </a:spcBef>
              <a:spcAft>
                <a:spcPts val="0"/>
              </a:spcAft>
              <a:buSzPts val="2200"/>
              <a:buNone/>
              <a:defRPr sz="2200"/>
            </a:lvl9pPr>
          </a:lstStyle>
          <a:p>
            <a:endParaRPr/>
          </a:p>
        </p:txBody>
      </p:sp>
      <p:sp>
        <p:nvSpPr>
          <p:cNvPr id="467" name="Google Shape;467;p36"/>
          <p:cNvSpPr txBox="1">
            <a:spLocks noGrp="1"/>
          </p:cNvSpPr>
          <p:nvPr>
            <p:ph type="subTitle" idx="4"/>
          </p:nvPr>
        </p:nvSpPr>
        <p:spPr>
          <a:xfrm>
            <a:off x="9779875" y="1736550"/>
            <a:ext cx="12094200" cy="24381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3600"/>
              <a:buFont typeface="Montserrat"/>
              <a:buNone/>
              <a:defRPr sz="3600">
                <a:solidFill>
                  <a:srgbClr val="002A44"/>
                </a:solidFill>
                <a:latin typeface="Montserrat"/>
                <a:ea typeface="Montserrat"/>
                <a:cs typeface="Montserrat"/>
                <a:sym typeface="Montserrat"/>
              </a:defRPr>
            </a:lvl1pPr>
            <a:lvl2pPr lvl="1" rtl="0">
              <a:spcBef>
                <a:spcPts val="0"/>
              </a:spcBef>
              <a:spcAft>
                <a:spcPts val="0"/>
              </a:spcAft>
              <a:buSzPts val="3600"/>
              <a:buNone/>
              <a:defRPr sz="3600"/>
            </a:lvl2pPr>
            <a:lvl3pPr lvl="2" rtl="0">
              <a:spcBef>
                <a:spcPts val="0"/>
              </a:spcBef>
              <a:spcAft>
                <a:spcPts val="0"/>
              </a:spcAft>
              <a:buSzPts val="3600"/>
              <a:buNone/>
              <a:defRPr sz="3600"/>
            </a:lvl3pPr>
            <a:lvl4pPr lvl="3" rtl="0">
              <a:spcBef>
                <a:spcPts val="0"/>
              </a:spcBef>
              <a:spcAft>
                <a:spcPts val="0"/>
              </a:spcAft>
              <a:buSzPts val="3600"/>
              <a:buNone/>
              <a:defRPr sz="3600"/>
            </a:lvl4pPr>
            <a:lvl5pPr lvl="4" rtl="0">
              <a:spcBef>
                <a:spcPts val="0"/>
              </a:spcBef>
              <a:spcAft>
                <a:spcPts val="0"/>
              </a:spcAft>
              <a:buSzPts val="3600"/>
              <a:buNone/>
              <a:defRPr sz="3600"/>
            </a:lvl5pPr>
            <a:lvl6pPr lvl="5" rtl="0">
              <a:spcBef>
                <a:spcPts val="0"/>
              </a:spcBef>
              <a:spcAft>
                <a:spcPts val="0"/>
              </a:spcAft>
              <a:buSzPts val="3600"/>
              <a:buNone/>
              <a:defRPr sz="3600"/>
            </a:lvl6pPr>
            <a:lvl7pPr lvl="6" rtl="0">
              <a:spcBef>
                <a:spcPts val="0"/>
              </a:spcBef>
              <a:spcAft>
                <a:spcPts val="0"/>
              </a:spcAft>
              <a:buSzPts val="3600"/>
              <a:buNone/>
              <a:defRPr sz="3600"/>
            </a:lvl7pPr>
            <a:lvl8pPr lvl="7" rtl="0">
              <a:spcBef>
                <a:spcPts val="0"/>
              </a:spcBef>
              <a:spcAft>
                <a:spcPts val="0"/>
              </a:spcAft>
              <a:buSzPts val="3600"/>
              <a:buNone/>
              <a:defRPr sz="3600"/>
            </a:lvl8pPr>
            <a:lvl9pPr lvl="8" rtl="0">
              <a:spcBef>
                <a:spcPts val="0"/>
              </a:spcBef>
              <a:spcAft>
                <a:spcPts val="0"/>
              </a:spcAft>
              <a:buSzPts val="3600"/>
              <a:buNone/>
              <a:defRPr sz="3600"/>
            </a:lvl9pPr>
          </a:lstStyle>
          <a:p>
            <a:endParaRPr/>
          </a:p>
        </p:txBody>
      </p:sp>
      <p:sp>
        <p:nvSpPr>
          <p:cNvPr id="468" name="Google Shape;468;p36"/>
          <p:cNvSpPr txBox="1">
            <a:spLocks noGrp="1"/>
          </p:cNvSpPr>
          <p:nvPr>
            <p:ph type="title"/>
          </p:nvPr>
        </p:nvSpPr>
        <p:spPr>
          <a:xfrm>
            <a:off x="1990350" y="1630350"/>
            <a:ext cx="6875100" cy="26505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7200"/>
              <a:buFont typeface="Montserrat Black"/>
              <a:buNone/>
              <a:defRPr sz="7200">
                <a:solidFill>
                  <a:srgbClr val="002A44"/>
                </a:solidFill>
                <a:latin typeface="Montserrat Black"/>
                <a:ea typeface="Montserrat Black"/>
                <a:cs typeface="Montserrat Black"/>
                <a:sym typeface="Montserrat Black"/>
              </a:defRPr>
            </a:lvl1pPr>
            <a:lvl2pPr lvl="1" rtl="0">
              <a:spcBef>
                <a:spcPts val="0"/>
              </a:spcBef>
              <a:spcAft>
                <a:spcPts val="0"/>
              </a:spcAft>
              <a:buSzPts val="8400"/>
              <a:buNone/>
              <a:defRPr sz="8400"/>
            </a:lvl2pPr>
            <a:lvl3pPr lvl="2" rtl="0">
              <a:spcBef>
                <a:spcPts val="0"/>
              </a:spcBef>
              <a:spcAft>
                <a:spcPts val="0"/>
              </a:spcAft>
              <a:buSzPts val="8400"/>
              <a:buNone/>
              <a:defRPr sz="8400"/>
            </a:lvl3pPr>
            <a:lvl4pPr lvl="3" rtl="0">
              <a:spcBef>
                <a:spcPts val="0"/>
              </a:spcBef>
              <a:spcAft>
                <a:spcPts val="0"/>
              </a:spcAft>
              <a:buSzPts val="8400"/>
              <a:buNone/>
              <a:defRPr sz="8400"/>
            </a:lvl4pPr>
            <a:lvl5pPr lvl="4" rtl="0">
              <a:spcBef>
                <a:spcPts val="0"/>
              </a:spcBef>
              <a:spcAft>
                <a:spcPts val="0"/>
              </a:spcAft>
              <a:buSzPts val="8400"/>
              <a:buNone/>
              <a:defRPr sz="8400"/>
            </a:lvl5pPr>
            <a:lvl6pPr lvl="5" rtl="0">
              <a:spcBef>
                <a:spcPts val="0"/>
              </a:spcBef>
              <a:spcAft>
                <a:spcPts val="0"/>
              </a:spcAft>
              <a:buSzPts val="8400"/>
              <a:buNone/>
              <a:defRPr sz="8400"/>
            </a:lvl6pPr>
            <a:lvl7pPr lvl="6" rtl="0">
              <a:spcBef>
                <a:spcPts val="0"/>
              </a:spcBef>
              <a:spcAft>
                <a:spcPts val="0"/>
              </a:spcAft>
              <a:buSzPts val="8400"/>
              <a:buNone/>
              <a:defRPr sz="8400"/>
            </a:lvl7pPr>
            <a:lvl8pPr lvl="7" rtl="0">
              <a:spcBef>
                <a:spcPts val="0"/>
              </a:spcBef>
              <a:spcAft>
                <a:spcPts val="0"/>
              </a:spcAft>
              <a:buSzPts val="8400"/>
              <a:buNone/>
              <a:defRPr sz="8400"/>
            </a:lvl8pPr>
            <a:lvl9pPr lvl="8" rtl="0">
              <a:spcBef>
                <a:spcPts val="0"/>
              </a:spcBef>
              <a:spcAft>
                <a:spcPts val="0"/>
              </a:spcAft>
              <a:buSzPts val="8400"/>
              <a:buNone/>
              <a:defRPr sz="8400"/>
            </a:lvl9pPr>
          </a:lstStyle>
          <a:p>
            <a:endParaRPr/>
          </a:p>
        </p:txBody>
      </p:sp>
      <p:sp>
        <p:nvSpPr>
          <p:cNvPr id="469" name="Google Shape;469;p36"/>
          <p:cNvSpPr txBox="1">
            <a:spLocks noGrp="1"/>
          </p:cNvSpPr>
          <p:nvPr>
            <p:ph type="subTitle" idx="5"/>
          </p:nvPr>
        </p:nvSpPr>
        <p:spPr>
          <a:xfrm>
            <a:off x="9588425" y="10361975"/>
            <a:ext cx="5200800" cy="1775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2200"/>
              <a:buFont typeface="Open Sans"/>
              <a:buNone/>
              <a:defRPr sz="2200">
                <a:solidFill>
                  <a:srgbClr val="002A44"/>
                </a:solidFill>
                <a:latin typeface="Open Sans"/>
                <a:ea typeface="Open Sans"/>
                <a:cs typeface="Open Sans"/>
                <a:sym typeface="Open Sans"/>
              </a:defRPr>
            </a:lvl1pPr>
            <a:lvl2pPr lvl="1" rtl="0">
              <a:spcBef>
                <a:spcPts val="0"/>
              </a:spcBef>
              <a:spcAft>
                <a:spcPts val="0"/>
              </a:spcAft>
              <a:buSzPts val="2200"/>
              <a:buNone/>
              <a:defRPr sz="2200"/>
            </a:lvl2pPr>
            <a:lvl3pPr lvl="2" rtl="0">
              <a:spcBef>
                <a:spcPts val="0"/>
              </a:spcBef>
              <a:spcAft>
                <a:spcPts val="0"/>
              </a:spcAft>
              <a:buSzPts val="2200"/>
              <a:buNone/>
              <a:defRPr sz="2200"/>
            </a:lvl3pPr>
            <a:lvl4pPr lvl="3" rtl="0">
              <a:spcBef>
                <a:spcPts val="0"/>
              </a:spcBef>
              <a:spcAft>
                <a:spcPts val="0"/>
              </a:spcAft>
              <a:buSzPts val="2200"/>
              <a:buNone/>
              <a:defRPr sz="2200"/>
            </a:lvl4pPr>
            <a:lvl5pPr lvl="4" rtl="0">
              <a:spcBef>
                <a:spcPts val="0"/>
              </a:spcBef>
              <a:spcAft>
                <a:spcPts val="0"/>
              </a:spcAft>
              <a:buSzPts val="2200"/>
              <a:buNone/>
              <a:defRPr sz="2200"/>
            </a:lvl5pPr>
            <a:lvl6pPr lvl="5" rtl="0">
              <a:spcBef>
                <a:spcPts val="0"/>
              </a:spcBef>
              <a:spcAft>
                <a:spcPts val="0"/>
              </a:spcAft>
              <a:buSzPts val="2200"/>
              <a:buNone/>
              <a:defRPr sz="2200"/>
            </a:lvl6pPr>
            <a:lvl7pPr lvl="6" rtl="0">
              <a:spcBef>
                <a:spcPts val="0"/>
              </a:spcBef>
              <a:spcAft>
                <a:spcPts val="0"/>
              </a:spcAft>
              <a:buSzPts val="2200"/>
              <a:buNone/>
              <a:defRPr sz="2200"/>
            </a:lvl7pPr>
            <a:lvl8pPr lvl="7" rtl="0">
              <a:spcBef>
                <a:spcPts val="0"/>
              </a:spcBef>
              <a:spcAft>
                <a:spcPts val="0"/>
              </a:spcAft>
              <a:buSzPts val="2200"/>
              <a:buNone/>
              <a:defRPr sz="2200"/>
            </a:lvl8pPr>
            <a:lvl9pPr lvl="8" rtl="0">
              <a:spcBef>
                <a:spcPts val="0"/>
              </a:spcBef>
              <a:spcAft>
                <a:spcPts val="0"/>
              </a:spcAft>
              <a:buSzPts val="2200"/>
              <a:buNone/>
              <a:defRPr sz="2200"/>
            </a:lvl9pPr>
          </a:lstStyle>
          <a:p>
            <a:endParaRPr/>
          </a:p>
        </p:txBody>
      </p:sp>
      <p:sp>
        <p:nvSpPr>
          <p:cNvPr id="470" name="Google Shape;470;p36"/>
          <p:cNvSpPr txBox="1">
            <a:spLocks noGrp="1"/>
          </p:cNvSpPr>
          <p:nvPr>
            <p:ph type="subTitle" idx="6"/>
          </p:nvPr>
        </p:nvSpPr>
        <p:spPr>
          <a:xfrm>
            <a:off x="17355650" y="10361975"/>
            <a:ext cx="5200800" cy="1775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2200"/>
              <a:buFont typeface="Open Sans"/>
              <a:buNone/>
              <a:defRPr sz="2200">
                <a:solidFill>
                  <a:srgbClr val="002A44"/>
                </a:solidFill>
                <a:latin typeface="Open Sans"/>
                <a:ea typeface="Open Sans"/>
                <a:cs typeface="Open Sans"/>
                <a:sym typeface="Open Sans"/>
              </a:defRPr>
            </a:lvl1pPr>
            <a:lvl2pPr lvl="1" rtl="0">
              <a:spcBef>
                <a:spcPts val="0"/>
              </a:spcBef>
              <a:spcAft>
                <a:spcPts val="0"/>
              </a:spcAft>
              <a:buSzPts val="2200"/>
              <a:buNone/>
              <a:defRPr sz="2200"/>
            </a:lvl2pPr>
            <a:lvl3pPr lvl="2" rtl="0">
              <a:spcBef>
                <a:spcPts val="0"/>
              </a:spcBef>
              <a:spcAft>
                <a:spcPts val="0"/>
              </a:spcAft>
              <a:buSzPts val="2200"/>
              <a:buNone/>
              <a:defRPr sz="2200"/>
            </a:lvl3pPr>
            <a:lvl4pPr lvl="3" rtl="0">
              <a:spcBef>
                <a:spcPts val="0"/>
              </a:spcBef>
              <a:spcAft>
                <a:spcPts val="0"/>
              </a:spcAft>
              <a:buSzPts val="2200"/>
              <a:buNone/>
              <a:defRPr sz="2200"/>
            </a:lvl4pPr>
            <a:lvl5pPr lvl="4" rtl="0">
              <a:spcBef>
                <a:spcPts val="0"/>
              </a:spcBef>
              <a:spcAft>
                <a:spcPts val="0"/>
              </a:spcAft>
              <a:buSzPts val="2200"/>
              <a:buNone/>
              <a:defRPr sz="2200"/>
            </a:lvl5pPr>
            <a:lvl6pPr lvl="5" rtl="0">
              <a:spcBef>
                <a:spcPts val="0"/>
              </a:spcBef>
              <a:spcAft>
                <a:spcPts val="0"/>
              </a:spcAft>
              <a:buSzPts val="2200"/>
              <a:buNone/>
              <a:defRPr sz="2200"/>
            </a:lvl6pPr>
            <a:lvl7pPr lvl="6" rtl="0">
              <a:spcBef>
                <a:spcPts val="0"/>
              </a:spcBef>
              <a:spcAft>
                <a:spcPts val="0"/>
              </a:spcAft>
              <a:buSzPts val="2200"/>
              <a:buNone/>
              <a:defRPr sz="2200"/>
            </a:lvl7pPr>
            <a:lvl8pPr lvl="7" rtl="0">
              <a:spcBef>
                <a:spcPts val="0"/>
              </a:spcBef>
              <a:spcAft>
                <a:spcPts val="0"/>
              </a:spcAft>
              <a:buSzPts val="2200"/>
              <a:buNone/>
              <a:defRPr sz="2200"/>
            </a:lvl8pPr>
            <a:lvl9pPr lvl="8" rtl="0">
              <a:spcBef>
                <a:spcPts val="0"/>
              </a:spcBef>
              <a:spcAft>
                <a:spcPts val="0"/>
              </a:spcAft>
              <a:buSzPts val="2200"/>
              <a:buNone/>
              <a:defRPr sz="2200"/>
            </a:lvl9pPr>
          </a:lstStyle>
          <a:p>
            <a:endParaRPr/>
          </a:p>
        </p:txBody>
      </p:sp>
      <p:sp>
        <p:nvSpPr>
          <p:cNvPr id="471" name="Google Shape;471;p36"/>
          <p:cNvSpPr>
            <a:spLocks noGrp="1"/>
          </p:cNvSpPr>
          <p:nvPr>
            <p:ph type="pic" idx="7"/>
          </p:nvPr>
        </p:nvSpPr>
        <p:spPr>
          <a:xfrm>
            <a:off x="17836388" y="7927400"/>
            <a:ext cx="1689000" cy="1689000"/>
          </a:xfrm>
          <a:prstGeom prst="ellipse">
            <a:avLst/>
          </a:prstGeom>
          <a:noFill/>
          <a:ln>
            <a:noFill/>
          </a:ln>
        </p:spPr>
      </p:sp>
      <p:sp>
        <p:nvSpPr>
          <p:cNvPr id="472" name="Google Shape;472;p36"/>
          <p:cNvSpPr>
            <a:spLocks noGrp="1"/>
          </p:cNvSpPr>
          <p:nvPr>
            <p:ph type="pic" idx="8"/>
          </p:nvPr>
        </p:nvSpPr>
        <p:spPr>
          <a:xfrm>
            <a:off x="10098125" y="7927400"/>
            <a:ext cx="1689000" cy="1689000"/>
          </a:xfrm>
          <a:prstGeom prst="ellipse">
            <a:avLst/>
          </a:prstGeom>
          <a:noFill/>
          <a:ln>
            <a:noFill/>
          </a:ln>
        </p:spPr>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Text and Image w/ Supportive Copy">
  <p:cSld name="Text and Image w/ Supportive Copy">
    <p:spTree>
      <p:nvGrpSpPr>
        <p:cNvPr id="1" name="Shape 473"/>
        <p:cNvGrpSpPr/>
        <p:nvPr/>
      </p:nvGrpSpPr>
      <p:grpSpPr>
        <a:xfrm>
          <a:off x="0" y="0"/>
          <a:ext cx="0" cy="0"/>
          <a:chOff x="0" y="0"/>
          <a:chExt cx="0" cy="0"/>
        </a:xfrm>
      </p:grpSpPr>
      <p:pic>
        <p:nvPicPr>
          <p:cNvPr id="474" name="Google Shape;474;p37"/>
          <p:cNvPicPr preferRelativeResize="0"/>
          <p:nvPr/>
        </p:nvPicPr>
        <p:blipFill>
          <a:blip r:embed="rId2">
            <a:alphaModFix/>
          </a:blip>
          <a:stretch>
            <a:fillRect/>
          </a:stretch>
        </p:blipFill>
        <p:spPr>
          <a:xfrm>
            <a:off x="0" y="6086025"/>
            <a:ext cx="24377651" cy="7288525"/>
          </a:xfrm>
          <a:prstGeom prst="rect">
            <a:avLst/>
          </a:prstGeom>
          <a:noFill/>
          <a:ln>
            <a:noFill/>
          </a:ln>
        </p:spPr>
      </p:pic>
      <p:sp>
        <p:nvSpPr>
          <p:cNvPr id="475" name="Google Shape;475;p37"/>
          <p:cNvSpPr/>
          <p:nvPr/>
        </p:nvSpPr>
        <p:spPr>
          <a:xfrm>
            <a:off x="22412037" y="536597"/>
            <a:ext cx="1515111" cy="1515111"/>
          </a:xfrm>
          <a:custGeom>
            <a:avLst/>
            <a:gdLst/>
            <a:ahLst/>
            <a:cxnLst/>
            <a:rect l="l" t="t" r="r" b="b"/>
            <a:pathLst>
              <a:path w="1137044" h="1137044" extrusionOk="0">
                <a:moveTo>
                  <a:pt x="0" y="0"/>
                </a:moveTo>
                <a:lnTo>
                  <a:pt x="1137044" y="0"/>
                </a:lnTo>
                <a:lnTo>
                  <a:pt x="1137044" y="1137044"/>
                </a:lnTo>
                <a:lnTo>
                  <a:pt x="0" y="1137044"/>
                </a:lnTo>
                <a:lnTo>
                  <a:pt x="0" y="0"/>
                </a:lnTo>
                <a:close/>
              </a:path>
            </a:pathLst>
          </a:custGeom>
          <a:blipFill rotWithShape="1">
            <a:blip r:embed="rId3">
              <a:alphaModFix/>
            </a:blip>
            <a:stretch>
              <a:fillRect/>
            </a:stretch>
          </a:blipFill>
          <a:ln>
            <a:noFill/>
          </a:ln>
        </p:spPr>
      </p:sp>
      <p:sp>
        <p:nvSpPr>
          <p:cNvPr id="476" name="Google Shape;476;p37"/>
          <p:cNvSpPr txBox="1"/>
          <p:nvPr/>
        </p:nvSpPr>
        <p:spPr>
          <a:xfrm>
            <a:off x="2075875" y="7555625"/>
            <a:ext cx="6804600" cy="615600"/>
          </a:xfrm>
          <a:prstGeom prst="rect">
            <a:avLst/>
          </a:prstGeom>
          <a:solidFill>
            <a:srgbClr val="C1F400"/>
          </a:solidFill>
          <a:ln>
            <a:noFill/>
          </a:ln>
        </p:spPr>
        <p:txBody>
          <a:bodyPr spcFirstLastPara="1" wrap="square" lIns="91425" tIns="91425" rIns="91425" bIns="91425" anchor="t" anchorCtr="0">
            <a:spAutoFit/>
          </a:bodyPr>
          <a:lstStyle/>
          <a:p>
            <a:pPr marL="457200" lvl="0" indent="0" algn="l" rtl="0">
              <a:lnSpc>
                <a:spcPct val="115000"/>
              </a:lnSpc>
              <a:spcBef>
                <a:spcPts val="0"/>
              </a:spcBef>
              <a:spcAft>
                <a:spcPts val="0"/>
              </a:spcAft>
              <a:buNone/>
            </a:pPr>
            <a:endParaRPr sz="2800">
              <a:solidFill>
                <a:srgbClr val="002A44"/>
              </a:solidFill>
              <a:latin typeface="Montserrat Black"/>
              <a:ea typeface="Montserrat Black"/>
              <a:cs typeface="Montserrat Black"/>
              <a:sym typeface="Montserrat Black"/>
            </a:endParaRPr>
          </a:p>
        </p:txBody>
      </p:sp>
      <p:pic>
        <p:nvPicPr>
          <p:cNvPr id="477" name="Google Shape;477;p37"/>
          <p:cNvPicPr preferRelativeResize="0"/>
          <p:nvPr/>
        </p:nvPicPr>
        <p:blipFill>
          <a:blip r:embed="rId4">
            <a:alphaModFix/>
          </a:blip>
          <a:stretch>
            <a:fillRect/>
          </a:stretch>
        </p:blipFill>
        <p:spPr>
          <a:xfrm>
            <a:off x="-11020250" y="-5788937"/>
            <a:ext cx="24377651" cy="7288525"/>
          </a:xfrm>
          <a:prstGeom prst="rect">
            <a:avLst/>
          </a:prstGeom>
          <a:noFill/>
          <a:ln>
            <a:noFill/>
          </a:ln>
        </p:spPr>
      </p:pic>
      <p:sp>
        <p:nvSpPr>
          <p:cNvPr id="478" name="Google Shape;478;p37"/>
          <p:cNvSpPr txBox="1">
            <a:spLocks noGrp="1"/>
          </p:cNvSpPr>
          <p:nvPr>
            <p:ph type="subTitle" idx="1"/>
          </p:nvPr>
        </p:nvSpPr>
        <p:spPr>
          <a:xfrm>
            <a:off x="2075875" y="4184450"/>
            <a:ext cx="10232700" cy="24381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3600"/>
              <a:buFont typeface="Montserrat"/>
              <a:buNone/>
              <a:defRPr sz="3600">
                <a:solidFill>
                  <a:srgbClr val="002A44"/>
                </a:solidFill>
                <a:latin typeface="Montserrat"/>
                <a:ea typeface="Montserrat"/>
                <a:cs typeface="Montserrat"/>
                <a:sym typeface="Montserrat"/>
              </a:defRPr>
            </a:lvl1pPr>
            <a:lvl2pPr lvl="1" rtl="0">
              <a:spcBef>
                <a:spcPts val="0"/>
              </a:spcBef>
              <a:spcAft>
                <a:spcPts val="0"/>
              </a:spcAft>
              <a:buSzPts val="3600"/>
              <a:buNone/>
              <a:defRPr sz="3600"/>
            </a:lvl2pPr>
            <a:lvl3pPr lvl="2" rtl="0">
              <a:spcBef>
                <a:spcPts val="0"/>
              </a:spcBef>
              <a:spcAft>
                <a:spcPts val="0"/>
              </a:spcAft>
              <a:buSzPts val="3600"/>
              <a:buNone/>
              <a:defRPr sz="3600"/>
            </a:lvl3pPr>
            <a:lvl4pPr lvl="3" rtl="0">
              <a:spcBef>
                <a:spcPts val="0"/>
              </a:spcBef>
              <a:spcAft>
                <a:spcPts val="0"/>
              </a:spcAft>
              <a:buSzPts val="3600"/>
              <a:buNone/>
              <a:defRPr sz="3600"/>
            </a:lvl4pPr>
            <a:lvl5pPr lvl="4" rtl="0">
              <a:spcBef>
                <a:spcPts val="0"/>
              </a:spcBef>
              <a:spcAft>
                <a:spcPts val="0"/>
              </a:spcAft>
              <a:buSzPts val="3600"/>
              <a:buNone/>
              <a:defRPr sz="3600"/>
            </a:lvl5pPr>
            <a:lvl6pPr lvl="5" rtl="0">
              <a:spcBef>
                <a:spcPts val="0"/>
              </a:spcBef>
              <a:spcAft>
                <a:spcPts val="0"/>
              </a:spcAft>
              <a:buSzPts val="3600"/>
              <a:buNone/>
              <a:defRPr sz="3600"/>
            </a:lvl6pPr>
            <a:lvl7pPr lvl="6" rtl="0">
              <a:spcBef>
                <a:spcPts val="0"/>
              </a:spcBef>
              <a:spcAft>
                <a:spcPts val="0"/>
              </a:spcAft>
              <a:buSzPts val="3600"/>
              <a:buNone/>
              <a:defRPr sz="3600"/>
            </a:lvl7pPr>
            <a:lvl8pPr lvl="7" rtl="0">
              <a:spcBef>
                <a:spcPts val="0"/>
              </a:spcBef>
              <a:spcAft>
                <a:spcPts val="0"/>
              </a:spcAft>
              <a:buSzPts val="3600"/>
              <a:buNone/>
              <a:defRPr sz="3600"/>
            </a:lvl8pPr>
            <a:lvl9pPr lvl="8" rtl="0">
              <a:spcBef>
                <a:spcPts val="0"/>
              </a:spcBef>
              <a:spcAft>
                <a:spcPts val="0"/>
              </a:spcAft>
              <a:buSzPts val="3600"/>
              <a:buNone/>
              <a:defRPr sz="3600"/>
            </a:lvl9pPr>
          </a:lstStyle>
          <a:p>
            <a:endParaRPr/>
          </a:p>
        </p:txBody>
      </p:sp>
      <p:sp>
        <p:nvSpPr>
          <p:cNvPr id="479" name="Google Shape;479;p37"/>
          <p:cNvSpPr txBox="1">
            <a:spLocks noGrp="1"/>
          </p:cNvSpPr>
          <p:nvPr>
            <p:ph type="subTitle" idx="2"/>
          </p:nvPr>
        </p:nvSpPr>
        <p:spPr>
          <a:xfrm>
            <a:off x="2183975" y="7661075"/>
            <a:ext cx="6696600" cy="5103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1pPr>
            <a:lvl2pPr lvl="1"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2pPr>
            <a:lvl3pPr lvl="2"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3pPr>
            <a:lvl4pPr lvl="3"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4pPr>
            <a:lvl5pPr lvl="4"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5pPr>
            <a:lvl6pPr lvl="5"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6pPr>
            <a:lvl7pPr lvl="6"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7pPr>
            <a:lvl8pPr lvl="7"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8pPr>
            <a:lvl9pPr lvl="8"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9pPr>
          </a:lstStyle>
          <a:p>
            <a:endParaRPr/>
          </a:p>
        </p:txBody>
      </p:sp>
      <p:sp>
        <p:nvSpPr>
          <p:cNvPr id="480" name="Google Shape;480;p37"/>
          <p:cNvSpPr txBox="1">
            <a:spLocks noGrp="1"/>
          </p:cNvSpPr>
          <p:nvPr>
            <p:ph type="subTitle" idx="3"/>
          </p:nvPr>
        </p:nvSpPr>
        <p:spPr>
          <a:xfrm>
            <a:off x="2075875" y="8511250"/>
            <a:ext cx="9892200" cy="27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800"/>
              <a:buFont typeface="Montserrat"/>
              <a:buNone/>
              <a:defRPr sz="2800">
                <a:solidFill>
                  <a:srgbClr val="C1F400"/>
                </a:solidFill>
                <a:latin typeface="Montserrat"/>
                <a:ea typeface="Montserrat"/>
                <a:cs typeface="Montserrat"/>
                <a:sym typeface="Montserrat"/>
              </a:defRPr>
            </a:lvl1pPr>
            <a:lvl2pPr lvl="1" rtl="0">
              <a:spcBef>
                <a:spcPts val="0"/>
              </a:spcBef>
              <a:spcAft>
                <a:spcPts val="0"/>
              </a:spcAft>
              <a:buClr>
                <a:srgbClr val="C1F400"/>
              </a:buClr>
              <a:buSzPts val="2800"/>
              <a:buNone/>
              <a:defRPr sz="2800">
                <a:solidFill>
                  <a:srgbClr val="C1F400"/>
                </a:solidFill>
              </a:defRPr>
            </a:lvl2pPr>
            <a:lvl3pPr lvl="2" rtl="0">
              <a:spcBef>
                <a:spcPts val="0"/>
              </a:spcBef>
              <a:spcAft>
                <a:spcPts val="0"/>
              </a:spcAft>
              <a:buClr>
                <a:srgbClr val="C1F400"/>
              </a:buClr>
              <a:buSzPts val="2800"/>
              <a:buNone/>
              <a:defRPr sz="2800">
                <a:solidFill>
                  <a:srgbClr val="C1F400"/>
                </a:solidFill>
              </a:defRPr>
            </a:lvl3pPr>
            <a:lvl4pPr lvl="3" rtl="0">
              <a:spcBef>
                <a:spcPts val="0"/>
              </a:spcBef>
              <a:spcAft>
                <a:spcPts val="0"/>
              </a:spcAft>
              <a:buClr>
                <a:srgbClr val="C1F400"/>
              </a:buClr>
              <a:buSzPts val="2800"/>
              <a:buNone/>
              <a:defRPr sz="2800">
                <a:solidFill>
                  <a:srgbClr val="C1F400"/>
                </a:solidFill>
              </a:defRPr>
            </a:lvl4pPr>
            <a:lvl5pPr lvl="4" rtl="0">
              <a:spcBef>
                <a:spcPts val="0"/>
              </a:spcBef>
              <a:spcAft>
                <a:spcPts val="0"/>
              </a:spcAft>
              <a:buClr>
                <a:srgbClr val="C1F400"/>
              </a:buClr>
              <a:buSzPts val="2800"/>
              <a:buNone/>
              <a:defRPr sz="2800">
                <a:solidFill>
                  <a:srgbClr val="C1F400"/>
                </a:solidFill>
              </a:defRPr>
            </a:lvl5pPr>
            <a:lvl6pPr lvl="5" rtl="0">
              <a:spcBef>
                <a:spcPts val="0"/>
              </a:spcBef>
              <a:spcAft>
                <a:spcPts val="0"/>
              </a:spcAft>
              <a:buClr>
                <a:srgbClr val="C1F400"/>
              </a:buClr>
              <a:buSzPts val="2800"/>
              <a:buNone/>
              <a:defRPr sz="2800">
                <a:solidFill>
                  <a:srgbClr val="C1F400"/>
                </a:solidFill>
              </a:defRPr>
            </a:lvl6pPr>
            <a:lvl7pPr lvl="6" rtl="0">
              <a:spcBef>
                <a:spcPts val="0"/>
              </a:spcBef>
              <a:spcAft>
                <a:spcPts val="0"/>
              </a:spcAft>
              <a:buClr>
                <a:srgbClr val="C1F400"/>
              </a:buClr>
              <a:buSzPts val="2800"/>
              <a:buNone/>
              <a:defRPr sz="2800">
                <a:solidFill>
                  <a:srgbClr val="C1F400"/>
                </a:solidFill>
              </a:defRPr>
            </a:lvl7pPr>
            <a:lvl8pPr lvl="7" rtl="0">
              <a:spcBef>
                <a:spcPts val="0"/>
              </a:spcBef>
              <a:spcAft>
                <a:spcPts val="0"/>
              </a:spcAft>
              <a:buClr>
                <a:srgbClr val="C1F400"/>
              </a:buClr>
              <a:buSzPts val="2800"/>
              <a:buNone/>
              <a:defRPr sz="2800">
                <a:solidFill>
                  <a:srgbClr val="C1F400"/>
                </a:solidFill>
              </a:defRPr>
            </a:lvl8pPr>
            <a:lvl9pPr lvl="8" rtl="0">
              <a:spcBef>
                <a:spcPts val="0"/>
              </a:spcBef>
              <a:spcAft>
                <a:spcPts val="0"/>
              </a:spcAft>
              <a:buClr>
                <a:srgbClr val="C1F400"/>
              </a:buClr>
              <a:buSzPts val="2800"/>
              <a:buNone/>
              <a:defRPr sz="2800">
                <a:solidFill>
                  <a:srgbClr val="C1F400"/>
                </a:solidFill>
              </a:defRPr>
            </a:lvl9pPr>
          </a:lstStyle>
          <a:p>
            <a:endParaRPr/>
          </a:p>
        </p:txBody>
      </p:sp>
      <p:sp>
        <p:nvSpPr>
          <p:cNvPr id="481" name="Google Shape;481;p37"/>
          <p:cNvSpPr txBox="1">
            <a:spLocks noGrp="1"/>
          </p:cNvSpPr>
          <p:nvPr>
            <p:ph type="title"/>
          </p:nvPr>
        </p:nvSpPr>
        <p:spPr>
          <a:xfrm>
            <a:off x="1990350" y="1706550"/>
            <a:ext cx="9977700" cy="1370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7200"/>
              <a:buFont typeface="Montserrat Black"/>
              <a:buNone/>
              <a:defRPr sz="7200">
                <a:solidFill>
                  <a:srgbClr val="002A44"/>
                </a:solidFill>
                <a:latin typeface="Montserrat Black"/>
                <a:ea typeface="Montserrat Black"/>
                <a:cs typeface="Montserrat Black"/>
                <a:sym typeface="Montserrat Black"/>
              </a:defRPr>
            </a:lvl1pPr>
            <a:lvl2pPr lvl="1" rtl="0">
              <a:spcBef>
                <a:spcPts val="0"/>
              </a:spcBef>
              <a:spcAft>
                <a:spcPts val="0"/>
              </a:spcAft>
              <a:buSzPts val="7200"/>
              <a:buNone/>
              <a:defRPr sz="7200"/>
            </a:lvl2pPr>
            <a:lvl3pPr lvl="2" rtl="0">
              <a:spcBef>
                <a:spcPts val="0"/>
              </a:spcBef>
              <a:spcAft>
                <a:spcPts val="0"/>
              </a:spcAft>
              <a:buSzPts val="7200"/>
              <a:buNone/>
              <a:defRPr sz="7200"/>
            </a:lvl3pPr>
            <a:lvl4pPr lvl="3" rtl="0">
              <a:spcBef>
                <a:spcPts val="0"/>
              </a:spcBef>
              <a:spcAft>
                <a:spcPts val="0"/>
              </a:spcAft>
              <a:buSzPts val="7200"/>
              <a:buNone/>
              <a:defRPr sz="7200"/>
            </a:lvl4pPr>
            <a:lvl5pPr lvl="4" rtl="0">
              <a:spcBef>
                <a:spcPts val="0"/>
              </a:spcBef>
              <a:spcAft>
                <a:spcPts val="0"/>
              </a:spcAft>
              <a:buSzPts val="7200"/>
              <a:buNone/>
              <a:defRPr sz="7200"/>
            </a:lvl5pPr>
            <a:lvl6pPr lvl="5" rtl="0">
              <a:spcBef>
                <a:spcPts val="0"/>
              </a:spcBef>
              <a:spcAft>
                <a:spcPts val="0"/>
              </a:spcAft>
              <a:buSzPts val="7200"/>
              <a:buNone/>
              <a:defRPr sz="7200"/>
            </a:lvl6pPr>
            <a:lvl7pPr lvl="6" rtl="0">
              <a:spcBef>
                <a:spcPts val="0"/>
              </a:spcBef>
              <a:spcAft>
                <a:spcPts val="0"/>
              </a:spcAft>
              <a:buSzPts val="7200"/>
              <a:buNone/>
              <a:defRPr sz="7200"/>
            </a:lvl7pPr>
            <a:lvl8pPr lvl="7" rtl="0">
              <a:spcBef>
                <a:spcPts val="0"/>
              </a:spcBef>
              <a:spcAft>
                <a:spcPts val="0"/>
              </a:spcAft>
              <a:buSzPts val="7200"/>
              <a:buNone/>
              <a:defRPr sz="7200"/>
            </a:lvl8pPr>
            <a:lvl9pPr lvl="8" rtl="0">
              <a:spcBef>
                <a:spcPts val="0"/>
              </a:spcBef>
              <a:spcAft>
                <a:spcPts val="0"/>
              </a:spcAft>
              <a:buSzPts val="7200"/>
              <a:buNone/>
              <a:defRPr sz="7200"/>
            </a:lvl9pPr>
          </a:lstStyle>
          <a:p>
            <a:endParaRPr/>
          </a:p>
        </p:txBody>
      </p:sp>
      <p:sp>
        <p:nvSpPr>
          <p:cNvPr id="482" name="Google Shape;482;p37"/>
          <p:cNvSpPr>
            <a:spLocks noGrp="1"/>
          </p:cNvSpPr>
          <p:nvPr>
            <p:ph type="pic" idx="4"/>
          </p:nvPr>
        </p:nvSpPr>
        <p:spPr>
          <a:xfrm>
            <a:off x="13110050" y="1881475"/>
            <a:ext cx="8500500" cy="9419700"/>
          </a:xfrm>
          <a:prstGeom prst="rect">
            <a:avLst/>
          </a:prstGeom>
          <a:solidFill>
            <a:schemeClr val="lt2"/>
          </a:solidFill>
          <a:ln>
            <a:noFill/>
          </a:ln>
        </p:spPr>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ext with image">
  <p:cSld name="Text with image">
    <p:spTree>
      <p:nvGrpSpPr>
        <p:cNvPr id="1" name="Shape 483"/>
        <p:cNvGrpSpPr/>
        <p:nvPr/>
      </p:nvGrpSpPr>
      <p:grpSpPr>
        <a:xfrm>
          <a:off x="0" y="0"/>
          <a:ext cx="0" cy="0"/>
          <a:chOff x="0" y="0"/>
          <a:chExt cx="0" cy="0"/>
        </a:xfrm>
      </p:grpSpPr>
      <p:pic>
        <p:nvPicPr>
          <p:cNvPr id="484" name="Google Shape;484;p38"/>
          <p:cNvPicPr preferRelativeResize="0"/>
          <p:nvPr/>
        </p:nvPicPr>
        <p:blipFill>
          <a:blip r:embed="rId2">
            <a:alphaModFix/>
          </a:blip>
          <a:stretch>
            <a:fillRect/>
          </a:stretch>
        </p:blipFill>
        <p:spPr>
          <a:xfrm>
            <a:off x="0" y="3493700"/>
            <a:ext cx="24377651" cy="9846876"/>
          </a:xfrm>
          <a:prstGeom prst="rect">
            <a:avLst/>
          </a:prstGeom>
          <a:noFill/>
          <a:ln>
            <a:noFill/>
          </a:ln>
        </p:spPr>
      </p:pic>
      <p:pic>
        <p:nvPicPr>
          <p:cNvPr id="485" name="Google Shape;485;p38"/>
          <p:cNvPicPr preferRelativeResize="0"/>
          <p:nvPr/>
        </p:nvPicPr>
        <p:blipFill>
          <a:blip r:embed="rId3">
            <a:alphaModFix/>
          </a:blip>
          <a:stretch>
            <a:fillRect/>
          </a:stretch>
        </p:blipFill>
        <p:spPr>
          <a:xfrm>
            <a:off x="-6810750" y="-6219350"/>
            <a:ext cx="24377651" cy="7288525"/>
          </a:xfrm>
          <a:prstGeom prst="rect">
            <a:avLst/>
          </a:prstGeom>
          <a:noFill/>
          <a:ln>
            <a:noFill/>
          </a:ln>
        </p:spPr>
      </p:pic>
      <p:sp>
        <p:nvSpPr>
          <p:cNvPr id="486" name="Google Shape;486;p38"/>
          <p:cNvSpPr>
            <a:spLocks noGrp="1"/>
          </p:cNvSpPr>
          <p:nvPr>
            <p:ph type="pic" idx="2"/>
          </p:nvPr>
        </p:nvSpPr>
        <p:spPr>
          <a:xfrm>
            <a:off x="1931225" y="1881475"/>
            <a:ext cx="8500500" cy="9419700"/>
          </a:xfrm>
          <a:prstGeom prst="rect">
            <a:avLst/>
          </a:prstGeom>
          <a:solidFill>
            <a:schemeClr val="lt2"/>
          </a:solidFill>
          <a:ln>
            <a:noFill/>
          </a:ln>
        </p:spPr>
      </p:sp>
      <p:sp>
        <p:nvSpPr>
          <p:cNvPr id="487" name="Google Shape;487;p38"/>
          <p:cNvSpPr/>
          <p:nvPr/>
        </p:nvSpPr>
        <p:spPr>
          <a:xfrm>
            <a:off x="22412037" y="536597"/>
            <a:ext cx="1515111" cy="1515111"/>
          </a:xfrm>
          <a:custGeom>
            <a:avLst/>
            <a:gdLst/>
            <a:ahLst/>
            <a:cxnLst/>
            <a:rect l="l" t="t" r="r" b="b"/>
            <a:pathLst>
              <a:path w="1137044" h="1137044" extrusionOk="0">
                <a:moveTo>
                  <a:pt x="0" y="0"/>
                </a:moveTo>
                <a:lnTo>
                  <a:pt x="1137044" y="0"/>
                </a:lnTo>
                <a:lnTo>
                  <a:pt x="1137044" y="1137044"/>
                </a:lnTo>
                <a:lnTo>
                  <a:pt x="0" y="1137044"/>
                </a:lnTo>
                <a:lnTo>
                  <a:pt x="0" y="0"/>
                </a:lnTo>
                <a:close/>
              </a:path>
            </a:pathLst>
          </a:custGeom>
          <a:blipFill rotWithShape="1">
            <a:blip r:embed="rId4">
              <a:alphaModFix/>
            </a:blip>
            <a:stretch>
              <a:fillRect/>
            </a:stretch>
          </a:blipFill>
          <a:ln>
            <a:noFill/>
          </a:ln>
        </p:spPr>
      </p:sp>
      <p:sp>
        <p:nvSpPr>
          <p:cNvPr id="488" name="Google Shape;488;p38"/>
          <p:cNvSpPr txBox="1">
            <a:spLocks noGrp="1"/>
          </p:cNvSpPr>
          <p:nvPr>
            <p:ph type="title"/>
          </p:nvPr>
        </p:nvSpPr>
        <p:spPr>
          <a:xfrm>
            <a:off x="12324900" y="1630350"/>
            <a:ext cx="9067800" cy="3132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7200"/>
              <a:buFont typeface="Montserrat Black"/>
              <a:buNone/>
              <a:defRPr sz="7200">
                <a:solidFill>
                  <a:srgbClr val="002A44"/>
                </a:solidFill>
                <a:latin typeface="Montserrat Black"/>
                <a:ea typeface="Montserrat Black"/>
                <a:cs typeface="Montserrat Black"/>
                <a:sym typeface="Montserrat Black"/>
              </a:defRPr>
            </a:lvl1pPr>
            <a:lvl2pPr lvl="1" rtl="0">
              <a:spcBef>
                <a:spcPts val="0"/>
              </a:spcBef>
              <a:spcAft>
                <a:spcPts val="0"/>
              </a:spcAft>
              <a:buSzPts val="7200"/>
              <a:buNone/>
              <a:defRPr sz="7200"/>
            </a:lvl2pPr>
            <a:lvl3pPr lvl="2" rtl="0">
              <a:spcBef>
                <a:spcPts val="0"/>
              </a:spcBef>
              <a:spcAft>
                <a:spcPts val="0"/>
              </a:spcAft>
              <a:buSzPts val="7200"/>
              <a:buNone/>
              <a:defRPr sz="7200"/>
            </a:lvl3pPr>
            <a:lvl4pPr lvl="3" rtl="0">
              <a:spcBef>
                <a:spcPts val="0"/>
              </a:spcBef>
              <a:spcAft>
                <a:spcPts val="0"/>
              </a:spcAft>
              <a:buSzPts val="7200"/>
              <a:buNone/>
              <a:defRPr sz="7200"/>
            </a:lvl4pPr>
            <a:lvl5pPr lvl="4" rtl="0">
              <a:spcBef>
                <a:spcPts val="0"/>
              </a:spcBef>
              <a:spcAft>
                <a:spcPts val="0"/>
              </a:spcAft>
              <a:buSzPts val="7200"/>
              <a:buNone/>
              <a:defRPr sz="7200"/>
            </a:lvl5pPr>
            <a:lvl6pPr lvl="5" rtl="0">
              <a:spcBef>
                <a:spcPts val="0"/>
              </a:spcBef>
              <a:spcAft>
                <a:spcPts val="0"/>
              </a:spcAft>
              <a:buSzPts val="7200"/>
              <a:buNone/>
              <a:defRPr sz="7200"/>
            </a:lvl6pPr>
            <a:lvl7pPr lvl="6" rtl="0">
              <a:spcBef>
                <a:spcPts val="0"/>
              </a:spcBef>
              <a:spcAft>
                <a:spcPts val="0"/>
              </a:spcAft>
              <a:buSzPts val="7200"/>
              <a:buNone/>
              <a:defRPr sz="7200"/>
            </a:lvl7pPr>
            <a:lvl8pPr lvl="7" rtl="0">
              <a:spcBef>
                <a:spcPts val="0"/>
              </a:spcBef>
              <a:spcAft>
                <a:spcPts val="0"/>
              </a:spcAft>
              <a:buSzPts val="7200"/>
              <a:buNone/>
              <a:defRPr sz="7200"/>
            </a:lvl8pPr>
            <a:lvl9pPr lvl="8" rtl="0">
              <a:spcBef>
                <a:spcPts val="0"/>
              </a:spcBef>
              <a:spcAft>
                <a:spcPts val="0"/>
              </a:spcAft>
              <a:buSzPts val="7200"/>
              <a:buNone/>
              <a:defRPr sz="7200"/>
            </a:lvl9pPr>
          </a:lstStyle>
          <a:p>
            <a:endParaRPr/>
          </a:p>
        </p:txBody>
      </p:sp>
      <p:sp>
        <p:nvSpPr>
          <p:cNvPr id="489" name="Google Shape;489;p38"/>
          <p:cNvSpPr txBox="1">
            <a:spLocks noGrp="1"/>
          </p:cNvSpPr>
          <p:nvPr>
            <p:ph type="subTitle" idx="1"/>
          </p:nvPr>
        </p:nvSpPr>
        <p:spPr>
          <a:xfrm>
            <a:off x="12381925" y="5041700"/>
            <a:ext cx="9877800" cy="5583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3600"/>
              <a:buFont typeface="Montserrat"/>
              <a:buNone/>
              <a:defRPr sz="3600">
                <a:solidFill>
                  <a:srgbClr val="002A44"/>
                </a:solidFill>
                <a:latin typeface="Montserrat"/>
                <a:ea typeface="Montserrat"/>
                <a:cs typeface="Montserrat"/>
                <a:sym typeface="Montserrat"/>
              </a:defRPr>
            </a:lvl1pPr>
            <a:lvl2pPr lvl="1" rtl="0">
              <a:spcBef>
                <a:spcPts val="0"/>
              </a:spcBef>
              <a:spcAft>
                <a:spcPts val="0"/>
              </a:spcAft>
              <a:buSzPts val="3600"/>
              <a:buNone/>
              <a:defRPr sz="3600"/>
            </a:lvl2pPr>
            <a:lvl3pPr lvl="2" rtl="0">
              <a:spcBef>
                <a:spcPts val="0"/>
              </a:spcBef>
              <a:spcAft>
                <a:spcPts val="0"/>
              </a:spcAft>
              <a:buSzPts val="3600"/>
              <a:buNone/>
              <a:defRPr sz="3600"/>
            </a:lvl3pPr>
            <a:lvl4pPr lvl="3" rtl="0">
              <a:spcBef>
                <a:spcPts val="0"/>
              </a:spcBef>
              <a:spcAft>
                <a:spcPts val="0"/>
              </a:spcAft>
              <a:buSzPts val="3600"/>
              <a:buNone/>
              <a:defRPr sz="3600"/>
            </a:lvl4pPr>
            <a:lvl5pPr lvl="4" rtl="0">
              <a:spcBef>
                <a:spcPts val="0"/>
              </a:spcBef>
              <a:spcAft>
                <a:spcPts val="0"/>
              </a:spcAft>
              <a:buSzPts val="3600"/>
              <a:buNone/>
              <a:defRPr sz="3600"/>
            </a:lvl5pPr>
            <a:lvl6pPr lvl="5" rtl="0">
              <a:spcBef>
                <a:spcPts val="0"/>
              </a:spcBef>
              <a:spcAft>
                <a:spcPts val="0"/>
              </a:spcAft>
              <a:buSzPts val="3600"/>
              <a:buNone/>
              <a:defRPr sz="3600"/>
            </a:lvl6pPr>
            <a:lvl7pPr lvl="6" rtl="0">
              <a:spcBef>
                <a:spcPts val="0"/>
              </a:spcBef>
              <a:spcAft>
                <a:spcPts val="0"/>
              </a:spcAft>
              <a:buSzPts val="3600"/>
              <a:buNone/>
              <a:defRPr sz="3600"/>
            </a:lvl7pPr>
            <a:lvl8pPr lvl="7" rtl="0">
              <a:spcBef>
                <a:spcPts val="0"/>
              </a:spcBef>
              <a:spcAft>
                <a:spcPts val="0"/>
              </a:spcAft>
              <a:buSzPts val="3600"/>
              <a:buNone/>
              <a:defRPr sz="3600"/>
            </a:lvl8pPr>
            <a:lvl9pPr lvl="8" rtl="0">
              <a:spcBef>
                <a:spcPts val="0"/>
              </a:spcBef>
              <a:spcAft>
                <a:spcPts val="0"/>
              </a:spcAft>
              <a:buSzPts val="3600"/>
              <a:buNone/>
              <a:defRPr sz="3600"/>
            </a:lvl9pPr>
          </a:lstStyle>
          <a:p>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Big Idea w/ large image">
  <p:cSld name="Big Idea w/ large image">
    <p:spTree>
      <p:nvGrpSpPr>
        <p:cNvPr id="1" name="Shape 490"/>
        <p:cNvGrpSpPr/>
        <p:nvPr/>
      </p:nvGrpSpPr>
      <p:grpSpPr>
        <a:xfrm>
          <a:off x="0" y="0"/>
          <a:ext cx="0" cy="0"/>
          <a:chOff x="0" y="0"/>
          <a:chExt cx="0" cy="0"/>
        </a:xfrm>
      </p:grpSpPr>
      <p:pic>
        <p:nvPicPr>
          <p:cNvPr id="491" name="Google Shape;491;p39"/>
          <p:cNvPicPr preferRelativeResize="0"/>
          <p:nvPr/>
        </p:nvPicPr>
        <p:blipFill rotWithShape="1">
          <a:blip r:embed="rId2">
            <a:alphaModFix/>
          </a:blip>
          <a:srcRect l="6664" r="6664"/>
          <a:stretch/>
        </p:blipFill>
        <p:spPr>
          <a:xfrm>
            <a:off x="11034175" y="-76200"/>
            <a:ext cx="13552626" cy="13792199"/>
          </a:xfrm>
          <a:prstGeom prst="rect">
            <a:avLst/>
          </a:prstGeom>
          <a:noFill/>
          <a:ln>
            <a:noFill/>
          </a:ln>
        </p:spPr>
      </p:pic>
      <p:pic>
        <p:nvPicPr>
          <p:cNvPr id="492" name="Google Shape;492;p39"/>
          <p:cNvPicPr preferRelativeResize="0"/>
          <p:nvPr/>
        </p:nvPicPr>
        <p:blipFill rotWithShape="1">
          <a:blip r:embed="rId3">
            <a:alphaModFix/>
          </a:blip>
          <a:srcRect/>
          <a:stretch/>
        </p:blipFill>
        <p:spPr>
          <a:xfrm>
            <a:off x="-1485893" y="0"/>
            <a:ext cx="16740388" cy="13716001"/>
          </a:xfrm>
          <a:prstGeom prst="rect">
            <a:avLst/>
          </a:prstGeom>
          <a:noFill/>
          <a:ln>
            <a:noFill/>
          </a:ln>
        </p:spPr>
      </p:pic>
      <p:sp>
        <p:nvSpPr>
          <p:cNvPr id="493" name="Google Shape;493;p39"/>
          <p:cNvSpPr/>
          <p:nvPr/>
        </p:nvSpPr>
        <p:spPr>
          <a:xfrm>
            <a:off x="22412037" y="536597"/>
            <a:ext cx="1515111" cy="1515111"/>
          </a:xfrm>
          <a:custGeom>
            <a:avLst/>
            <a:gdLst/>
            <a:ahLst/>
            <a:cxnLst/>
            <a:rect l="l" t="t" r="r" b="b"/>
            <a:pathLst>
              <a:path w="1137044" h="1137044" extrusionOk="0">
                <a:moveTo>
                  <a:pt x="0" y="0"/>
                </a:moveTo>
                <a:lnTo>
                  <a:pt x="1137044" y="0"/>
                </a:lnTo>
                <a:lnTo>
                  <a:pt x="1137044" y="1137044"/>
                </a:lnTo>
                <a:lnTo>
                  <a:pt x="0" y="1137044"/>
                </a:lnTo>
                <a:lnTo>
                  <a:pt x="0" y="0"/>
                </a:lnTo>
                <a:close/>
              </a:path>
            </a:pathLst>
          </a:custGeom>
          <a:blipFill rotWithShape="1">
            <a:blip r:embed="rId4">
              <a:alphaModFix/>
            </a:blip>
            <a:stretch>
              <a:fillRect/>
            </a:stretch>
          </a:blipFill>
          <a:ln>
            <a:noFill/>
          </a:ln>
        </p:spPr>
      </p:sp>
      <p:sp>
        <p:nvSpPr>
          <p:cNvPr id="494" name="Google Shape;494;p39"/>
          <p:cNvSpPr txBox="1">
            <a:spLocks noGrp="1"/>
          </p:cNvSpPr>
          <p:nvPr>
            <p:ph type="title"/>
          </p:nvPr>
        </p:nvSpPr>
        <p:spPr>
          <a:xfrm>
            <a:off x="1578925" y="4049700"/>
            <a:ext cx="9129600" cy="73068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8400"/>
              <a:buFont typeface="Montserrat Black"/>
              <a:buNone/>
              <a:defRPr sz="8400">
                <a:solidFill>
                  <a:srgbClr val="002A44"/>
                </a:solidFill>
                <a:latin typeface="Montserrat Black"/>
                <a:ea typeface="Montserrat Black"/>
                <a:cs typeface="Montserrat Black"/>
                <a:sym typeface="Montserrat Black"/>
              </a:defRPr>
            </a:lvl1pPr>
            <a:lvl2pPr lvl="1" rtl="0">
              <a:spcBef>
                <a:spcPts val="0"/>
              </a:spcBef>
              <a:spcAft>
                <a:spcPts val="0"/>
              </a:spcAft>
              <a:buSzPts val="8400"/>
              <a:buNone/>
              <a:defRPr sz="8400"/>
            </a:lvl2pPr>
            <a:lvl3pPr lvl="2" rtl="0">
              <a:spcBef>
                <a:spcPts val="0"/>
              </a:spcBef>
              <a:spcAft>
                <a:spcPts val="0"/>
              </a:spcAft>
              <a:buSzPts val="8400"/>
              <a:buNone/>
              <a:defRPr sz="8400"/>
            </a:lvl3pPr>
            <a:lvl4pPr lvl="3" rtl="0">
              <a:spcBef>
                <a:spcPts val="0"/>
              </a:spcBef>
              <a:spcAft>
                <a:spcPts val="0"/>
              </a:spcAft>
              <a:buSzPts val="8400"/>
              <a:buNone/>
              <a:defRPr sz="8400"/>
            </a:lvl4pPr>
            <a:lvl5pPr lvl="4" rtl="0">
              <a:spcBef>
                <a:spcPts val="0"/>
              </a:spcBef>
              <a:spcAft>
                <a:spcPts val="0"/>
              </a:spcAft>
              <a:buSzPts val="8400"/>
              <a:buNone/>
              <a:defRPr sz="8400"/>
            </a:lvl5pPr>
            <a:lvl6pPr lvl="5" rtl="0">
              <a:spcBef>
                <a:spcPts val="0"/>
              </a:spcBef>
              <a:spcAft>
                <a:spcPts val="0"/>
              </a:spcAft>
              <a:buSzPts val="8400"/>
              <a:buNone/>
              <a:defRPr sz="8400"/>
            </a:lvl6pPr>
            <a:lvl7pPr lvl="6" rtl="0">
              <a:spcBef>
                <a:spcPts val="0"/>
              </a:spcBef>
              <a:spcAft>
                <a:spcPts val="0"/>
              </a:spcAft>
              <a:buSzPts val="8400"/>
              <a:buNone/>
              <a:defRPr sz="8400"/>
            </a:lvl7pPr>
            <a:lvl8pPr lvl="7" rtl="0">
              <a:spcBef>
                <a:spcPts val="0"/>
              </a:spcBef>
              <a:spcAft>
                <a:spcPts val="0"/>
              </a:spcAft>
              <a:buSzPts val="8400"/>
              <a:buNone/>
              <a:defRPr sz="8400"/>
            </a:lvl8pPr>
            <a:lvl9pPr lvl="8" rtl="0">
              <a:spcBef>
                <a:spcPts val="0"/>
              </a:spcBef>
              <a:spcAft>
                <a:spcPts val="0"/>
              </a:spcAft>
              <a:buSzPts val="8400"/>
              <a:buNone/>
              <a:defRPr sz="8400"/>
            </a:lvl9pPr>
          </a:lstStyle>
          <a:p>
            <a:endParaRPr/>
          </a:p>
        </p:txBody>
      </p:sp>
      <p:sp>
        <p:nvSpPr>
          <p:cNvPr id="495" name="Google Shape;495;p39"/>
          <p:cNvSpPr txBox="1"/>
          <p:nvPr/>
        </p:nvSpPr>
        <p:spPr>
          <a:xfrm>
            <a:off x="1675825" y="2964575"/>
            <a:ext cx="4351200" cy="615600"/>
          </a:xfrm>
          <a:prstGeom prst="rect">
            <a:avLst/>
          </a:prstGeom>
          <a:solidFill>
            <a:srgbClr val="C1F400"/>
          </a:solidFill>
          <a:ln>
            <a:noFill/>
          </a:ln>
        </p:spPr>
        <p:txBody>
          <a:bodyPr spcFirstLastPara="1" wrap="square" lIns="91425" tIns="91425" rIns="91425" bIns="91425" anchor="t" anchorCtr="0">
            <a:spAutoFit/>
          </a:bodyPr>
          <a:lstStyle/>
          <a:p>
            <a:pPr marL="457200" lvl="0" indent="0" algn="l" rtl="0">
              <a:lnSpc>
                <a:spcPct val="115000"/>
              </a:lnSpc>
              <a:spcBef>
                <a:spcPts val="0"/>
              </a:spcBef>
              <a:spcAft>
                <a:spcPts val="0"/>
              </a:spcAft>
              <a:buNone/>
            </a:pPr>
            <a:endParaRPr sz="2800">
              <a:solidFill>
                <a:srgbClr val="002A44"/>
              </a:solidFill>
              <a:latin typeface="Montserrat Black"/>
              <a:ea typeface="Montserrat Black"/>
              <a:cs typeface="Montserrat Black"/>
              <a:sym typeface="Montserrat Black"/>
            </a:endParaRPr>
          </a:p>
        </p:txBody>
      </p:sp>
      <p:sp>
        <p:nvSpPr>
          <p:cNvPr id="496" name="Google Shape;496;p39"/>
          <p:cNvSpPr txBox="1">
            <a:spLocks noGrp="1"/>
          </p:cNvSpPr>
          <p:nvPr>
            <p:ph type="subTitle" idx="1"/>
          </p:nvPr>
        </p:nvSpPr>
        <p:spPr>
          <a:xfrm>
            <a:off x="1783925" y="2631700"/>
            <a:ext cx="7136400" cy="12405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1pPr>
            <a:lvl2pPr lvl="1"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2pPr>
            <a:lvl3pPr lvl="2"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3pPr>
            <a:lvl4pPr lvl="3"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4pPr>
            <a:lvl5pPr lvl="4"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5pPr>
            <a:lvl6pPr lvl="5"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6pPr>
            <a:lvl7pPr lvl="6"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7pPr>
            <a:lvl8pPr lvl="7"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8pPr>
            <a:lvl9pPr lvl="8"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9pPr>
          </a:lstStyle>
          <a:p>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Big Idea w/ lnfographic">
  <p:cSld name="Big Idea w/ lnfographic">
    <p:bg>
      <p:bgPr>
        <a:solidFill>
          <a:srgbClr val="002A44"/>
        </a:solidFill>
        <a:effectLst/>
      </p:bgPr>
    </p:bg>
    <p:spTree>
      <p:nvGrpSpPr>
        <p:cNvPr id="1" name="Shape 497"/>
        <p:cNvGrpSpPr/>
        <p:nvPr/>
      </p:nvGrpSpPr>
      <p:grpSpPr>
        <a:xfrm>
          <a:off x="0" y="0"/>
          <a:ext cx="0" cy="0"/>
          <a:chOff x="0" y="0"/>
          <a:chExt cx="0" cy="0"/>
        </a:xfrm>
      </p:grpSpPr>
      <p:pic>
        <p:nvPicPr>
          <p:cNvPr id="498" name="Google Shape;498;p40"/>
          <p:cNvPicPr preferRelativeResize="0"/>
          <p:nvPr/>
        </p:nvPicPr>
        <p:blipFill rotWithShape="1">
          <a:blip r:embed="rId2">
            <a:alphaModFix/>
          </a:blip>
          <a:srcRect/>
          <a:stretch/>
        </p:blipFill>
        <p:spPr>
          <a:xfrm>
            <a:off x="-1485893" y="0"/>
            <a:ext cx="16740388" cy="13716001"/>
          </a:xfrm>
          <a:prstGeom prst="rect">
            <a:avLst/>
          </a:prstGeom>
          <a:noFill/>
          <a:ln>
            <a:noFill/>
          </a:ln>
        </p:spPr>
      </p:pic>
      <p:sp>
        <p:nvSpPr>
          <p:cNvPr id="499" name="Google Shape;499;p40"/>
          <p:cNvSpPr/>
          <p:nvPr/>
        </p:nvSpPr>
        <p:spPr>
          <a:xfrm>
            <a:off x="22412037" y="536597"/>
            <a:ext cx="1515111" cy="1515111"/>
          </a:xfrm>
          <a:custGeom>
            <a:avLst/>
            <a:gdLst/>
            <a:ahLst/>
            <a:cxnLst/>
            <a:rect l="l" t="t" r="r" b="b"/>
            <a:pathLst>
              <a:path w="1137044" h="1137044" extrusionOk="0">
                <a:moveTo>
                  <a:pt x="0" y="0"/>
                </a:moveTo>
                <a:lnTo>
                  <a:pt x="1137044" y="0"/>
                </a:lnTo>
                <a:lnTo>
                  <a:pt x="1137044" y="1137044"/>
                </a:lnTo>
                <a:lnTo>
                  <a:pt x="0" y="1137044"/>
                </a:lnTo>
                <a:lnTo>
                  <a:pt x="0" y="0"/>
                </a:lnTo>
                <a:close/>
              </a:path>
            </a:pathLst>
          </a:custGeom>
          <a:blipFill rotWithShape="1">
            <a:blip r:embed="rId3">
              <a:alphaModFix/>
            </a:blip>
            <a:stretch>
              <a:fillRect/>
            </a:stretch>
          </a:blipFill>
          <a:ln>
            <a:noFill/>
          </a:ln>
        </p:spPr>
      </p:sp>
      <p:sp>
        <p:nvSpPr>
          <p:cNvPr id="500" name="Google Shape;500;p40"/>
          <p:cNvSpPr txBox="1">
            <a:spLocks noGrp="1"/>
          </p:cNvSpPr>
          <p:nvPr>
            <p:ph type="title"/>
          </p:nvPr>
        </p:nvSpPr>
        <p:spPr>
          <a:xfrm>
            <a:off x="1578925" y="4049700"/>
            <a:ext cx="9129600" cy="73068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8400"/>
              <a:buFont typeface="Montserrat Black"/>
              <a:buNone/>
              <a:defRPr sz="8400">
                <a:solidFill>
                  <a:srgbClr val="002A44"/>
                </a:solidFill>
                <a:latin typeface="Montserrat Black"/>
                <a:ea typeface="Montserrat Black"/>
                <a:cs typeface="Montserrat Black"/>
                <a:sym typeface="Montserrat Black"/>
              </a:defRPr>
            </a:lvl1pPr>
            <a:lvl2pPr lvl="1" rtl="0">
              <a:spcBef>
                <a:spcPts val="0"/>
              </a:spcBef>
              <a:spcAft>
                <a:spcPts val="0"/>
              </a:spcAft>
              <a:buSzPts val="8400"/>
              <a:buNone/>
              <a:defRPr sz="8400"/>
            </a:lvl2pPr>
            <a:lvl3pPr lvl="2" rtl="0">
              <a:spcBef>
                <a:spcPts val="0"/>
              </a:spcBef>
              <a:spcAft>
                <a:spcPts val="0"/>
              </a:spcAft>
              <a:buSzPts val="8400"/>
              <a:buNone/>
              <a:defRPr sz="8400"/>
            </a:lvl3pPr>
            <a:lvl4pPr lvl="3" rtl="0">
              <a:spcBef>
                <a:spcPts val="0"/>
              </a:spcBef>
              <a:spcAft>
                <a:spcPts val="0"/>
              </a:spcAft>
              <a:buSzPts val="8400"/>
              <a:buNone/>
              <a:defRPr sz="8400"/>
            </a:lvl4pPr>
            <a:lvl5pPr lvl="4" rtl="0">
              <a:spcBef>
                <a:spcPts val="0"/>
              </a:spcBef>
              <a:spcAft>
                <a:spcPts val="0"/>
              </a:spcAft>
              <a:buSzPts val="8400"/>
              <a:buNone/>
              <a:defRPr sz="8400"/>
            </a:lvl5pPr>
            <a:lvl6pPr lvl="5" rtl="0">
              <a:spcBef>
                <a:spcPts val="0"/>
              </a:spcBef>
              <a:spcAft>
                <a:spcPts val="0"/>
              </a:spcAft>
              <a:buSzPts val="8400"/>
              <a:buNone/>
              <a:defRPr sz="8400"/>
            </a:lvl6pPr>
            <a:lvl7pPr lvl="6" rtl="0">
              <a:spcBef>
                <a:spcPts val="0"/>
              </a:spcBef>
              <a:spcAft>
                <a:spcPts val="0"/>
              </a:spcAft>
              <a:buSzPts val="8400"/>
              <a:buNone/>
              <a:defRPr sz="8400"/>
            </a:lvl7pPr>
            <a:lvl8pPr lvl="7" rtl="0">
              <a:spcBef>
                <a:spcPts val="0"/>
              </a:spcBef>
              <a:spcAft>
                <a:spcPts val="0"/>
              </a:spcAft>
              <a:buSzPts val="8400"/>
              <a:buNone/>
              <a:defRPr sz="8400"/>
            </a:lvl8pPr>
            <a:lvl9pPr lvl="8" rtl="0">
              <a:spcBef>
                <a:spcPts val="0"/>
              </a:spcBef>
              <a:spcAft>
                <a:spcPts val="0"/>
              </a:spcAft>
              <a:buSzPts val="8400"/>
              <a:buNone/>
              <a:defRPr sz="8400"/>
            </a:lvl9pPr>
          </a:lstStyle>
          <a:p>
            <a:endParaRPr/>
          </a:p>
        </p:txBody>
      </p:sp>
      <p:sp>
        <p:nvSpPr>
          <p:cNvPr id="501" name="Google Shape;501;p40"/>
          <p:cNvSpPr txBox="1"/>
          <p:nvPr/>
        </p:nvSpPr>
        <p:spPr>
          <a:xfrm>
            <a:off x="1675825" y="2964575"/>
            <a:ext cx="4351200" cy="615600"/>
          </a:xfrm>
          <a:prstGeom prst="rect">
            <a:avLst/>
          </a:prstGeom>
          <a:solidFill>
            <a:srgbClr val="C1F400"/>
          </a:solidFill>
          <a:ln>
            <a:noFill/>
          </a:ln>
        </p:spPr>
        <p:txBody>
          <a:bodyPr spcFirstLastPara="1" wrap="square" lIns="91425" tIns="91425" rIns="91425" bIns="91425" anchor="t" anchorCtr="0">
            <a:spAutoFit/>
          </a:bodyPr>
          <a:lstStyle/>
          <a:p>
            <a:pPr marL="457200" lvl="0" indent="0" algn="l" rtl="0">
              <a:lnSpc>
                <a:spcPct val="115000"/>
              </a:lnSpc>
              <a:spcBef>
                <a:spcPts val="0"/>
              </a:spcBef>
              <a:spcAft>
                <a:spcPts val="0"/>
              </a:spcAft>
              <a:buNone/>
            </a:pPr>
            <a:endParaRPr sz="2800">
              <a:solidFill>
                <a:srgbClr val="002A44"/>
              </a:solidFill>
              <a:latin typeface="Montserrat Black"/>
              <a:ea typeface="Montserrat Black"/>
              <a:cs typeface="Montserrat Black"/>
              <a:sym typeface="Montserrat Black"/>
            </a:endParaRPr>
          </a:p>
        </p:txBody>
      </p:sp>
      <p:sp>
        <p:nvSpPr>
          <p:cNvPr id="502" name="Google Shape;502;p40"/>
          <p:cNvSpPr txBox="1">
            <a:spLocks noGrp="1"/>
          </p:cNvSpPr>
          <p:nvPr>
            <p:ph type="subTitle" idx="1"/>
          </p:nvPr>
        </p:nvSpPr>
        <p:spPr>
          <a:xfrm>
            <a:off x="1783925" y="2631700"/>
            <a:ext cx="7136400" cy="12405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1pPr>
            <a:lvl2pPr lvl="1"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2pPr>
            <a:lvl3pPr lvl="2"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3pPr>
            <a:lvl4pPr lvl="3"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4pPr>
            <a:lvl5pPr lvl="4"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5pPr>
            <a:lvl6pPr lvl="5"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6pPr>
            <a:lvl7pPr lvl="6"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7pPr>
            <a:lvl8pPr lvl="7"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8pPr>
            <a:lvl9pPr lvl="8"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9pPr>
          </a:lstStyle>
          <a:p>
            <a:endParaRPr/>
          </a:p>
        </p:txBody>
      </p:sp>
      <p:grpSp>
        <p:nvGrpSpPr>
          <p:cNvPr id="503" name="Google Shape;503;p40"/>
          <p:cNvGrpSpPr/>
          <p:nvPr/>
        </p:nvGrpSpPr>
        <p:grpSpPr>
          <a:xfrm>
            <a:off x="12173918" y="1493350"/>
            <a:ext cx="10881629" cy="10452614"/>
            <a:chOff x="7137399" y="3454401"/>
            <a:chExt cx="9502776" cy="9128124"/>
          </a:xfrm>
        </p:grpSpPr>
        <p:sp>
          <p:nvSpPr>
            <p:cNvPr id="504" name="Google Shape;504;p40"/>
            <p:cNvSpPr/>
            <p:nvPr/>
          </p:nvSpPr>
          <p:spPr>
            <a:xfrm>
              <a:off x="8886824" y="3454401"/>
              <a:ext cx="6261099" cy="5810251"/>
            </a:xfrm>
            <a:custGeom>
              <a:avLst/>
              <a:gdLst/>
              <a:ahLst/>
              <a:cxnLst/>
              <a:rect l="l" t="t" r="r" b="b"/>
              <a:pathLst>
                <a:path w="990" h="919" extrusionOk="0">
                  <a:moveTo>
                    <a:pt x="495" y="0"/>
                  </a:moveTo>
                  <a:cubicBezTo>
                    <a:pt x="222" y="0"/>
                    <a:pt x="1" y="220"/>
                    <a:pt x="0" y="492"/>
                  </a:cubicBezTo>
                  <a:cubicBezTo>
                    <a:pt x="0" y="493"/>
                    <a:pt x="0" y="495"/>
                    <a:pt x="0" y="496"/>
                  </a:cubicBezTo>
                  <a:cubicBezTo>
                    <a:pt x="0" y="675"/>
                    <a:pt x="95" y="832"/>
                    <a:pt x="237" y="919"/>
                  </a:cubicBezTo>
                  <a:cubicBezTo>
                    <a:pt x="248" y="748"/>
                    <a:pt x="345" y="600"/>
                    <a:pt x="485" y="520"/>
                  </a:cubicBezTo>
                  <a:cubicBezTo>
                    <a:pt x="558" y="478"/>
                    <a:pt x="642" y="454"/>
                    <a:pt x="731" y="454"/>
                  </a:cubicBezTo>
                  <a:cubicBezTo>
                    <a:pt x="826" y="454"/>
                    <a:pt x="914" y="481"/>
                    <a:pt x="989" y="526"/>
                  </a:cubicBezTo>
                  <a:cubicBezTo>
                    <a:pt x="989" y="516"/>
                    <a:pt x="990" y="506"/>
                    <a:pt x="990" y="496"/>
                  </a:cubicBezTo>
                  <a:cubicBezTo>
                    <a:pt x="990" y="222"/>
                    <a:pt x="768" y="0"/>
                    <a:pt x="495" y="0"/>
                  </a:cubicBezTo>
                  <a:close/>
                </a:path>
              </a:pathLst>
            </a:custGeom>
            <a:noFill/>
            <a:ln w="152400" cap="flat" cmpd="sng">
              <a:solidFill>
                <a:srgbClr val="C1F400"/>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3600">
                <a:solidFill>
                  <a:schemeClr val="dk1"/>
                </a:solidFill>
                <a:latin typeface="Calibri"/>
                <a:ea typeface="Calibri"/>
                <a:cs typeface="Calibri"/>
                <a:sym typeface="Calibri"/>
              </a:endParaRPr>
            </a:p>
          </p:txBody>
        </p:sp>
        <p:sp>
          <p:nvSpPr>
            <p:cNvPr id="505" name="Google Shape;505;p40"/>
            <p:cNvSpPr/>
            <p:nvPr/>
          </p:nvSpPr>
          <p:spPr>
            <a:xfrm>
              <a:off x="11884025" y="6324600"/>
              <a:ext cx="4756150" cy="6257924"/>
            </a:xfrm>
            <a:custGeom>
              <a:avLst/>
              <a:gdLst/>
              <a:ahLst/>
              <a:cxnLst/>
              <a:rect l="l" t="t" r="r" b="b"/>
              <a:pathLst>
                <a:path w="752" h="990" extrusionOk="0">
                  <a:moveTo>
                    <a:pt x="515" y="72"/>
                  </a:moveTo>
                  <a:cubicBezTo>
                    <a:pt x="440" y="27"/>
                    <a:pt x="352" y="0"/>
                    <a:pt x="257" y="0"/>
                  </a:cubicBezTo>
                  <a:cubicBezTo>
                    <a:pt x="168" y="0"/>
                    <a:pt x="84" y="24"/>
                    <a:pt x="11" y="66"/>
                  </a:cubicBezTo>
                  <a:cubicBezTo>
                    <a:pt x="148" y="155"/>
                    <a:pt x="239" y="310"/>
                    <a:pt x="239" y="486"/>
                  </a:cubicBezTo>
                  <a:cubicBezTo>
                    <a:pt x="239" y="487"/>
                    <a:pt x="239" y="488"/>
                    <a:pt x="239" y="488"/>
                  </a:cubicBezTo>
                  <a:cubicBezTo>
                    <a:pt x="239" y="671"/>
                    <a:pt x="144" y="830"/>
                    <a:pt x="0" y="918"/>
                  </a:cubicBezTo>
                  <a:cubicBezTo>
                    <a:pt x="75" y="964"/>
                    <a:pt x="163" y="990"/>
                    <a:pt x="257" y="990"/>
                  </a:cubicBezTo>
                  <a:cubicBezTo>
                    <a:pt x="531" y="990"/>
                    <a:pt x="752" y="769"/>
                    <a:pt x="752" y="495"/>
                  </a:cubicBezTo>
                  <a:cubicBezTo>
                    <a:pt x="752" y="316"/>
                    <a:pt x="657" y="159"/>
                    <a:pt x="515" y="72"/>
                  </a:cubicBezTo>
                  <a:close/>
                </a:path>
              </a:pathLst>
            </a:custGeom>
            <a:noFill/>
            <a:ln w="152400" cap="flat" cmpd="sng">
              <a:solidFill>
                <a:srgbClr val="C1F400"/>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3600">
                <a:solidFill>
                  <a:schemeClr val="dk1"/>
                </a:solidFill>
                <a:latin typeface="Calibri"/>
                <a:ea typeface="Calibri"/>
                <a:cs typeface="Calibri"/>
                <a:sym typeface="Calibri"/>
              </a:endParaRPr>
            </a:p>
          </p:txBody>
        </p:sp>
        <p:sp>
          <p:nvSpPr>
            <p:cNvPr id="506" name="Google Shape;506;p40"/>
            <p:cNvSpPr/>
            <p:nvPr/>
          </p:nvSpPr>
          <p:spPr>
            <a:xfrm>
              <a:off x="7137399" y="6562724"/>
              <a:ext cx="6257926" cy="6019801"/>
            </a:xfrm>
            <a:custGeom>
              <a:avLst/>
              <a:gdLst/>
              <a:ahLst/>
              <a:cxnLst/>
              <a:rect l="l" t="t" r="r" b="b"/>
              <a:pathLst>
                <a:path w="990" h="952" extrusionOk="0">
                  <a:moveTo>
                    <a:pt x="990" y="448"/>
                  </a:moveTo>
                  <a:cubicBezTo>
                    <a:pt x="924" y="481"/>
                    <a:pt x="850" y="499"/>
                    <a:pt x="772" y="499"/>
                  </a:cubicBezTo>
                  <a:cubicBezTo>
                    <a:pt x="677" y="499"/>
                    <a:pt x="589" y="473"/>
                    <a:pt x="514" y="427"/>
                  </a:cubicBezTo>
                  <a:cubicBezTo>
                    <a:pt x="372" y="340"/>
                    <a:pt x="277" y="183"/>
                    <a:pt x="277" y="4"/>
                  </a:cubicBezTo>
                  <a:cubicBezTo>
                    <a:pt x="277" y="3"/>
                    <a:pt x="277" y="1"/>
                    <a:pt x="277" y="0"/>
                  </a:cubicBezTo>
                  <a:cubicBezTo>
                    <a:pt x="113" y="82"/>
                    <a:pt x="0" y="253"/>
                    <a:pt x="0" y="450"/>
                  </a:cubicBezTo>
                  <a:cubicBezTo>
                    <a:pt x="0" y="728"/>
                    <a:pt x="222" y="952"/>
                    <a:pt x="495" y="952"/>
                  </a:cubicBezTo>
                  <a:cubicBezTo>
                    <a:pt x="589" y="952"/>
                    <a:pt x="677" y="926"/>
                    <a:pt x="751" y="880"/>
                  </a:cubicBezTo>
                  <a:cubicBezTo>
                    <a:pt x="895" y="792"/>
                    <a:pt x="990" y="633"/>
                    <a:pt x="990" y="450"/>
                  </a:cubicBezTo>
                  <a:cubicBezTo>
                    <a:pt x="990" y="450"/>
                    <a:pt x="990" y="449"/>
                    <a:pt x="990" y="448"/>
                  </a:cubicBezTo>
                  <a:close/>
                </a:path>
              </a:pathLst>
            </a:custGeom>
            <a:noFill/>
            <a:ln w="152400" cap="flat" cmpd="sng">
              <a:solidFill>
                <a:srgbClr val="C1F400"/>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3600">
                <a:solidFill>
                  <a:schemeClr val="dk1"/>
                </a:solidFill>
                <a:latin typeface="Calibri"/>
                <a:ea typeface="Calibri"/>
                <a:cs typeface="Calibri"/>
                <a:sym typeface="Calibri"/>
              </a:endParaRPr>
            </a:p>
          </p:txBody>
        </p:sp>
      </p:grpSp>
      <p:sp>
        <p:nvSpPr>
          <p:cNvPr id="507" name="Google Shape;507;p40"/>
          <p:cNvSpPr txBox="1">
            <a:spLocks noGrp="1"/>
          </p:cNvSpPr>
          <p:nvPr>
            <p:ph type="title" idx="2"/>
          </p:nvPr>
        </p:nvSpPr>
        <p:spPr>
          <a:xfrm>
            <a:off x="15923575" y="2598850"/>
            <a:ext cx="9129600" cy="849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3600"/>
              <a:buFont typeface="Montserrat Black"/>
              <a:buNone/>
              <a:defRPr sz="3600">
                <a:solidFill>
                  <a:schemeClr val="lt1"/>
                </a:solidFill>
                <a:latin typeface="Montserrat Black"/>
                <a:ea typeface="Montserrat Black"/>
                <a:cs typeface="Montserrat Black"/>
                <a:sym typeface="Montserrat Black"/>
              </a:defRPr>
            </a:lvl1pPr>
            <a:lvl2pPr lvl="1" rtl="0">
              <a:spcBef>
                <a:spcPts val="0"/>
              </a:spcBef>
              <a:spcAft>
                <a:spcPts val="0"/>
              </a:spcAft>
              <a:buSzPts val="3600"/>
              <a:buNone/>
              <a:defRPr sz="3600"/>
            </a:lvl2pPr>
            <a:lvl3pPr lvl="2" rtl="0">
              <a:spcBef>
                <a:spcPts val="0"/>
              </a:spcBef>
              <a:spcAft>
                <a:spcPts val="0"/>
              </a:spcAft>
              <a:buSzPts val="3600"/>
              <a:buNone/>
              <a:defRPr sz="3600"/>
            </a:lvl3pPr>
            <a:lvl4pPr lvl="3" rtl="0">
              <a:spcBef>
                <a:spcPts val="0"/>
              </a:spcBef>
              <a:spcAft>
                <a:spcPts val="0"/>
              </a:spcAft>
              <a:buSzPts val="3600"/>
              <a:buNone/>
              <a:defRPr sz="3600"/>
            </a:lvl4pPr>
            <a:lvl5pPr lvl="4" rtl="0">
              <a:spcBef>
                <a:spcPts val="0"/>
              </a:spcBef>
              <a:spcAft>
                <a:spcPts val="0"/>
              </a:spcAft>
              <a:buSzPts val="3600"/>
              <a:buNone/>
              <a:defRPr sz="3600"/>
            </a:lvl5pPr>
            <a:lvl6pPr lvl="5" rtl="0">
              <a:spcBef>
                <a:spcPts val="0"/>
              </a:spcBef>
              <a:spcAft>
                <a:spcPts val="0"/>
              </a:spcAft>
              <a:buSzPts val="3600"/>
              <a:buNone/>
              <a:defRPr sz="3600"/>
            </a:lvl6pPr>
            <a:lvl7pPr lvl="6" rtl="0">
              <a:spcBef>
                <a:spcPts val="0"/>
              </a:spcBef>
              <a:spcAft>
                <a:spcPts val="0"/>
              </a:spcAft>
              <a:buSzPts val="3600"/>
              <a:buNone/>
              <a:defRPr sz="3600"/>
            </a:lvl7pPr>
            <a:lvl8pPr lvl="7" rtl="0">
              <a:spcBef>
                <a:spcPts val="0"/>
              </a:spcBef>
              <a:spcAft>
                <a:spcPts val="0"/>
              </a:spcAft>
              <a:buSzPts val="3600"/>
              <a:buNone/>
              <a:defRPr sz="3600"/>
            </a:lvl8pPr>
            <a:lvl9pPr lvl="8" rtl="0">
              <a:spcBef>
                <a:spcPts val="0"/>
              </a:spcBef>
              <a:spcAft>
                <a:spcPts val="0"/>
              </a:spcAft>
              <a:buSzPts val="3600"/>
              <a:buNone/>
              <a:defRPr sz="3600"/>
            </a:lvl9pPr>
          </a:lstStyle>
          <a:p>
            <a:endParaRPr/>
          </a:p>
        </p:txBody>
      </p:sp>
      <p:sp>
        <p:nvSpPr>
          <p:cNvPr id="508" name="Google Shape;508;p40"/>
          <p:cNvSpPr txBox="1">
            <a:spLocks noGrp="1"/>
          </p:cNvSpPr>
          <p:nvPr>
            <p:ph type="subTitle" idx="3"/>
          </p:nvPr>
        </p:nvSpPr>
        <p:spPr>
          <a:xfrm>
            <a:off x="15971125" y="3295450"/>
            <a:ext cx="3469500" cy="1374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2200"/>
              <a:buFont typeface="Open Sans"/>
              <a:buNone/>
              <a:defRPr sz="2200">
                <a:solidFill>
                  <a:schemeClr val="lt1"/>
                </a:solidFill>
                <a:latin typeface="Open Sans"/>
                <a:ea typeface="Open Sans"/>
                <a:cs typeface="Open Sans"/>
                <a:sym typeface="Open Sans"/>
              </a:defRPr>
            </a:lvl1pPr>
            <a:lvl2pPr lvl="1" rtl="0">
              <a:spcBef>
                <a:spcPts val="0"/>
              </a:spcBef>
              <a:spcAft>
                <a:spcPts val="0"/>
              </a:spcAft>
              <a:buClr>
                <a:schemeClr val="lt1"/>
              </a:buClr>
              <a:buSzPts val="2200"/>
              <a:buNone/>
              <a:defRPr sz="2200">
                <a:solidFill>
                  <a:schemeClr val="lt1"/>
                </a:solidFill>
              </a:defRPr>
            </a:lvl2pPr>
            <a:lvl3pPr lvl="2" rtl="0">
              <a:spcBef>
                <a:spcPts val="0"/>
              </a:spcBef>
              <a:spcAft>
                <a:spcPts val="0"/>
              </a:spcAft>
              <a:buClr>
                <a:schemeClr val="lt1"/>
              </a:buClr>
              <a:buSzPts val="2200"/>
              <a:buNone/>
              <a:defRPr sz="2200">
                <a:solidFill>
                  <a:schemeClr val="lt1"/>
                </a:solidFill>
              </a:defRPr>
            </a:lvl3pPr>
            <a:lvl4pPr lvl="3" rtl="0">
              <a:spcBef>
                <a:spcPts val="0"/>
              </a:spcBef>
              <a:spcAft>
                <a:spcPts val="0"/>
              </a:spcAft>
              <a:buClr>
                <a:schemeClr val="lt1"/>
              </a:buClr>
              <a:buSzPts val="2200"/>
              <a:buNone/>
              <a:defRPr sz="2200">
                <a:solidFill>
                  <a:schemeClr val="lt1"/>
                </a:solidFill>
              </a:defRPr>
            </a:lvl4pPr>
            <a:lvl5pPr lvl="4" rtl="0">
              <a:spcBef>
                <a:spcPts val="0"/>
              </a:spcBef>
              <a:spcAft>
                <a:spcPts val="0"/>
              </a:spcAft>
              <a:buClr>
                <a:schemeClr val="lt1"/>
              </a:buClr>
              <a:buSzPts val="2200"/>
              <a:buNone/>
              <a:defRPr sz="2200">
                <a:solidFill>
                  <a:schemeClr val="lt1"/>
                </a:solidFill>
              </a:defRPr>
            </a:lvl5pPr>
            <a:lvl6pPr lvl="5" rtl="0">
              <a:spcBef>
                <a:spcPts val="0"/>
              </a:spcBef>
              <a:spcAft>
                <a:spcPts val="0"/>
              </a:spcAft>
              <a:buClr>
                <a:schemeClr val="lt1"/>
              </a:buClr>
              <a:buSzPts val="2200"/>
              <a:buNone/>
              <a:defRPr sz="2200">
                <a:solidFill>
                  <a:schemeClr val="lt1"/>
                </a:solidFill>
              </a:defRPr>
            </a:lvl6pPr>
            <a:lvl7pPr lvl="6" rtl="0">
              <a:spcBef>
                <a:spcPts val="0"/>
              </a:spcBef>
              <a:spcAft>
                <a:spcPts val="0"/>
              </a:spcAft>
              <a:buClr>
                <a:schemeClr val="lt1"/>
              </a:buClr>
              <a:buSzPts val="2200"/>
              <a:buNone/>
              <a:defRPr sz="2200">
                <a:solidFill>
                  <a:schemeClr val="lt1"/>
                </a:solidFill>
              </a:defRPr>
            </a:lvl7pPr>
            <a:lvl8pPr lvl="7" rtl="0">
              <a:spcBef>
                <a:spcPts val="0"/>
              </a:spcBef>
              <a:spcAft>
                <a:spcPts val="0"/>
              </a:spcAft>
              <a:buClr>
                <a:schemeClr val="lt1"/>
              </a:buClr>
              <a:buSzPts val="2200"/>
              <a:buNone/>
              <a:defRPr sz="2200">
                <a:solidFill>
                  <a:schemeClr val="lt1"/>
                </a:solidFill>
              </a:defRPr>
            </a:lvl8pPr>
            <a:lvl9pPr lvl="8" rtl="0">
              <a:spcBef>
                <a:spcPts val="0"/>
              </a:spcBef>
              <a:spcAft>
                <a:spcPts val="0"/>
              </a:spcAft>
              <a:buClr>
                <a:schemeClr val="lt1"/>
              </a:buClr>
              <a:buSzPts val="2200"/>
              <a:buNone/>
              <a:defRPr sz="2200">
                <a:solidFill>
                  <a:schemeClr val="lt1"/>
                </a:solidFill>
              </a:defRPr>
            </a:lvl9pPr>
          </a:lstStyle>
          <a:p>
            <a:endParaRPr/>
          </a:p>
        </p:txBody>
      </p:sp>
      <p:sp>
        <p:nvSpPr>
          <p:cNvPr id="509" name="Google Shape;509;p40"/>
          <p:cNvSpPr txBox="1">
            <a:spLocks noGrp="1"/>
          </p:cNvSpPr>
          <p:nvPr>
            <p:ph type="title" idx="4"/>
          </p:nvPr>
        </p:nvSpPr>
        <p:spPr>
          <a:xfrm>
            <a:off x="14418625" y="9056800"/>
            <a:ext cx="9129600" cy="849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3600"/>
              <a:buFont typeface="Montserrat Black"/>
              <a:buNone/>
              <a:defRPr sz="3600">
                <a:solidFill>
                  <a:schemeClr val="lt1"/>
                </a:solidFill>
                <a:latin typeface="Montserrat Black"/>
                <a:ea typeface="Montserrat Black"/>
                <a:cs typeface="Montserrat Black"/>
                <a:sym typeface="Montserrat Black"/>
              </a:defRPr>
            </a:lvl1pPr>
            <a:lvl2pPr lvl="1" rtl="0">
              <a:spcBef>
                <a:spcPts val="0"/>
              </a:spcBef>
              <a:spcAft>
                <a:spcPts val="0"/>
              </a:spcAft>
              <a:buSzPts val="3600"/>
              <a:buNone/>
              <a:defRPr sz="3600"/>
            </a:lvl2pPr>
            <a:lvl3pPr lvl="2" rtl="0">
              <a:spcBef>
                <a:spcPts val="0"/>
              </a:spcBef>
              <a:spcAft>
                <a:spcPts val="0"/>
              </a:spcAft>
              <a:buSzPts val="3600"/>
              <a:buNone/>
              <a:defRPr sz="3600"/>
            </a:lvl3pPr>
            <a:lvl4pPr lvl="3" rtl="0">
              <a:spcBef>
                <a:spcPts val="0"/>
              </a:spcBef>
              <a:spcAft>
                <a:spcPts val="0"/>
              </a:spcAft>
              <a:buSzPts val="3600"/>
              <a:buNone/>
              <a:defRPr sz="3600"/>
            </a:lvl4pPr>
            <a:lvl5pPr lvl="4" rtl="0">
              <a:spcBef>
                <a:spcPts val="0"/>
              </a:spcBef>
              <a:spcAft>
                <a:spcPts val="0"/>
              </a:spcAft>
              <a:buSzPts val="3600"/>
              <a:buNone/>
              <a:defRPr sz="3600"/>
            </a:lvl5pPr>
            <a:lvl6pPr lvl="5" rtl="0">
              <a:spcBef>
                <a:spcPts val="0"/>
              </a:spcBef>
              <a:spcAft>
                <a:spcPts val="0"/>
              </a:spcAft>
              <a:buSzPts val="3600"/>
              <a:buNone/>
              <a:defRPr sz="3600"/>
            </a:lvl6pPr>
            <a:lvl7pPr lvl="6" rtl="0">
              <a:spcBef>
                <a:spcPts val="0"/>
              </a:spcBef>
              <a:spcAft>
                <a:spcPts val="0"/>
              </a:spcAft>
              <a:buSzPts val="3600"/>
              <a:buNone/>
              <a:defRPr sz="3600"/>
            </a:lvl7pPr>
            <a:lvl8pPr lvl="7" rtl="0">
              <a:spcBef>
                <a:spcPts val="0"/>
              </a:spcBef>
              <a:spcAft>
                <a:spcPts val="0"/>
              </a:spcAft>
              <a:buSzPts val="3600"/>
              <a:buNone/>
              <a:defRPr sz="3600"/>
            </a:lvl8pPr>
            <a:lvl9pPr lvl="8" rtl="0">
              <a:spcBef>
                <a:spcPts val="0"/>
              </a:spcBef>
              <a:spcAft>
                <a:spcPts val="0"/>
              </a:spcAft>
              <a:buSzPts val="3600"/>
              <a:buNone/>
              <a:defRPr sz="3600"/>
            </a:lvl9pPr>
          </a:lstStyle>
          <a:p>
            <a:endParaRPr/>
          </a:p>
        </p:txBody>
      </p:sp>
      <p:sp>
        <p:nvSpPr>
          <p:cNvPr id="510" name="Google Shape;510;p40"/>
          <p:cNvSpPr txBox="1">
            <a:spLocks noGrp="1"/>
          </p:cNvSpPr>
          <p:nvPr>
            <p:ph type="subTitle" idx="5"/>
          </p:nvPr>
        </p:nvSpPr>
        <p:spPr>
          <a:xfrm>
            <a:off x="14466175" y="9753400"/>
            <a:ext cx="3583800" cy="1515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2200"/>
              <a:buFont typeface="Open Sans"/>
              <a:buNone/>
              <a:defRPr sz="2200">
                <a:solidFill>
                  <a:schemeClr val="lt1"/>
                </a:solidFill>
                <a:latin typeface="Open Sans"/>
                <a:ea typeface="Open Sans"/>
                <a:cs typeface="Open Sans"/>
                <a:sym typeface="Open Sans"/>
              </a:defRPr>
            </a:lvl1pPr>
            <a:lvl2pPr lvl="1" rtl="0">
              <a:spcBef>
                <a:spcPts val="0"/>
              </a:spcBef>
              <a:spcAft>
                <a:spcPts val="0"/>
              </a:spcAft>
              <a:buClr>
                <a:schemeClr val="lt1"/>
              </a:buClr>
              <a:buSzPts val="2200"/>
              <a:buNone/>
              <a:defRPr sz="2200">
                <a:solidFill>
                  <a:schemeClr val="lt1"/>
                </a:solidFill>
              </a:defRPr>
            </a:lvl2pPr>
            <a:lvl3pPr lvl="2" rtl="0">
              <a:spcBef>
                <a:spcPts val="0"/>
              </a:spcBef>
              <a:spcAft>
                <a:spcPts val="0"/>
              </a:spcAft>
              <a:buClr>
                <a:schemeClr val="lt1"/>
              </a:buClr>
              <a:buSzPts val="2200"/>
              <a:buNone/>
              <a:defRPr sz="2200">
                <a:solidFill>
                  <a:schemeClr val="lt1"/>
                </a:solidFill>
              </a:defRPr>
            </a:lvl3pPr>
            <a:lvl4pPr lvl="3" rtl="0">
              <a:spcBef>
                <a:spcPts val="0"/>
              </a:spcBef>
              <a:spcAft>
                <a:spcPts val="0"/>
              </a:spcAft>
              <a:buClr>
                <a:schemeClr val="lt1"/>
              </a:buClr>
              <a:buSzPts val="2200"/>
              <a:buNone/>
              <a:defRPr sz="2200">
                <a:solidFill>
                  <a:schemeClr val="lt1"/>
                </a:solidFill>
              </a:defRPr>
            </a:lvl4pPr>
            <a:lvl5pPr lvl="4" rtl="0">
              <a:spcBef>
                <a:spcPts val="0"/>
              </a:spcBef>
              <a:spcAft>
                <a:spcPts val="0"/>
              </a:spcAft>
              <a:buClr>
                <a:schemeClr val="lt1"/>
              </a:buClr>
              <a:buSzPts val="2200"/>
              <a:buNone/>
              <a:defRPr sz="2200">
                <a:solidFill>
                  <a:schemeClr val="lt1"/>
                </a:solidFill>
              </a:defRPr>
            </a:lvl5pPr>
            <a:lvl6pPr lvl="5" rtl="0">
              <a:spcBef>
                <a:spcPts val="0"/>
              </a:spcBef>
              <a:spcAft>
                <a:spcPts val="0"/>
              </a:spcAft>
              <a:buClr>
                <a:schemeClr val="lt1"/>
              </a:buClr>
              <a:buSzPts val="2200"/>
              <a:buNone/>
              <a:defRPr sz="2200">
                <a:solidFill>
                  <a:schemeClr val="lt1"/>
                </a:solidFill>
              </a:defRPr>
            </a:lvl6pPr>
            <a:lvl7pPr lvl="6" rtl="0">
              <a:spcBef>
                <a:spcPts val="0"/>
              </a:spcBef>
              <a:spcAft>
                <a:spcPts val="0"/>
              </a:spcAft>
              <a:buClr>
                <a:schemeClr val="lt1"/>
              </a:buClr>
              <a:buSzPts val="2200"/>
              <a:buNone/>
              <a:defRPr sz="2200">
                <a:solidFill>
                  <a:schemeClr val="lt1"/>
                </a:solidFill>
              </a:defRPr>
            </a:lvl7pPr>
            <a:lvl8pPr lvl="7" rtl="0">
              <a:spcBef>
                <a:spcPts val="0"/>
              </a:spcBef>
              <a:spcAft>
                <a:spcPts val="0"/>
              </a:spcAft>
              <a:buClr>
                <a:schemeClr val="lt1"/>
              </a:buClr>
              <a:buSzPts val="2200"/>
              <a:buNone/>
              <a:defRPr sz="2200">
                <a:solidFill>
                  <a:schemeClr val="lt1"/>
                </a:solidFill>
              </a:defRPr>
            </a:lvl8pPr>
            <a:lvl9pPr lvl="8" rtl="0">
              <a:spcBef>
                <a:spcPts val="0"/>
              </a:spcBef>
              <a:spcAft>
                <a:spcPts val="0"/>
              </a:spcAft>
              <a:buClr>
                <a:schemeClr val="lt1"/>
              </a:buClr>
              <a:buSzPts val="2200"/>
              <a:buNone/>
              <a:defRPr sz="2200">
                <a:solidFill>
                  <a:schemeClr val="lt1"/>
                </a:solidFill>
              </a:defRPr>
            </a:lvl9pPr>
          </a:lstStyle>
          <a:p>
            <a:endParaRPr/>
          </a:p>
        </p:txBody>
      </p:sp>
      <p:sp>
        <p:nvSpPr>
          <p:cNvPr id="511" name="Google Shape;511;p40"/>
          <p:cNvSpPr txBox="1">
            <a:spLocks noGrp="1"/>
          </p:cNvSpPr>
          <p:nvPr>
            <p:ph type="title" idx="6"/>
          </p:nvPr>
        </p:nvSpPr>
        <p:spPr>
          <a:xfrm>
            <a:off x="19714525" y="6877050"/>
            <a:ext cx="9129600" cy="849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3600"/>
              <a:buFont typeface="Montserrat Black"/>
              <a:buNone/>
              <a:defRPr sz="3600">
                <a:solidFill>
                  <a:schemeClr val="lt1"/>
                </a:solidFill>
                <a:latin typeface="Montserrat Black"/>
                <a:ea typeface="Montserrat Black"/>
                <a:cs typeface="Montserrat Black"/>
                <a:sym typeface="Montserrat Black"/>
              </a:defRPr>
            </a:lvl1pPr>
            <a:lvl2pPr lvl="1" rtl="0">
              <a:spcBef>
                <a:spcPts val="0"/>
              </a:spcBef>
              <a:spcAft>
                <a:spcPts val="0"/>
              </a:spcAft>
              <a:buSzPts val="3600"/>
              <a:buNone/>
              <a:defRPr sz="3600"/>
            </a:lvl2pPr>
            <a:lvl3pPr lvl="2" rtl="0">
              <a:spcBef>
                <a:spcPts val="0"/>
              </a:spcBef>
              <a:spcAft>
                <a:spcPts val="0"/>
              </a:spcAft>
              <a:buSzPts val="3600"/>
              <a:buNone/>
              <a:defRPr sz="3600"/>
            </a:lvl3pPr>
            <a:lvl4pPr lvl="3" rtl="0">
              <a:spcBef>
                <a:spcPts val="0"/>
              </a:spcBef>
              <a:spcAft>
                <a:spcPts val="0"/>
              </a:spcAft>
              <a:buSzPts val="3600"/>
              <a:buNone/>
              <a:defRPr sz="3600"/>
            </a:lvl4pPr>
            <a:lvl5pPr lvl="4" rtl="0">
              <a:spcBef>
                <a:spcPts val="0"/>
              </a:spcBef>
              <a:spcAft>
                <a:spcPts val="0"/>
              </a:spcAft>
              <a:buSzPts val="3600"/>
              <a:buNone/>
              <a:defRPr sz="3600"/>
            </a:lvl5pPr>
            <a:lvl6pPr lvl="5" rtl="0">
              <a:spcBef>
                <a:spcPts val="0"/>
              </a:spcBef>
              <a:spcAft>
                <a:spcPts val="0"/>
              </a:spcAft>
              <a:buSzPts val="3600"/>
              <a:buNone/>
              <a:defRPr sz="3600"/>
            </a:lvl6pPr>
            <a:lvl7pPr lvl="6" rtl="0">
              <a:spcBef>
                <a:spcPts val="0"/>
              </a:spcBef>
              <a:spcAft>
                <a:spcPts val="0"/>
              </a:spcAft>
              <a:buSzPts val="3600"/>
              <a:buNone/>
              <a:defRPr sz="3600"/>
            </a:lvl7pPr>
            <a:lvl8pPr lvl="7" rtl="0">
              <a:spcBef>
                <a:spcPts val="0"/>
              </a:spcBef>
              <a:spcAft>
                <a:spcPts val="0"/>
              </a:spcAft>
              <a:buSzPts val="3600"/>
              <a:buNone/>
              <a:defRPr sz="3600"/>
            </a:lvl8pPr>
            <a:lvl9pPr lvl="8" rtl="0">
              <a:spcBef>
                <a:spcPts val="0"/>
              </a:spcBef>
              <a:spcAft>
                <a:spcPts val="0"/>
              </a:spcAft>
              <a:buSzPts val="3600"/>
              <a:buNone/>
              <a:defRPr sz="3600"/>
            </a:lvl9pPr>
          </a:lstStyle>
          <a:p>
            <a:endParaRPr/>
          </a:p>
        </p:txBody>
      </p:sp>
      <p:sp>
        <p:nvSpPr>
          <p:cNvPr id="512" name="Google Shape;512;p40"/>
          <p:cNvSpPr txBox="1">
            <a:spLocks noGrp="1"/>
          </p:cNvSpPr>
          <p:nvPr>
            <p:ph type="subTitle" idx="7"/>
          </p:nvPr>
        </p:nvSpPr>
        <p:spPr>
          <a:xfrm>
            <a:off x="19762075" y="7573650"/>
            <a:ext cx="3469500" cy="11079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2200"/>
              <a:buFont typeface="Open Sans"/>
              <a:buNone/>
              <a:defRPr sz="2200">
                <a:solidFill>
                  <a:schemeClr val="lt1"/>
                </a:solidFill>
                <a:latin typeface="Open Sans"/>
                <a:ea typeface="Open Sans"/>
                <a:cs typeface="Open Sans"/>
                <a:sym typeface="Open Sans"/>
              </a:defRPr>
            </a:lvl1pPr>
            <a:lvl2pPr lvl="1" rtl="0">
              <a:spcBef>
                <a:spcPts val="0"/>
              </a:spcBef>
              <a:spcAft>
                <a:spcPts val="0"/>
              </a:spcAft>
              <a:buClr>
                <a:schemeClr val="lt1"/>
              </a:buClr>
              <a:buSzPts val="2200"/>
              <a:buNone/>
              <a:defRPr sz="2200">
                <a:solidFill>
                  <a:schemeClr val="lt1"/>
                </a:solidFill>
              </a:defRPr>
            </a:lvl2pPr>
            <a:lvl3pPr lvl="2" rtl="0">
              <a:spcBef>
                <a:spcPts val="0"/>
              </a:spcBef>
              <a:spcAft>
                <a:spcPts val="0"/>
              </a:spcAft>
              <a:buClr>
                <a:schemeClr val="lt1"/>
              </a:buClr>
              <a:buSzPts val="2200"/>
              <a:buNone/>
              <a:defRPr sz="2200">
                <a:solidFill>
                  <a:schemeClr val="lt1"/>
                </a:solidFill>
              </a:defRPr>
            </a:lvl3pPr>
            <a:lvl4pPr lvl="3" rtl="0">
              <a:spcBef>
                <a:spcPts val="0"/>
              </a:spcBef>
              <a:spcAft>
                <a:spcPts val="0"/>
              </a:spcAft>
              <a:buClr>
                <a:schemeClr val="lt1"/>
              </a:buClr>
              <a:buSzPts val="2200"/>
              <a:buNone/>
              <a:defRPr sz="2200">
                <a:solidFill>
                  <a:schemeClr val="lt1"/>
                </a:solidFill>
              </a:defRPr>
            </a:lvl4pPr>
            <a:lvl5pPr lvl="4" rtl="0">
              <a:spcBef>
                <a:spcPts val="0"/>
              </a:spcBef>
              <a:spcAft>
                <a:spcPts val="0"/>
              </a:spcAft>
              <a:buClr>
                <a:schemeClr val="lt1"/>
              </a:buClr>
              <a:buSzPts val="2200"/>
              <a:buNone/>
              <a:defRPr sz="2200">
                <a:solidFill>
                  <a:schemeClr val="lt1"/>
                </a:solidFill>
              </a:defRPr>
            </a:lvl5pPr>
            <a:lvl6pPr lvl="5" rtl="0">
              <a:spcBef>
                <a:spcPts val="0"/>
              </a:spcBef>
              <a:spcAft>
                <a:spcPts val="0"/>
              </a:spcAft>
              <a:buClr>
                <a:schemeClr val="lt1"/>
              </a:buClr>
              <a:buSzPts val="2200"/>
              <a:buNone/>
              <a:defRPr sz="2200">
                <a:solidFill>
                  <a:schemeClr val="lt1"/>
                </a:solidFill>
              </a:defRPr>
            </a:lvl6pPr>
            <a:lvl7pPr lvl="6" rtl="0">
              <a:spcBef>
                <a:spcPts val="0"/>
              </a:spcBef>
              <a:spcAft>
                <a:spcPts val="0"/>
              </a:spcAft>
              <a:buClr>
                <a:schemeClr val="lt1"/>
              </a:buClr>
              <a:buSzPts val="2200"/>
              <a:buNone/>
              <a:defRPr sz="2200">
                <a:solidFill>
                  <a:schemeClr val="lt1"/>
                </a:solidFill>
              </a:defRPr>
            </a:lvl7pPr>
            <a:lvl8pPr lvl="7" rtl="0">
              <a:spcBef>
                <a:spcPts val="0"/>
              </a:spcBef>
              <a:spcAft>
                <a:spcPts val="0"/>
              </a:spcAft>
              <a:buClr>
                <a:schemeClr val="lt1"/>
              </a:buClr>
              <a:buSzPts val="2200"/>
              <a:buNone/>
              <a:defRPr sz="2200">
                <a:solidFill>
                  <a:schemeClr val="lt1"/>
                </a:solidFill>
              </a:defRPr>
            </a:lvl8pPr>
            <a:lvl9pPr lvl="8" rtl="0">
              <a:spcBef>
                <a:spcPts val="0"/>
              </a:spcBef>
              <a:spcAft>
                <a:spcPts val="0"/>
              </a:spcAft>
              <a:buClr>
                <a:schemeClr val="lt1"/>
              </a:buClr>
              <a:buSzPts val="2200"/>
              <a:buNone/>
              <a:defRPr sz="2200">
                <a:solidFill>
                  <a:schemeClr val="lt1"/>
                </a:solidFill>
              </a:defRPr>
            </a:lvl9pPr>
          </a:lstStyle>
          <a:p>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Quote">
  <p:cSld name="Quote">
    <p:spTree>
      <p:nvGrpSpPr>
        <p:cNvPr id="1" name="Shape 513"/>
        <p:cNvGrpSpPr/>
        <p:nvPr/>
      </p:nvGrpSpPr>
      <p:grpSpPr>
        <a:xfrm>
          <a:off x="0" y="0"/>
          <a:ext cx="0" cy="0"/>
          <a:chOff x="0" y="0"/>
          <a:chExt cx="0" cy="0"/>
        </a:xfrm>
      </p:grpSpPr>
      <p:pic>
        <p:nvPicPr>
          <p:cNvPr id="514" name="Google Shape;514;p41"/>
          <p:cNvPicPr preferRelativeResize="0"/>
          <p:nvPr/>
        </p:nvPicPr>
        <p:blipFill rotWithShape="1">
          <a:blip r:embed="rId2">
            <a:alphaModFix/>
          </a:blip>
          <a:srcRect l="1839" r="1849"/>
          <a:stretch/>
        </p:blipFill>
        <p:spPr>
          <a:xfrm>
            <a:off x="12694300" y="-76200"/>
            <a:ext cx="12816425" cy="14175926"/>
          </a:xfrm>
          <a:prstGeom prst="rect">
            <a:avLst/>
          </a:prstGeom>
          <a:noFill/>
          <a:ln>
            <a:noFill/>
          </a:ln>
        </p:spPr>
      </p:pic>
      <p:pic>
        <p:nvPicPr>
          <p:cNvPr id="515" name="Google Shape;515;p41"/>
          <p:cNvPicPr preferRelativeResize="0"/>
          <p:nvPr/>
        </p:nvPicPr>
        <p:blipFill rotWithShape="1">
          <a:blip r:embed="rId3">
            <a:alphaModFix/>
          </a:blip>
          <a:srcRect/>
          <a:stretch/>
        </p:blipFill>
        <p:spPr>
          <a:xfrm>
            <a:off x="105175" y="-120050"/>
            <a:ext cx="16886927" cy="13836050"/>
          </a:xfrm>
          <a:prstGeom prst="rect">
            <a:avLst/>
          </a:prstGeom>
          <a:noFill/>
          <a:ln>
            <a:noFill/>
          </a:ln>
        </p:spPr>
      </p:pic>
      <p:sp>
        <p:nvSpPr>
          <p:cNvPr id="516" name="Google Shape;516;p41"/>
          <p:cNvSpPr/>
          <p:nvPr/>
        </p:nvSpPr>
        <p:spPr>
          <a:xfrm>
            <a:off x="3093025" y="3550400"/>
            <a:ext cx="17986500" cy="5976300"/>
          </a:xfrm>
          <a:prstGeom prst="rect">
            <a:avLst/>
          </a:prstGeom>
          <a:noFill/>
          <a:ln w="228600" cap="flat" cmpd="sng">
            <a:solidFill>
              <a:srgbClr val="C1F4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517" name="Google Shape;517;p41"/>
          <p:cNvSpPr txBox="1"/>
          <p:nvPr/>
        </p:nvSpPr>
        <p:spPr>
          <a:xfrm>
            <a:off x="4239400" y="1975500"/>
            <a:ext cx="3000000" cy="4602300"/>
          </a:xfrm>
          <a:prstGeom prst="rect">
            <a:avLst/>
          </a:prstGeom>
          <a:solidFill>
            <a:srgbClr val="002A44"/>
          </a:solid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28700" b="1">
                <a:solidFill>
                  <a:srgbClr val="C1F400"/>
                </a:solidFill>
                <a:latin typeface="Century Gothic"/>
                <a:ea typeface="Century Gothic"/>
                <a:cs typeface="Century Gothic"/>
                <a:sym typeface="Century Gothic"/>
              </a:rPr>
              <a:t>“</a:t>
            </a:r>
            <a:endParaRPr>
              <a:solidFill>
                <a:srgbClr val="C1F400"/>
              </a:solidFill>
            </a:endParaRPr>
          </a:p>
        </p:txBody>
      </p:sp>
      <p:sp>
        <p:nvSpPr>
          <p:cNvPr id="518" name="Google Shape;518;p41"/>
          <p:cNvSpPr/>
          <p:nvPr/>
        </p:nvSpPr>
        <p:spPr>
          <a:xfrm>
            <a:off x="22412037" y="536597"/>
            <a:ext cx="1515111" cy="1515111"/>
          </a:xfrm>
          <a:custGeom>
            <a:avLst/>
            <a:gdLst/>
            <a:ahLst/>
            <a:cxnLst/>
            <a:rect l="l" t="t" r="r" b="b"/>
            <a:pathLst>
              <a:path w="1137044" h="1137044" extrusionOk="0">
                <a:moveTo>
                  <a:pt x="0" y="0"/>
                </a:moveTo>
                <a:lnTo>
                  <a:pt x="1137044" y="0"/>
                </a:lnTo>
                <a:lnTo>
                  <a:pt x="1137044" y="1137044"/>
                </a:lnTo>
                <a:lnTo>
                  <a:pt x="0" y="1137044"/>
                </a:lnTo>
                <a:lnTo>
                  <a:pt x="0" y="0"/>
                </a:lnTo>
                <a:close/>
              </a:path>
            </a:pathLst>
          </a:custGeom>
          <a:blipFill rotWithShape="1">
            <a:blip r:embed="rId4">
              <a:alphaModFix/>
            </a:blip>
            <a:stretch>
              <a:fillRect/>
            </a:stretch>
          </a:blipFill>
          <a:ln>
            <a:noFill/>
          </a:ln>
        </p:spPr>
      </p:sp>
      <p:sp>
        <p:nvSpPr>
          <p:cNvPr id="519" name="Google Shape;519;p41"/>
          <p:cNvSpPr txBox="1">
            <a:spLocks noGrp="1"/>
          </p:cNvSpPr>
          <p:nvPr>
            <p:ph type="title"/>
          </p:nvPr>
        </p:nvSpPr>
        <p:spPr>
          <a:xfrm>
            <a:off x="3759125" y="4274225"/>
            <a:ext cx="16554600" cy="4602300"/>
          </a:xfrm>
          <a:prstGeom prst="rect">
            <a:avLst/>
          </a:prstGeom>
          <a:noFill/>
          <a:ln>
            <a:noFill/>
          </a:ln>
        </p:spPr>
        <p:txBody>
          <a:bodyPr spcFirstLastPara="1" wrap="square" lIns="91425" tIns="91425" rIns="91425" bIns="91425" anchor="t" anchorCtr="0">
            <a:normAutofit/>
          </a:bodyPr>
          <a:lstStyle>
            <a:lvl1pPr lvl="0" rtl="0">
              <a:spcBef>
                <a:spcPts val="0"/>
              </a:spcBef>
              <a:spcAft>
                <a:spcPts val="0"/>
              </a:spcAft>
              <a:buClr>
                <a:schemeClr val="lt1"/>
              </a:buClr>
              <a:buSzPts val="8400"/>
              <a:buFont typeface="Montserrat Black"/>
              <a:buNone/>
              <a:defRPr sz="8400">
                <a:solidFill>
                  <a:schemeClr val="lt1"/>
                </a:solidFill>
                <a:latin typeface="Montserrat Black"/>
                <a:ea typeface="Montserrat Black"/>
                <a:cs typeface="Montserrat Black"/>
                <a:sym typeface="Montserrat Black"/>
              </a:defRPr>
            </a:lvl1pPr>
            <a:lvl2pPr lvl="1" rtl="0">
              <a:spcBef>
                <a:spcPts val="0"/>
              </a:spcBef>
              <a:spcAft>
                <a:spcPts val="0"/>
              </a:spcAft>
              <a:buClr>
                <a:schemeClr val="lt1"/>
              </a:buClr>
              <a:buSzPts val="8400"/>
              <a:buNone/>
              <a:defRPr sz="8400">
                <a:solidFill>
                  <a:schemeClr val="lt1"/>
                </a:solidFill>
              </a:defRPr>
            </a:lvl2pPr>
            <a:lvl3pPr lvl="2" rtl="0">
              <a:spcBef>
                <a:spcPts val="0"/>
              </a:spcBef>
              <a:spcAft>
                <a:spcPts val="0"/>
              </a:spcAft>
              <a:buClr>
                <a:schemeClr val="lt1"/>
              </a:buClr>
              <a:buSzPts val="8400"/>
              <a:buNone/>
              <a:defRPr sz="8400">
                <a:solidFill>
                  <a:schemeClr val="lt1"/>
                </a:solidFill>
              </a:defRPr>
            </a:lvl3pPr>
            <a:lvl4pPr lvl="3" rtl="0">
              <a:spcBef>
                <a:spcPts val="0"/>
              </a:spcBef>
              <a:spcAft>
                <a:spcPts val="0"/>
              </a:spcAft>
              <a:buClr>
                <a:schemeClr val="lt1"/>
              </a:buClr>
              <a:buSzPts val="8400"/>
              <a:buNone/>
              <a:defRPr sz="8400">
                <a:solidFill>
                  <a:schemeClr val="lt1"/>
                </a:solidFill>
              </a:defRPr>
            </a:lvl4pPr>
            <a:lvl5pPr lvl="4" rtl="0">
              <a:spcBef>
                <a:spcPts val="0"/>
              </a:spcBef>
              <a:spcAft>
                <a:spcPts val="0"/>
              </a:spcAft>
              <a:buClr>
                <a:schemeClr val="lt1"/>
              </a:buClr>
              <a:buSzPts val="8400"/>
              <a:buNone/>
              <a:defRPr sz="8400">
                <a:solidFill>
                  <a:schemeClr val="lt1"/>
                </a:solidFill>
              </a:defRPr>
            </a:lvl5pPr>
            <a:lvl6pPr lvl="5" rtl="0">
              <a:spcBef>
                <a:spcPts val="0"/>
              </a:spcBef>
              <a:spcAft>
                <a:spcPts val="0"/>
              </a:spcAft>
              <a:buClr>
                <a:schemeClr val="lt1"/>
              </a:buClr>
              <a:buSzPts val="8400"/>
              <a:buNone/>
              <a:defRPr sz="8400">
                <a:solidFill>
                  <a:schemeClr val="lt1"/>
                </a:solidFill>
              </a:defRPr>
            </a:lvl6pPr>
            <a:lvl7pPr lvl="6" rtl="0">
              <a:spcBef>
                <a:spcPts val="0"/>
              </a:spcBef>
              <a:spcAft>
                <a:spcPts val="0"/>
              </a:spcAft>
              <a:buClr>
                <a:schemeClr val="lt1"/>
              </a:buClr>
              <a:buSzPts val="8400"/>
              <a:buNone/>
              <a:defRPr sz="8400">
                <a:solidFill>
                  <a:schemeClr val="lt1"/>
                </a:solidFill>
              </a:defRPr>
            </a:lvl7pPr>
            <a:lvl8pPr lvl="7" rtl="0">
              <a:spcBef>
                <a:spcPts val="0"/>
              </a:spcBef>
              <a:spcAft>
                <a:spcPts val="0"/>
              </a:spcAft>
              <a:buClr>
                <a:schemeClr val="lt1"/>
              </a:buClr>
              <a:buSzPts val="8400"/>
              <a:buNone/>
              <a:defRPr sz="8400">
                <a:solidFill>
                  <a:schemeClr val="lt1"/>
                </a:solidFill>
              </a:defRPr>
            </a:lvl8pPr>
            <a:lvl9pPr lvl="8" rtl="0">
              <a:spcBef>
                <a:spcPts val="0"/>
              </a:spcBef>
              <a:spcAft>
                <a:spcPts val="0"/>
              </a:spcAft>
              <a:buClr>
                <a:schemeClr val="lt1"/>
              </a:buClr>
              <a:buSzPts val="8400"/>
              <a:buNone/>
              <a:defRPr sz="8400">
                <a:solidFill>
                  <a:schemeClr val="lt1"/>
                </a:solidFill>
              </a:defRPr>
            </a:lvl9pPr>
          </a:lstStyle>
          <a:p>
            <a:endParaRPr/>
          </a:p>
        </p:txBody>
      </p:sp>
      <p:sp>
        <p:nvSpPr>
          <p:cNvPr id="520" name="Google Shape;520;p41"/>
          <p:cNvSpPr txBox="1">
            <a:spLocks noGrp="1"/>
          </p:cNvSpPr>
          <p:nvPr>
            <p:ph type="subTitle" idx="1"/>
          </p:nvPr>
        </p:nvSpPr>
        <p:spPr>
          <a:xfrm>
            <a:off x="3760100" y="10404100"/>
            <a:ext cx="8305800" cy="6477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3200"/>
              <a:buFont typeface="Montserrat SemiBold"/>
              <a:buNone/>
              <a:defRPr sz="3200">
                <a:solidFill>
                  <a:schemeClr val="lt1"/>
                </a:solidFill>
                <a:latin typeface="Montserrat SemiBold"/>
                <a:ea typeface="Montserrat SemiBold"/>
                <a:cs typeface="Montserrat SemiBold"/>
                <a:sym typeface="Montserrat SemiBold"/>
              </a:defRPr>
            </a:lvl1pPr>
            <a:lvl2pPr lvl="1" rtl="0">
              <a:spcBef>
                <a:spcPts val="0"/>
              </a:spcBef>
              <a:spcAft>
                <a:spcPts val="0"/>
              </a:spcAft>
              <a:buClr>
                <a:schemeClr val="lt1"/>
              </a:buClr>
              <a:buSzPts val="3200"/>
              <a:buFont typeface="Montserrat Black"/>
              <a:buNone/>
              <a:defRPr sz="3200">
                <a:solidFill>
                  <a:schemeClr val="lt1"/>
                </a:solidFill>
                <a:latin typeface="Montserrat Black"/>
                <a:ea typeface="Montserrat Black"/>
                <a:cs typeface="Montserrat Black"/>
                <a:sym typeface="Montserrat Black"/>
              </a:defRPr>
            </a:lvl2pPr>
            <a:lvl3pPr lvl="2" rtl="0">
              <a:spcBef>
                <a:spcPts val="0"/>
              </a:spcBef>
              <a:spcAft>
                <a:spcPts val="0"/>
              </a:spcAft>
              <a:buClr>
                <a:schemeClr val="lt1"/>
              </a:buClr>
              <a:buSzPts val="3200"/>
              <a:buFont typeface="Montserrat Black"/>
              <a:buNone/>
              <a:defRPr sz="3200">
                <a:solidFill>
                  <a:schemeClr val="lt1"/>
                </a:solidFill>
                <a:latin typeface="Montserrat Black"/>
                <a:ea typeface="Montserrat Black"/>
                <a:cs typeface="Montserrat Black"/>
                <a:sym typeface="Montserrat Black"/>
              </a:defRPr>
            </a:lvl3pPr>
            <a:lvl4pPr lvl="3" rtl="0">
              <a:spcBef>
                <a:spcPts val="0"/>
              </a:spcBef>
              <a:spcAft>
                <a:spcPts val="0"/>
              </a:spcAft>
              <a:buClr>
                <a:schemeClr val="lt1"/>
              </a:buClr>
              <a:buSzPts val="3200"/>
              <a:buFont typeface="Montserrat Black"/>
              <a:buNone/>
              <a:defRPr sz="3200">
                <a:solidFill>
                  <a:schemeClr val="lt1"/>
                </a:solidFill>
                <a:latin typeface="Montserrat Black"/>
                <a:ea typeface="Montserrat Black"/>
                <a:cs typeface="Montserrat Black"/>
                <a:sym typeface="Montserrat Black"/>
              </a:defRPr>
            </a:lvl4pPr>
            <a:lvl5pPr lvl="4" rtl="0">
              <a:spcBef>
                <a:spcPts val="0"/>
              </a:spcBef>
              <a:spcAft>
                <a:spcPts val="0"/>
              </a:spcAft>
              <a:buClr>
                <a:schemeClr val="lt1"/>
              </a:buClr>
              <a:buSzPts val="3200"/>
              <a:buFont typeface="Montserrat Black"/>
              <a:buNone/>
              <a:defRPr sz="3200">
                <a:solidFill>
                  <a:schemeClr val="lt1"/>
                </a:solidFill>
                <a:latin typeface="Montserrat Black"/>
                <a:ea typeface="Montserrat Black"/>
                <a:cs typeface="Montserrat Black"/>
                <a:sym typeface="Montserrat Black"/>
              </a:defRPr>
            </a:lvl5pPr>
            <a:lvl6pPr lvl="5" rtl="0">
              <a:spcBef>
                <a:spcPts val="0"/>
              </a:spcBef>
              <a:spcAft>
                <a:spcPts val="0"/>
              </a:spcAft>
              <a:buClr>
                <a:schemeClr val="lt1"/>
              </a:buClr>
              <a:buSzPts val="3200"/>
              <a:buFont typeface="Montserrat Black"/>
              <a:buNone/>
              <a:defRPr sz="3200">
                <a:solidFill>
                  <a:schemeClr val="lt1"/>
                </a:solidFill>
                <a:latin typeface="Montserrat Black"/>
                <a:ea typeface="Montserrat Black"/>
                <a:cs typeface="Montserrat Black"/>
                <a:sym typeface="Montserrat Black"/>
              </a:defRPr>
            </a:lvl6pPr>
            <a:lvl7pPr lvl="6" rtl="0">
              <a:spcBef>
                <a:spcPts val="0"/>
              </a:spcBef>
              <a:spcAft>
                <a:spcPts val="0"/>
              </a:spcAft>
              <a:buClr>
                <a:schemeClr val="lt1"/>
              </a:buClr>
              <a:buSzPts val="3200"/>
              <a:buFont typeface="Montserrat Black"/>
              <a:buNone/>
              <a:defRPr sz="3200">
                <a:solidFill>
                  <a:schemeClr val="lt1"/>
                </a:solidFill>
                <a:latin typeface="Montserrat Black"/>
                <a:ea typeface="Montserrat Black"/>
                <a:cs typeface="Montserrat Black"/>
                <a:sym typeface="Montserrat Black"/>
              </a:defRPr>
            </a:lvl7pPr>
            <a:lvl8pPr lvl="7" rtl="0">
              <a:spcBef>
                <a:spcPts val="0"/>
              </a:spcBef>
              <a:spcAft>
                <a:spcPts val="0"/>
              </a:spcAft>
              <a:buClr>
                <a:schemeClr val="lt1"/>
              </a:buClr>
              <a:buSzPts val="3200"/>
              <a:buFont typeface="Montserrat Black"/>
              <a:buNone/>
              <a:defRPr sz="3200">
                <a:solidFill>
                  <a:schemeClr val="lt1"/>
                </a:solidFill>
                <a:latin typeface="Montserrat Black"/>
                <a:ea typeface="Montserrat Black"/>
                <a:cs typeface="Montserrat Black"/>
                <a:sym typeface="Montserrat Black"/>
              </a:defRPr>
            </a:lvl8pPr>
            <a:lvl9pPr lvl="8" rtl="0">
              <a:spcBef>
                <a:spcPts val="0"/>
              </a:spcBef>
              <a:spcAft>
                <a:spcPts val="0"/>
              </a:spcAft>
              <a:buClr>
                <a:schemeClr val="lt1"/>
              </a:buClr>
              <a:buSzPts val="3200"/>
              <a:buFont typeface="Montserrat Black"/>
              <a:buNone/>
              <a:defRPr sz="3200">
                <a:solidFill>
                  <a:schemeClr val="lt1"/>
                </a:solidFill>
                <a:latin typeface="Montserrat Black"/>
                <a:ea typeface="Montserrat Black"/>
                <a:cs typeface="Montserrat Black"/>
                <a:sym typeface="Montserrat Black"/>
              </a:defRPr>
            </a:lvl9pPr>
          </a:lstStyle>
          <a:p>
            <a:endParaRPr/>
          </a:p>
        </p:txBody>
      </p:sp>
      <p:sp>
        <p:nvSpPr>
          <p:cNvPr id="521" name="Google Shape;521;p41"/>
          <p:cNvSpPr txBox="1">
            <a:spLocks noGrp="1"/>
          </p:cNvSpPr>
          <p:nvPr>
            <p:ph type="subTitle" idx="2"/>
          </p:nvPr>
        </p:nvSpPr>
        <p:spPr>
          <a:xfrm>
            <a:off x="3760100" y="11051800"/>
            <a:ext cx="8305800" cy="6477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1pPr>
            <a:lvl2pPr lvl="1" rtl="0">
              <a:spcBef>
                <a:spcPts val="0"/>
              </a:spcBef>
              <a:spcAft>
                <a:spcPts val="0"/>
              </a:spcAft>
              <a:buClr>
                <a:schemeClr val="lt1"/>
              </a:buClr>
              <a:buSzPts val="2400"/>
              <a:buFont typeface="Open Sans"/>
              <a:buNone/>
              <a:defRPr sz="2400">
                <a:solidFill>
                  <a:schemeClr val="lt1"/>
                </a:solidFill>
                <a:latin typeface="Open Sans"/>
                <a:ea typeface="Open Sans"/>
                <a:cs typeface="Open Sans"/>
                <a:sym typeface="Open Sans"/>
              </a:defRPr>
            </a:lvl2pPr>
            <a:lvl3pPr lvl="2" rtl="0">
              <a:spcBef>
                <a:spcPts val="0"/>
              </a:spcBef>
              <a:spcAft>
                <a:spcPts val="0"/>
              </a:spcAft>
              <a:buClr>
                <a:schemeClr val="lt1"/>
              </a:buClr>
              <a:buSzPts val="2400"/>
              <a:buFont typeface="Open Sans"/>
              <a:buNone/>
              <a:defRPr sz="2400">
                <a:solidFill>
                  <a:schemeClr val="lt1"/>
                </a:solidFill>
                <a:latin typeface="Open Sans"/>
                <a:ea typeface="Open Sans"/>
                <a:cs typeface="Open Sans"/>
                <a:sym typeface="Open Sans"/>
              </a:defRPr>
            </a:lvl3pPr>
            <a:lvl4pPr lvl="3" rtl="0">
              <a:spcBef>
                <a:spcPts val="0"/>
              </a:spcBef>
              <a:spcAft>
                <a:spcPts val="0"/>
              </a:spcAft>
              <a:buClr>
                <a:schemeClr val="lt1"/>
              </a:buClr>
              <a:buSzPts val="2400"/>
              <a:buFont typeface="Open Sans"/>
              <a:buNone/>
              <a:defRPr sz="2400">
                <a:solidFill>
                  <a:schemeClr val="lt1"/>
                </a:solidFill>
                <a:latin typeface="Open Sans"/>
                <a:ea typeface="Open Sans"/>
                <a:cs typeface="Open Sans"/>
                <a:sym typeface="Open Sans"/>
              </a:defRPr>
            </a:lvl4pPr>
            <a:lvl5pPr lvl="4" rtl="0">
              <a:spcBef>
                <a:spcPts val="0"/>
              </a:spcBef>
              <a:spcAft>
                <a:spcPts val="0"/>
              </a:spcAft>
              <a:buClr>
                <a:schemeClr val="lt1"/>
              </a:buClr>
              <a:buSzPts val="2400"/>
              <a:buFont typeface="Open Sans"/>
              <a:buNone/>
              <a:defRPr sz="2400">
                <a:solidFill>
                  <a:schemeClr val="lt1"/>
                </a:solidFill>
                <a:latin typeface="Open Sans"/>
                <a:ea typeface="Open Sans"/>
                <a:cs typeface="Open Sans"/>
                <a:sym typeface="Open Sans"/>
              </a:defRPr>
            </a:lvl5pPr>
            <a:lvl6pPr lvl="5" rtl="0">
              <a:spcBef>
                <a:spcPts val="0"/>
              </a:spcBef>
              <a:spcAft>
                <a:spcPts val="0"/>
              </a:spcAft>
              <a:buClr>
                <a:schemeClr val="lt1"/>
              </a:buClr>
              <a:buSzPts val="2400"/>
              <a:buFont typeface="Open Sans"/>
              <a:buNone/>
              <a:defRPr sz="2400">
                <a:solidFill>
                  <a:schemeClr val="lt1"/>
                </a:solidFill>
                <a:latin typeface="Open Sans"/>
                <a:ea typeface="Open Sans"/>
                <a:cs typeface="Open Sans"/>
                <a:sym typeface="Open Sans"/>
              </a:defRPr>
            </a:lvl6pPr>
            <a:lvl7pPr lvl="6" rtl="0">
              <a:spcBef>
                <a:spcPts val="0"/>
              </a:spcBef>
              <a:spcAft>
                <a:spcPts val="0"/>
              </a:spcAft>
              <a:buClr>
                <a:schemeClr val="lt1"/>
              </a:buClr>
              <a:buSzPts val="2400"/>
              <a:buFont typeface="Open Sans"/>
              <a:buNone/>
              <a:defRPr sz="2400">
                <a:solidFill>
                  <a:schemeClr val="lt1"/>
                </a:solidFill>
                <a:latin typeface="Open Sans"/>
                <a:ea typeface="Open Sans"/>
                <a:cs typeface="Open Sans"/>
                <a:sym typeface="Open Sans"/>
              </a:defRPr>
            </a:lvl7pPr>
            <a:lvl8pPr lvl="7" rtl="0">
              <a:spcBef>
                <a:spcPts val="0"/>
              </a:spcBef>
              <a:spcAft>
                <a:spcPts val="0"/>
              </a:spcAft>
              <a:buClr>
                <a:schemeClr val="lt1"/>
              </a:buClr>
              <a:buSzPts val="2400"/>
              <a:buFont typeface="Open Sans"/>
              <a:buNone/>
              <a:defRPr sz="2400">
                <a:solidFill>
                  <a:schemeClr val="lt1"/>
                </a:solidFill>
                <a:latin typeface="Open Sans"/>
                <a:ea typeface="Open Sans"/>
                <a:cs typeface="Open Sans"/>
                <a:sym typeface="Open Sans"/>
              </a:defRPr>
            </a:lvl8pPr>
            <a:lvl9pPr lvl="8" rtl="0">
              <a:spcBef>
                <a:spcPts val="0"/>
              </a:spcBef>
              <a:spcAft>
                <a:spcPts val="0"/>
              </a:spcAft>
              <a:buClr>
                <a:schemeClr val="lt1"/>
              </a:buClr>
              <a:buSzPts val="2400"/>
              <a:buFont typeface="Open Sans"/>
              <a:buNone/>
              <a:defRPr sz="2400">
                <a:solidFill>
                  <a:schemeClr val="lt1"/>
                </a:solidFill>
                <a:latin typeface="Open Sans"/>
                <a:ea typeface="Open Sans"/>
                <a:cs typeface="Open Sans"/>
                <a:sym typeface="Open Sans"/>
              </a:defRPr>
            </a:lvl9pPr>
          </a:lstStyle>
          <a:p>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Three Bullet Points">
  <p:cSld name="Three Bullet Points">
    <p:bg>
      <p:bgPr>
        <a:solidFill>
          <a:srgbClr val="002A44"/>
        </a:solidFill>
        <a:effectLst/>
      </p:bgPr>
    </p:bg>
    <p:spTree>
      <p:nvGrpSpPr>
        <p:cNvPr id="1" name="Shape 522"/>
        <p:cNvGrpSpPr/>
        <p:nvPr/>
      </p:nvGrpSpPr>
      <p:grpSpPr>
        <a:xfrm>
          <a:off x="0" y="0"/>
          <a:ext cx="0" cy="0"/>
          <a:chOff x="0" y="0"/>
          <a:chExt cx="0" cy="0"/>
        </a:xfrm>
      </p:grpSpPr>
      <p:pic>
        <p:nvPicPr>
          <p:cNvPr id="523" name="Google Shape;523;p42"/>
          <p:cNvPicPr preferRelativeResize="0"/>
          <p:nvPr/>
        </p:nvPicPr>
        <p:blipFill rotWithShape="1">
          <a:blip r:embed="rId2">
            <a:alphaModFix/>
          </a:blip>
          <a:srcRect b="93557"/>
          <a:stretch/>
        </p:blipFill>
        <p:spPr>
          <a:xfrm>
            <a:off x="0" y="13111675"/>
            <a:ext cx="24377651" cy="604325"/>
          </a:xfrm>
          <a:prstGeom prst="rect">
            <a:avLst/>
          </a:prstGeom>
          <a:noFill/>
          <a:ln>
            <a:noFill/>
          </a:ln>
        </p:spPr>
      </p:pic>
      <p:sp>
        <p:nvSpPr>
          <p:cNvPr id="524" name="Google Shape;524;p42"/>
          <p:cNvSpPr/>
          <p:nvPr/>
        </p:nvSpPr>
        <p:spPr>
          <a:xfrm>
            <a:off x="22412037" y="536597"/>
            <a:ext cx="1515111" cy="1515111"/>
          </a:xfrm>
          <a:custGeom>
            <a:avLst/>
            <a:gdLst/>
            <a:ahLst/>
            <a:cxnLst/>
            <a:rect l="l" t="t" r="r" b="b"/>
            <a:pathLst>
              <a:path w="1137044" h="1137044" extrusionOk="0">
                <a:moveTo>
                  <a:pt x="0" y="0"/>
                </a:moveTo>
                <a:lnTo>
                  <a:pt x="1137044" y="0"/>
                </a:lnTo>
                <a:lnTo>
                  <a:pt x="1137044" y="1137044"/>
                </a:lnTo>
                <a:lnTo>
                  <a:pt x="0" y="1137044"/>
                </a:lnTo>
                <a:lnTo>
                  <a:pt x="0" y="0"/>
                </a:lnTo>
                <a:close/>
              </a:path>
            </a:pathLst>
          </a:custGeom>
          <a:blipFill rotWithShape="1">
            <a:blip r:embed="rId3">
              <a:alphaModFix/>
            </a:blip>
            <a:stretch>
              <a:fillRect/>
            </a:stretch>
          </a:blipFill>
          <a:ln>
            <a:noFill/>
          </a:ln>
        </p:spPr>
      </p:sp>
      <p:sp>
        <p:nvSpPr>
          <p:cNvPr id="525" name="Google Shape;525;p42"/>
          <p:cNvSpPr txBox="1">
            <a:spLocks noGrp="1"/>
          </p:cNvSpPr>
          <p:nvPr>
            <p:ph type="title"/>
          </p:nvPr>
        </p:nvSpPr>
        <p:spPr>
          <a:xfrm>
            <a:off x="1990350" y="2201850"/>
            <a:ext cx="19257600" cy="1370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7200"/>
              <a:buFont typeface="Montserrat Black"/>
              <a:buNone/>
              <a:defRPr sz="7200">
                <a:solidFill>
                  <a:schemeClr val="lt1"/>
                </a:solidFill>
                <a:latin typeface="Montserrat Black"/>
                <a:ea typeface="Montserrat Black"/>
                <a:cs typeface="Montserrat Black"/>
                <a:sym typeface="Montserrat Black"/>
              </a:defRPr>
            </a:lvl1pPr>
            <a:lvl2pPr lvl="1" rtl="0">
              <a:spcBef>
                <a:spcPts val="0"/>
              </a:spcBef>
              <a:spcAft>
                <a:spcPts val="0"/>
              </a:spcAft>
              <a:buClr>
                <a:schemeClr val="lt1"/>
              </a:buClr>
              <a:buSzPts val="7200"/>
              <a:buNone/>
              <a:defRPr sz="7200">
                <a:solidFill>
                  <a:schemeClr val="lt1"/>
                </a:solidFill>
              </a:defRPr>
            </a:lvl2pPr>
            <a:lvl3pPr lvl="2" rtl="0">
              <a:spcBef>
                <a:spcPts val="0"/>
              </a:spcBef>
              <a:spcAft>
                <a:spcPts val="0"/>
              </a:spcAft>
              <a:buClr>
                <a:schemeClr val="lt1"/>
              </a:buClr>
              <a:buSzPts val="7200"/>
              <a:buNone/>
              <a:defRPr sz="7200">
                <a:solidFill>
                  <a:schemeClr val="lt1"/>
                </a:solidFill>
              </a:defRPr>
            </a:lvl3pPr>
            <a:lvl4pPr lvl="3" rtl="0">
              <a:spcBef>
                <a:spcPts val="0"/>
              </a:spcBef>
              <a:spcAft>
                <a:spcPts val="0"/>
              </a:spcAft>
              <a:buClr>
                <a:schemeClr val="lt1"/>
              </a:buClr>
              <a:buSzPts val="7200"/>
              <a:buNone/>
              <a:defRPr sz="7200">
                <a:solidFill>
                  <a:schemeClr val="lt1"/>
                </a:solidFill>
              </a:defRPr>
            </a:lvl4pPr>
            <a:lvl5pPr lvl="4" rtl="0">
              <a:spcBef>
                <a:spcPts val="0"/>
              </a:spcBef>
              <a:spcAft>
                <a:spcPts val="0"/>
              </a:spcAft>
              <a:buClr>
                <a:schemeClr val="lt1"/>
              </a:buClr>
              <a:buSzPts val="7200"/>
              <a:buNone/>
              <a:defRPr sz="7200">
                <a:solidFill>
                  <a:schemeClr val="lt1"/>
                </a:solidFill>
              </a:defRPr>
            </a:lvl5pPr>
            <a:lvl6pPr lvl="5" rtl="0">
              <a:spcBef>
                <a:spcPts val="0"/>
              </a:spcBef>
              <a:spcAft>
                <a:spcPts val="0"/>
              </a:spcAft>
              <a:buClr>
                <a:schemeClr val="lt1"/>
              </a:buClr>
              <a:buSzPts val="7200"/>
              <a:buNone/>
              <a:defRPr sz="7200">
                <a:solidFill>
                  <a:schemeClr val="lt1"/>
                </a:solidFill>
              </a:defRPr>
            </a:lvl6pPr>
            <a:lvl7pPr lvl="6" rtl="0">
              <a:spcBef>
                <a:spcPts val="0"/>
              </a:spcBef>
              <a:spcAft>
                <a:spcPts val="0"/>
              </a:spcAft>
              <a:buClr>
                <a:schemeClr val="lt1"/>
              </a:buClr>
              <a:buSzPts val="7200"/>
              <a:buNone/>
              <a:defRPr sz="7200">
                <a:solidFill>
                  <a:schemeClr val="lt1"/>
                </a:solidFill>
              </a:defRPr>
            </a:lvl7pPr>
            <a:lvl8pPr lvl="7" rtl="0">
              <a:spcBef>
                <a:spcPts val="0"/>
              </a:spcBef>
              <a:spcAft>
                <a:spcPts val="0"/>
              </a:spcAft>
              <a:buClr>
                <a:schemeClr val="lt1"/>
              </a:buClr>
              <a:buSzPts val="7200"/>
              <a:buNone/>
              <a:defRPr sz="7200">
                <a:solidFill>
                  <a:schemeClr val="lt1"/>
                </a:solidFill>
              </a:defRPr>
            </a:lvl8pPr>
            <a:lvl9pPr lvl="8" rtl="0">
              <a:spcBef>
                <a:spcPts val="0"/>
              </a:spcBef>
              <a:spcAft>
                <a:spcPts val="0"/>
              </a:spcAft>
              <a:buClr>
                <a:schemeClr val="lt1"/>
              </a:buClr>
              <a:buSzPts val="7200"/>
              <a:buNone/>
              <a:defRPr sz="7200">
                <a:solidFill>
                  <a:schemeClr val="lt1"/>
                </a:solidFill>
              </a:defRPr>
            </a:lvl9pPr>
          </a:lstStyle>
          <a:p>
            <a:endParaRPr/>
          </a:p>
        </p:txBody>
      </p:sp>
      <p:sp>
        <p:nvSpPr>
          <p:cNvPr id="526" name="Google Shape;526;p42"/>
          <p:cNvSpPr txBox="1">
            <a:spLocks noGrp="1"/>
          </p:cNvSpPr>
          <p:nvPr>
            <p:ph type="subTitle" idx="1"/>
          </p:nvPr>
        </p:nvSpPr>
        <p:spPr>
          <a:xfrm>
            <a:off x="2050300" y="3798050"/>
            <a:ext cx="20078700" cy="1681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3600"/>
              <a:buFont typeface="Montserrat"/>
              <a:buNone/>
              <a:defRPr sz="3600">
                <a:solidFill>
                  <a:schemeClr val="lt1"/>
                </a:solidFill>
                <a:latin typeface="Montserrat"/>
                <a:ea typeface="Montserrat"/>
                <a:cs typeface="Montserrat"/>
                <a:sym typeface="Montserrat"/>
              </a:defRPr>
            </a:lvl1pPr>
            <a:lvl2pPr lvl="1" rtl="0">
              <a:spcBef>
                <a:spcPts val="0"/>
              </a:spcBef>
              <a:spcAft>
                <a:spcPts val="0"/>
              </a:spcAft>
              <a:buClr>
                <a:schemeClr val="lt1"/>
              </a:buClr>
              <a:buSzPts val="3600"/>
              <a:buNone/>
              <a:defRPr sz="3600">
                <a:solidFill>
                  <a:schemeClr val="lt1"/>
                </a:solidFill>
              </a:defRPr>
            </a:lvl2pPr>
            <a:lvl3pPr lvl="2" rtl="0">
              <a:spcBef>
                <a:spcPts val="0"/>
              </a:spcBef>
              <a:spcAft>
                <a:spcPts val="0"/>
              </a:spcAft>
              <a:buClr>
                <a:schemeClr val="lt1"/>
              </a:buClr>
              <a:buSzPts val="3600"/>
              <a:buNone/>
              <a:defRPr sz="3600">
                <a:solidFill>
                  <a:schemeClr val="lt1"/>
                </a:solidFill>
              </a:defRPr>
            </a:lvl3pPr>
            <a:lvl4pPr lvl="3" rtl="0">
              <a:spcBef>
                <a:spcPts val="0"/>
              </a:spcBef>
              <a:spcAft>
                <a:spcPts val="0"/>
              </a:spcAft>
              <a:buClr>
                <a:schemeClr val="lt1"/>
              </a:buClr>
              <a:buSzPts val="3600"/>
              <a:buNone/>
              <a:defRPr sz="3600">
                <a:solidFill>
                  <a:schemeClr val="lt1"/>
                </a:solidFill>
              </a:defRPr>
            </a:lvl4pPr>
            <a:lvl5pPr lvl="4" rtl="0">
              <a:spcBef>
                <a:spcPts val="0"/>
              </a:spcBef>
              <a:spcAft>
                <a:spcPts val="0"/>
              </a:spcAft>
              <a:buClr>
                <a:schemeClr val="lt1"/>
              </a:buClr>
              <a:buSzPts val="3600"/>
              <a:buNone/>
              <a:defRPr sz="3600">
                <a:solidFill>
                  <a:schemeClr val="lt1"/>
                </a:solidFill>
              </a:defRPr>
            </a:lvl5pPr>
            <a:lvl6pPr lvl="5" rtl="0">
              <a:spcBef>
                <a:spcPts val="0"/>
              </a:spcBef>
              <a:spcAft>
                <a:spcPts val="0"/>
              </a:spcAft>
              <a:buClr>
                <a:schemeClr val="lt1"/>
              </a:buClr>
              <a:buSzPts val="3600"/>
              <a:buNone/>
              <a:defRPr sz="3600">
                <a:solidFill>
                  <a:schemeClr val="lt1"/>
                </a:solidFill>
              </a:defRPr>
            </a:lvl6pPr>
            <a:lvl7pPr lvl="6" rtl="0">
              <a:spcBef>
                <a:spcPts val="0"/>
              </a:spcBef>
              <a:spcAft>
                <a:spcPts val="0"/>
              </a:spcAft>
              <a:buClr>
                <a:schemeClr val="lt1"/>
              </a:buClr>
              <a:buSzPts val="3600"/>
              <a:buNone/>
              <a:defRPr sz="3600">
                <a:solidFill>
                  <a:schemeClr val="lt1"/>
                </a:solidFill>
              </a:defRPr>
            </a:lvl7pPr>
            <a:lvl8pPr lvl="7" rtl="0">
              <a:spcBef>
                <a:spcPts val="0"/>
              </a:spcBef>
              <a:spcAft>
                <a:spcPts val="0"/>
              </a:spcAft>
              <a:buClr>
                <a:schemeClr val="lt1"/>
              </a:buClr>
              <a:buSzPts val="3600"/>
              <a:buNone/>
              <a:defRPr sz="3600">
                <a:solidFill>
                  <a:schemeClr val="lt1"/>
                </a:solidFill>
              </a:defRPr>
            </a:lvl8pPr>
            <a:lvl9pPr lvl="8" rtl="0">
              <a:spcBef>
                <a:spcPts val="0"/>
              </a:spcBef>
              <a:spcAft>
                <a:spcPts val="0"/>
              </a:spcAft>
              <a:buClr>
                <a:schemeClr val="lt1"/>
              </a:buClr>
              <a:buSzPts val="3600"/>
              <a:buNone/>
              <a:defRPr sz="3600">
                <a:solidFill>
                  <a:schemeClr val="lt1"/>
                </a:solidFill>
              </a:defRPr>
            </a:lvl9pPr>
          </a:lstStyle>
          <a:p>
            <a:endParaRPr/>
          </a:p>
        </p:txBody>
      </p:sp>
      <p:sp>
        <p:nvSpPr>
          <p:cNvPr id="527" name="Google Shape;527;p42"/>
          <p:cNvSpPr/>
          <p:nvPr/>
        </p:nvSpPr>
        <p:spPr>
          <a:xfrm>
            <a:off x="2220797" y="6067608"/>
            <a:ext cx="514200" cy="514200"/>
          </a:xfrm>
          <a:prstGeom prst="ellipse">
            <a:avLst/>
          </a:prstGeom>
          <a:solidFill>
            <a:srgbClr val="C1F4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28" name="Google Shape;528;p42"/>
          <p:cNvSpPr/>
          <p:nvPr/>
        </p:nvSpPr>
        <p:spPr>
          <a:xfrm>
            <a:off x="2220797" y="7855958"/>
            <a:ext cx="514200" cy="514200"/>
          </a:xfrm>
          <a:prstGeom prst="ellipse">
            <a:avLst/>
          </a:prstGeom>
          <a:solidFill>
            <a:srgbClr val="C1F4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29" name="Google Shape;529;p42"/>
          <p:cNvSpPr/>
          <p:nvPr/>
        </p:nvSpPr>
        <p:spPr>
          <a:xfrm>
            <a:off x="2220797" y="9762958"/>
            <a:ext cx="514200" cy="514200"/>
          </a:xfrm>
          <a:prstGeom prst="ellipse">
            <a:avLst/>
          </a:prstGeom>
          <a:solidFill>
            <a:srgbClr val="C1F4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0" name="Google Shape;530;p42"/>
          <p:cNvSpPr txBox="1">
            <a:spLocks noGrp="1"/>
          </p:cNvSpPr>
          <p:nvPr>
            <p:ph type="subTitle" idx="2"/>
          </p:nvPr>
        </p:nvSpPr>
        <p:spPr>
          <a:xfrm>
            <a:off x="3097263" y="6067600"/>
            <a:ext cx="19059600" cy="753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400"/>
              <a:buFont typeface="Montserrat SemiBold"/>
              <a:buNone/>
              <a:defRPr sz="2400">
                <a:solidFill>
                  <a:srgbClr val="C1F400"/>
                </a:solidFill>
                <a:latin typeface="Montserrat SemiBold"/>
                <a:ea typeface="Montserrat SemiBold"/>
                <a:cs typeface="Montserrat SemiBold"/>
                <a:sym typeface="Montserrat SemiBold"/>
              </a:defRPr>
            </a:lvl1pPr>
            <a:lvl2pPr lvl="1"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2pPr>
            <a:lvl3pPr lvl="2"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3pPr>
            <a:lvl4pPr lvl="3"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4pPr>
            <a:lvl5pPr lvl="4"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5pPr>
            <a:lvl6pPr lvl="5"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6pPr>
            <a:lvl7pPr lvl="6"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7pPr>
            <a:lvl8pPr lvl="7"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8pPr>
            <a:lvl9pPr lvl="8"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9pPr>
          </a:lstStyle>
          <a:p>
            <a:endParaRPr/>
          </a:p>
        </p:txBody>
      </p:sp>
      <p:sp>
        <p:nvSpPr>
          <p:cNvPr id="531" name="Google Shape;531;p42"/>
          <p:cNvSpPr txBox="1">
            <a:spLocks noGrp="1"/>
          </p:cNvSpPr>
          <p:nvPr>
            <p:ph type="subTitle" idx="3"/>
          </p:nvPr>
        </p:nvSpPr>
        <p:spPr>
          <a:xfrm>
            <a:off x="3097263" y="7855950"/>
            <a:ext cx="19059600" cy="753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400"/>
              <a:buFont typeface="Montserrat SemiBold"/>
              <a:buNone/>
              <a:defRPr sz="2400">
                <a:solidFill>
                  <a:srgbClr val="C1F400"/>
                </a:solidFill>
                <a:latin typeface="Montserrat SemiBold"/>
                <a:ea typeface="Montserrat SemiBold"/>
                <a:cs typeface="Montserrat SemiBold"/>
                <a:sym typeface="Montserrat SemiBold"/>
              </a:defRPr>
            </a:lvl1pPr>
            <a:lvl2pPr lvl="1"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2pPr>
            <a:lvl3pPr lvl="2"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3pPr>
            <a:lvl4pPr lvl="3"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4pPr>
            <a:lvl5pPr lvl="4"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5pPr>
            <a:lvl6pPr lvl="5"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6pPr>
            <a:lvl7pPr lvl="6"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7pPr>
            <a:lvl8pPr lvl="7"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8pPr>
            <a:lvl9pPr lvl="8"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9pPr>
          </a:lstStyle>
          <a:p>
            <a:endParaRPr/>
          </a:p>
        </p:txBody>
      </p:sp>
      <p:sp>
        <p:nvSpPr>
          <p:cNvPr id="532" name="Google Shape;532;p42"/>
          <p:cNvSpPr txBox="1">
            <a:spLocks noGrp="1"/>
          </p:cNvSpPr>
          <p:nvPr>
            <p:ph type="subTitle" idx="4"/>
          </p:nvPr>
        </p:nvSpPr>
        <p:spPr>
          <a:xfrm>
            <a:off x="3097263" y="9762950"/>
            <a:ext cx="19059600" cy="753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400"/>
              <a:buFont typeface="Montserrat SemiBold"/>
              <a:buNone/>
              <a:defRPr sz="2400">
                <a:solidFill>
                  <a:srgbClr val="C1F400"/>
                </a:solidFill>
                <a:latin typeface="Montserrat SemiBold"/>
                <a:ea typeface="Montserrat SemiBold"/>
                <a:cs typeface="Montserrat SemiBold"/>
                <a:sym typeface="Montserrat SemiBold"/>
              </a:defRPr>
            </a:lvl1pPr>
            <a:lvl2pPr lvl="1"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2pPr>
            <a:lvl3pPr lvl="2"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3pPr>
            <a:lvl4pPr lvl="3"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4pPr>
            <a:lvl5pPr lvl="4"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5pPr>
            <a:lvl6pPr lvl="5"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6pPr>
            <a:lvl7pPr lvl="6"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7pPr>
            <a:lvl8pPr lvl="7"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8pPr>
            <a:lvl9pPr lvl="8"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9pPr>
          </a:lstStyle>
          <a:p>
            <a:endParaRPr/>
          </a:p>
        </p:txBody>
      </p:sp>
      <p:pic>
        <p:nvPicPr>
          <p:cNvPr id="533" name="Google Shape;533;p42"/>
          <p:cNvPicPr preferRelativeResize="0"/>
          <p:nvPr/>
        </p:nvPicPr>
        <p:blipFill rotWithShape="1">
          <a:blip r:embed="rId2">
            <a:alphaModFix/>
          </a:blip>
          <a:srcRect t="83846"/>
          <a:stretch/>
        </p:blipFill>
        <p:spPr>
          <a:xfrm>
            <a:off x="-2992950" y="-451525"/>
            <a:ext cx="24377651" cy="1515099"/>
          </a:xfrm>
          <a:prstGeom prst="rect">
            <a:avLst/>
          </a:prstGeom>
          <a:noFill/>
          <a:ln>
            <a:noFill/>
          </a:ln>
        </p:spPr>
      </p:pic>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Four &amp; Five Bullet Points">
  <p:cSld name="Four &amp; Five Bullet Points">
    <p:bg>
      <p:bgPr>
        <a:solidFill>
          <a:srgbClr val="002A44"/>
        </a:solidFill>
        <a:effectLst/>
      </p:bgPr>
    </p:bg>
    <p:spTree>
      <p:nvGrpSpPr>
        <p:cNvPr id="1" name="Shape 534"/>
        <p:cNvGrpSpPr/>
        <p:nvPr/>
      </p:nvGrpSpPr>
      <p:grpSpPr>
        <a:xfrm>
          <a:off x="0" y="0"/>
          <a:ext cx="0" cy="0"/>
          <a:chOff x="0" y="0"/>
          <a:chExt cx="0" cy="0"/>
        </a:xfrm>
      </p:grpSpPr>
      <p:pic>
        <p:nvPicPr>
          <p:cNvPr id="535" name="Google Shape;535;p43"/>
          <p:cNvPicPr preferRelativeResize="0"/>
          <p:nvPr/>
        </p:nvPicPr>
        <p:blipFill rotWithShape="1">
          <a:blip r:embed="rId2">
            <a:alphaModFix/>
          </a:blip>
          <a:srcRect b="93557"/>
          <a:stretch/>
        </p:blipFill>
        <p:spPr>
          <a:xfrm>
            <a:off x="0" y="13111675"/>
            <a:ext cx="24377651" cy="604325"/>
          </a:xfrm>
          <a:prstGeom prst="rect">
            <a:avLst/>
          </a:prstGeom>
          <a:noFill/>
          <a:ln>
            <a:noFill/>
          </a:ln>
        </p:spPr>
      </p:pic>
      <p:sp>
        <p:nvSpPr>
          <p:cNvPr id="536" name="Google Shape;536;p43"/>
          <p:cNvSpPr/>
          <p:nvPr/>
        </p:nvSpPr>
        <p:spPr>
          <a:xfrm>
            <a:off x="22412037" y="536597"/>
            <a:ext cx="1515111" cy="1515111"/>
          </a:xfrm>
          <a:custGeom>
            <a:avLst/>
            <a:gdLst/>
            <a:ahLst/>
            <a:cxnLst/>
            <a:rect l="l" t="t" r="r" b="b"/>
            <a:pathLst>
              <a:path w="1137044" h="1137044" extrusionOk="0">
                <a:moveTo>
                  <a:pt x="0" y="0"/>
                </a:moveTo>
                <a:lnTo>
                  <a:pt x="1137044" y="0"/>
                </a:lnTo>
                <a:lnTo>
                  <a:pt x="1137044" y="1137044"/>
                </a:lnTo>
                <a:lnTo>
                  <a:pt x="0" y="1137044"/>
                </a:lnTo>
                <a:lnTo>
                  <a:pt x="0" y="0"/>
                </a:lnTo>
                <a:close/>
              </a:path>
            </a:pathLst>
          </a:custGeom>
          <a:blipFill rotWithShape="1">
            <a:blip r:embed="rId3">
              <a:alphaModFix/>
            </a:blip>
            <a:stretch>
              <a:fillRect/>
            </a:stretch>
          </a:blipFill>
          <a:ln>
            <a:noFill/>
          </a:ln>
        </p:spPr>
      </p:sp>
      <p:sp>
        <p:nvSpPr>
          <p:cNvPr id="537" name="Google Shape;537;p43"/>
          <p:cNvSpPr txBox="1">
            <a:spLocks noGrp="1"/>
          </p:cNvSpPr>
          <p:nvPr>
            <p:ph type="subTitle" idx="1"/>
          </p:nvPr>
        </p:nvSpPr>
        <p:spPr>
          <a:xfrm>
            <a:off x="2040633" y="6105350"/>
            <a:ext cx="7415400" cy="1681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3600"/>
              <a:buFont typeface="Montserrat"/>
              <a:buNone/>
              <a:defRPr sz="3600">
                <a:solidFill>
                  <a:schemeClr val="lt1"/>
                </a:solidFill>
                <a:latin typeface="Montserrat"/>
                <a:ea typeface="Montserrat"/>
                <a:cs typeface="Montserrat"/>
                <a:sym typeface="Montserrat"/>
              </a:defRPr>
            </a:lvl1pPr>
            <a:lvl2pPr lvl="1" rtl="0">
              <a:spcBef>
                <a:spcPts val="0"/>
              </a:spcBef>
              <a:spcAft>
                <a:spcPts val="0"/>
              </a:spcAft>
              <a:buClr>
                <a:schemeClr val="lt1"/>
              </a:buClr>
              <a:buSzPts val="3600"/>
              <a:buNone/>
              <a:defRPr sz="3600">
                <a:solidFill>
                  <a:schemeClr val="lt1"/>
                </a:solidFill>
              </a:defRPr>
            </a:lvl2pPr>
            <a:lvl3pPr lvl="2" rtl="0">
              <a:spcBef>
                <a:spcPts val="0"/>
              </a:spcBef>
              <a:spcAft>
                <a:spcPts val="0"/>
              </a:spcAft>
              <a:buClr>
                <a:schemeClr val="lt1"/>
              </a:buClr>
              <a:buSzPts val="3600"/>
              <a:buNone/>
              <a:defRPr sz="3600">
                <a:solidFill>
                  <a:schemeClr val="lt1"/>
                </a:solidFill>
              </a:defRPr>
            </a:lvl3pPr>
            <a:lvl4pPr lvl="3" rtl="0">
              <a:spcBef>
                <a:spcPts val="0"/>
              </a:spcBef>
              <a:spcAft>
                <a:spcPts val="0"/>
              </a:spcAft>
              <a:buClr>
                <a:schemeClr val="lt1"/>
              </a:buClr>
              <a:buSzPts val="3600"/>
              <a:buNone/>
              <a:defRPr sz="3600">
                <a:solidFill>
                  <a:schemeClr val="lt1"/>
                </a:solidFill>
              </a:defRPr>
            </a:lvl4pPr>
            <a:lvl5pPr lvl="4" rtl="0">
              <a:spcBef>
                <a:spcPts val="0"/>
              </a:spcBef>
              <a:spcAft>
                <a:spcPts val="0"/>
              </a:spcAft>
              <a:buClr>
                <a:schemeClr val="lt1"/>
              </a:buClr>
              <a:buSzPts val="3600"/>
              <a:buNone/>
              <a:defRPr sz="3600">
                <a:solidFill>
                  <a:schemeClr val="lt1"/>
                </a:solidFill>
              </a:defRPr>
            </a:lvl5pPr>
            <a:lvl6pPr lvl="5" rtl="0">
              <a:spcBef>
                <a:spcPts val="0"/>
              </a:spcBef>
              <a:spcAft>
                <a:spcPts val="0"/>
              </a:spcAft>
              <a:buClr>
                <a:schemeClr val="lt1"/>
              </a:buClr>
              <a:buSzPts val="3600"/>
              <a:buNone/>
              <a:defRPr sz="3600">
                <a:solidFill>
                  <a:schemeClr val="lt1"/>
                </a:solidFill>
              </a:defRPr>
            </a:lvl6pPr>
            <a:lvl7pPr lvl="6" rtl="0">
              <a:spcBef>
                <a:spcPts val="0"/>
              </a:spcBef>
              <a:spcAft>
                <a:spcPts val="0"/>
              </a:spcAft>
              <a:buClr>
                <a:schemeClr val="lt1"/>
              </a:buClr>
              <a:buSzPts val="3600"/>
              <a:buNone/>
              <a:defRPr sz="3600">
                <a:solidFill>
                  <a:schemeClr val="lt1"/>
                </a:solidFill>
              </a:defRPr>
            </a:lvl7pPr>
            <a:lvl8pPr lvl="7" rtl="0">
              <a:spcBef>
                <a:spcPts val="0"/>
              </a:spcBef>
              <a:spcAft>
                <a:spcPts val="0"/>
              </a:spcAft>
              <a:buClr>
                <a:schemeClr val="lt1"/>
              </a:buClr>
              <a:buSzPts val="3600"/>
              <a:buNone/>
              <a:defRPr sz="3600">
                <a:solidFill>
                  <a:schemeClr val="lt1"/>
                </a:solidFill>
              </a:defRPr>
            </a:lvl8pPr>
            <a:lvl9pPr lvl="8" rtl="0">
              <a:spcBef>
                <a:spcPts val="0"/>
              </a:spcBef>
              <a:spcAft>
                <a:spcPts val="0"/>
              </a:spcAft>
              <a:buClr>
                <a:schemeClr val="lt1"/>
              </a:buClr>
              <a:buSzPts val="3600"/>
              <a:buNone/>
              <a:defRPr sz="3600">
                <a:solidFill>
                  <a:schemeClr val="lt1"/>
                </a:solidFill>
              </a:defRPr>
            </a:lvl9pPr>
          </a:lstStyle>
          <a:p>
            <a:endParaRPr/>
          </a:p>
        </p:txBody>
      </p:sp>
      <p:sp>
        <p:nvSpPr>
          <p:cNvPr id="538" name="Google Shape;538;p43"/>
          <p:cNvSpPr txBox="1">
            <a:spLocks noGrp="1"/>
          </p:cNvSpPr>
          <p:nvPr>
            <p:ph type="title"/>
          </p:nvPr>
        </p:nvSpPr>
        <p:spPr>
          <a:xfrm>
            <a:off x="1990350" y="2201850"/>
            <a:ext cx="7112100" cy="1370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7200"/>
              <a:buFont typeface="Montserrat Black"/>
              <a:buNone/>
              <a:defRPr sz="7200">
                <a:solidFill>
                  <a:schemeClr val="lt1"/>
                </a:solidFill>
                <a:latin typeface="Montserrat Black"/>
                <a:ea typeface="Montserrat Black"/>
                <a:cs typeface="Montserrat Black"/>
                <a:sym typeface="Montserrat Black"/>
              </a:defRPr>
            </a:lvl1pPr>
            <a:lvl2pPr lvl="1" rtl="0">
              <a:spcBef>
                <a:spcPts val="0"/>
              </a:spcBef>
              <a:spcAft>
                <a:spcPts val="0"/>
              </a:spcAft>
              <a:buClr>
                <a:schemeClr val="lt1"/>
              </a:buClr>
              <a:buSzPts val="7200"/>
              <a:buNone/>
              <a:defRPr sz="7200">
                <a:solidFill>
                  <a:schemeClr val="lt1"/>
                </a:solidFill>
              </a:defRPr>
            </a:lvl2pPr>
            <a:lvl3pPr lvl="2" rtl="0">
              <a:spcBef>
                <a:spcPts val="0"/>
              </a:spcBef>
              <a:spcAft>
                <a:spcPts val="0"/>
              </a:spcAft>
              <a:buClr>
                <a:schemeClr val="lt1"/>
              </a:buClr>
              <a:buSzPts val="7200"/>
              <a:buNone/>
              <a:defRPr sz="7200">
                <a:solidFill>
                  <a:schemeClr val="lt1"/>
                </a:solidFill>
              </a:defRPr>
            </a:lvl3pPr>
            <a:lvl4pPr lvl="3" rtl="0">
              <a:spcBef>
                <a:spcPts val="0"/>
              </a:spcBef>
              <a:spcAft>
                <a:spcPts val="0"/>
              </a:spcAft>
              <a:buClr>
                <a:schemeClr val="lt1"/>
              </a:buClr>
              <a:buSzPts val="7200"/>
              <a:buNone/>
              <a:defRPr sz="7200">
                <a:solidFill>
                  <a:schemeClr val="lt1"/>
                </a:solidFill>
              </a:defRPr>
            </a:lvl4pPr>
            <a:lvl5pPr lvl="4" rtl="0">
              <a:spcBef>
                <a:spcPts val="0"/>
              </a:spcBef>
              <a:spcAft>
                <a:spcPts val="0"/>
              </a:spcAft>
              <a:buClr>
                <a:schemeClr val="lt1"/>
              </a:buClr>
              <a:buSzPts val="7200"/>
              <a:buNone/>
              <a:defRPr sz="7200">
                <a:solidFill>
                  <a:schemeClr val="lt1"/>
                </a:solidFill>
              </a:defRPr>
            </a:lvl5pPr>
            <a:lvl6pPr lvl="5" rtl="0">
              <a:spcBef>
                <a:spcPts val="0"/>
              </a:spcBef>
              <a:spcAft>
                <a:spcPts val="0"/>
              </a:spcAft>
              <a:buClr>
                <a:schemeClr val="lt1"/>
              </a:buClr>
              <a:buSzPts val="7200"/>
              <a:buNone/>
              <a:defRPr sz="7200">
                <a:solidFill>
                  <a:schemeClr val="lt1"/>
                </a:solidFill>
              </a:defRPr>
            </a:lvl6pPr>
            <a:lvl7pPr lvl="6" rtl="0">
              <a:spcBef>
                <a:spcPts val="0"/>
              </a:spcBef>
              <a:spcAft>
                <a:spcPts val="0"/>
              </a:spcAft>
              <a:buClr>
                <a:schemeClr val="lt1"/>
              </a:buClr>
              <a:buSzPts val="7200"/>
              <a:buNone/>
              <a:defRPr sz="7200">
                <a:solidFill>
                  <a:schemeClr val="lt1"/>
                </a:solidFill>
              </a:defRPr>
            </a:lvl7pPr>
            <a:lvl8pPr lvl="7" rtl="0">
              <a:spcBef>
                <a:spcPts val="0"/>
              </a:spcBef>
              <a:spcAft>
                <a:spcPts val="0"/>
              </a:spcAft>
              <a:buClr>
                <a:schemeClr val="lt1"/>
              </a:buClr>
              <a:buSzPts val="7200"/>
              <a:buNone/>
              <a:defRPr sz="7200">
                <a:solidFill>
                  <a:schemeClr val="lt1"/>
                </a:solidFill>
              </a:defRPr>
            </a:lvl8pPr>
            <a:lvl9pPr lvl="8" rtl="0">
              <a:spcBef>
                <a:spcPts val="0"/>
              </a:spcBef>
              <a:spcAft>
                <a:spcPts val="0"/>
              </a:spcAft>
              <a:buClr>
                <a:schemeClr val="lt1"/>
              </a:buClr>
              <a:buSzPts val="7200"/>
              <a:buNone/>
              <a:defRPr sz="7200">
                <a:solidFill>
                  <a:schemeClr val="lt1"/>
                </a:solidFill>
              </a:defRPr>
            </a:lvl9pPr>
          </a:lstStyle>
          <a:p>
            <a:endParaRPr/>
          </a:p>
        </p:txBody>
      </p:sp>
      <p:sp>
        <p:nvSpPr>
          <p:cNvPr id="539" name="Google Shape;539;p43"/>
          <p:cNvSpPr/>
          <p:nvPr/>
        </p:nvSpPr>
        <p:spPr>
          <a:xfrm>
            <a:off x="11210497" y="2439558"/>
            <a:ext cx="514200" cy="514200"/>
          </a:xfrm>
          <a:prstGeom prst="ellipse">
            <a:avLst/>
          </a:prstGeom>
          <a:solidFill>
            <a:srgbClr val="C1F4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0" name="Google Shape;540;p43"/>
          <p:cNvSpPr/>
          <p:nvPr/>
        </p:nvSpPr>
        <p:spPr>
          <a:xfrm>
            <a:off x="11210497" y="4227908"/>
            <a:ext cx="514200" cy="514200"/>
          </a:xfrm>
          <a:prstGeom prst="ellipse">
            <a:avLst/>
          </a:prstGeom>
          <a:solidFill>
            <a:srgbClr val="C1F4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1" name="Google Shape;541;p43"/>
          <p:cNvSpPr/>
          <p:nvPr/>
        </p:nvSpPr>
        <p:spPr>
          <a:xfrm>
            <a:off x="11210497" y="6134908"/>
            <a:ext cx="514200" cy="514200"/>
          </a:xfrm>
          <a:prstGeom prst="ellipse">
            <a:avLst/>
          </a:prstGeom>
          <a:solidFill>
            <a:srgbClr val="C1F4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2" name="Google Shape;542;p43"/>
          <p:cNvSpPr txBox="1">
            <a:spLocks noGrp="1"/>
          </p:cNvSpPr>
          <p:nvPr>
            <p:ph type="subTitle" idx="2"/>
          </p:nvPr>
        </p:nvSpPr>
        <p:spPr>
          <a:xfrm>
            <a:off x="12086969" y="2439550"/>
            <a:ext cx="10648800" cy="753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400"/>
              <a:buFont typeface="Montserrat SemiBold"/>
              <a:buNone/>
              <a:defRPr sz="2400">
                <a:solidFill>
                  <a:srgbClr val="C1F400"/>
                </a:solidFill>
                <a:latin typeface="Montserrat SemiBold"/>
                <a:ea typeface="Montserrat SemiBold"/>
                <a:cs typeface="Montserrat SemiBold"/>
                <a:sym typeface="Montserrat SemiBold"/>
              </a:defRPr>
            </a:lvl1pPr>
            <a:lvl2pPr lvl="1"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2pPr>
            <a:lvl3pPr lvl="2"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3pPr>
            <a:lvl4pPr lvl="3"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4pPr>
            <a:lvl5pPr lvl="4"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5pPr>
            <a:lvl6pPr lvl="5"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6pPr>
            <a:lvl7pPr lvl="6"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7pPr>
            <a:lvl8pPr lvl="7"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8pPr>
            <a:lvl9pPr lvl="8"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9pPr>
          </a:lstStyle>
          <a:p>
            <a:endParaRPr/>
          </a:p>
        </p:txBody>
      </p:sp>
      <p:sp>
        <p:nvSpPr>
          <p:cNvPr id="543" name="Google Shape;543;p43"/>
          <p:cNvSpPr txBox="1">
            <a:spLocks noGrp="1"/>
          </p:cNvSpPr>
          <p:nvPr>
            <p:ph type="subTitle" idx="3"/>
          </p:nvPr>
        </p:nvSpPr>
        <p:spPr>
          <a:xfrm>
            <a:off x="12086969" y="4227900"/>
            <a:ext cx="10648800" cy="753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400"/>
              <a:buFont typeface="Montserrat SemiBold"/>
              <a:buNone/>
              <a:defRPr sz="2400">
                <a:solidFill>
                  <a:srgbClr val="C1F400"/>
                </a:solidFill>
                <a:latin typeface="Montserrat SemiBold"/>
                <a:ea typeface="Montserrat SemiBold"/>
                <a:cs typeface="Montserrat SemiBold"/>
                <a:sym typeface="Montserrat SemiBold"/>
              </a:defRPr>
            </a:lvl1pPr>
            <a:lvl2pPr lvl="1"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2pPr>
            <a:lvl3pPr lvl="2"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3pPr>
            <a:lvl4pPr lvl="3"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4pPr>
            <a:lvl5pPr lvl="4"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5pPr>
            <a:lvl6pPr lvl="5"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6pPr>
            <a:lvl7pPr lvl="6"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7pPr>
            <a:lvl8pPr lvl="7"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8pPr>
            <a:lvl9pPr lvl="8"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9pPr>
          </a:lstStyle>
          <a:p>
            <a:endParaRPr/>
          </a:p>
        </p:txBody>
      </p:sp>
      <p:sp>
        <p:nvSpPr>
          <p:cNvPr id="544" name="Google Shape;544;p43"/>
          <p:cNvSpPr txBox="1">
            <a:spLocks noGrp="1"/>
          </p:cNvSpPr>
          <p:nvPr>
            <p:ph type="subTitle" idx="4"/>
          </p:nvPr>
        </p:nvSpPr>
        <p:spPr>
          <a:xfrm>
            <a:off x="12086969" y="6134900"/>
            <a:ext cx="10648800" cy="753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400"/>
              <a:buFont typeface="Montserrat SemiBold"/>
              <a:buNone/>
              <a:defRPr sz="2400">
                <a:solidFill>
                  <a:srgbClr val="C1F400"/>
                </a:solidFill>
                <a:latin typeface="Montserrat SemiBold"/>
                <a:ea typeface="Montserrat SemiBold"/>
                <a:cs typeface="Montserrat SemiBold"/>
                <a:sym typeface="Montserrat SemiBold"/>
              </a:defRPr>
            </a:lvl1pPr>
            <a:lvl2pPr lvl="1"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2pPr>
            <a:lvl3pPr lvl="2"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3pPr>
            <a:lvl4pPr lvl="3"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4pPr>
            <a:lvl5pPr lvl="4"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5pPr>
            <a:lvl6pPr lvl="5"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6pPr>
            <a:lvl7pPr lvl="6"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7pPr>
            <a:lvl8pPr lvl="7"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8pPr>
            <a:lvl9pPr lvl="8"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9pPr>
          </a:lstStyle>
          <a:p>
            <a:endParaRPr/>
          </a:p>
        </p:txBody>
      </p:sp>
      <p:sp>
        <p:nvSpPr>
          <p:cNvPr id="545" name="Google Shape;545;p43"/>
          <p:cNvSpPr/>
          <p:nvPr/>
        </p:nvSpPr>
        <p:spPr>
          <a:xfrm>
            <a:off x="11210497" y="8162358"/>
            <a:ext cx="514200" cy="514200"/>
          </a:xfrm>
          <a:prstGeom prst="ellipse">
            <a:avLst/>
          </a:prstGeom>
          <a:solidFill>
            <a:srgbClr val="C1F4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6" name="Google Shape;546;p43"/>
          <p:cNvSpPr/>
          <p:nvPr/>
        </p:nvSpPr>
        <p:spPr>
          <a:xfrm>
            <a:off x="11210497" y="10069358"/>
            <a:ext cx="514200" cy="514200"/>
          </a:xfrm>
          <a:prstGeom prst="ellipse">
            <a:avLst/>
          </a:prstGeom>
          <a:solidFill>
            <a:srgbClr val="C1F4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7" name="Google Shape;547;p43"/>
          <p:cNvSpPr txBox="1">
            <a:spLocks noGrp="1"/>
          </p:cNvSpPr>
          <p:nvPr>
            <p:ph type="subTitle" idx="5"/>
          </p:nvPr>
        </p:nvSpPr>
        <p:spPr>
          <a:xfrm>
            <a:off x="12086969" y="8162350"/>
            <a:ext cx="10648800" cy="753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400"/>
              <a:buFont typeface="Montserrat SemiBold"/>
              <a:buNone/>
              <a:defRPr sz="2400">
                <a:solidFill>
                  <a:srgbClr val="C1F400"/>
                </a:solidFill>
                <a:latin typeface="Montserrat SemiBold"/>
                <a:ea typeface="Montserrat SemiBold"/>
                <a:cs typeface="Montserrat SemiBold"/>
                <a:sym typeface="Montserrat SemiBold"/>
              </a:defRPr>
            </a:lvl1pPr>
            <a:lvl2pPr lvl="1"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2pPr>
            <a:lvl3pPr lvl="2"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3pPr>
            <a:lvl4pPr lvl="3"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4pPr>
            <a:lvl5pPr lvl="4"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5pPr>
            <a:lvl6pPr lvl="5"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6pPr>
            <a:lvl7pPr lvl="6"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7pPr>
            <a:lvl8pPr lvl="7"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8pPr>
            <a:lvl9pPr lvl="8"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9pPr>
          </a:lstStyle>
          <a:p>
            <a:endParaRPr/>
          </a:p>
        </p:txBody>
      </p:sp>
      <p:sp>
        <p:nvSpPr>
          <p:cNvPr id="548" name="Google Shape;548;p43"/>
          <p:cNvSpPr txBox="1">
            <a:spLocks noGrp="1"/>
          </p:cNvSpPr>
          <p:nvPr>
            <p:ph type="subTitle" idx="6"/>
          </p:nvPr>
        </p:nvSpPr>
        <p:spPr>
          <a:xfrm>
            <a:off x="12086969" y="10069350"/>
            <a:ext cx="10648800" cy="753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400"/>
              <a:buFont typeface="Montserrat SemiBold"/>
              <a:buNone/>
              <a:defRPr sz="2400">
                <a:solidFill>
                  <a:srgbClr val="C1F400"/>
                </a:solidFill>
                <a:latin typeface="Montserrat SemiBold"/>
                <a:ea typeface="Montserrat SemiBold"/>
                <a:cs typeface="Montserrat SemiBold"/>
                <a:sym typeface="Montserrat SemiBold"/>
              </a:defRPr>
            </a:lvl1pPr>
            <a:lvl2pPr lvl="1"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2pPr>
            <a:lvl3pPr lvl="2"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3pPr>
            <a:lvl4pPr lvl="3"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4pPr>
            <a:lvl5pPr lvl="4"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5pPr>
            <a:lvl6pPr lvl="5"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6pPr>
            <a:lvl7pPr lvl="6"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7pPr>
            <a:lvl8pPr lvl="7"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8pPr>
            <a:lvl9pPr lvl="8"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9pPr>
          </a:lstStyle>
          <a:p>
            <a:endParaRPr/>
          </a:p>
        </p:txBody>
      </p:sp>
      <p:pic>
        <p:nvPicPr>
          <p:cNvPr id="549" name="Google Shape;549;p43"/>
          <p:cNvPicPr preferRelativeResize="0"/>
          <p:nvPr/>
        </p:nvPicPr>
        <p:blipFill rotWithShape="1">
          <a:blip r:embed="rId2">
            <a:alphaModFix/>
          </a:blip>
          <a:srcRect t="83846"/>
          <a:stretch/>
        </p:blipFill>
        <p:spPr>
          <a:xfrm>
            <a:off x="-2992950" y="-451525"/>
            <a:ext cx="24377651" cy="1515099"/>
          </a:xfrm>
          <a:prstGeom prst="rect">
            <a:avLst/>
          </a:prstGeom>
          <a:noFill/>
          <a:ln>
            <a:noFill/>
          </a:ln>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Slide 3 1">
  <p:cSld name="Title Slide 3 1">
    <p:bg>
      <p:bgPr>
        <a:solidFill>
          <a:srgbClr val="C1F400"/>
        </a:solidFill>
        <a:effectLst/>
      </p:bgPr>
    </p:bg>
    <p:spTree>
      <p:nvGrpSpPr>
        <p:cNvPr id="1" name="Shape 39"/>
        <p:cNvGrpSpPr/>
        <p:nvPr/>
      </p:nvGrpSpPr>
      <p:grpSpPr>
        <a:xfrm>
          <a:off x="0" y="0"/>
          <a:ext cx="0" cy="0"/>
          <a:chOff x="0" y="0"/>
          <a:chExt cx="0" cy="0"/>
        </a:xfrm>
      </p:grpSpPr>
      <p:pic>
        <p:nvPicPr>
          <p:cNvPr id="40" name="Google Shape;40;p5"/>
          <p:cNvPicPr preferRelativeResize="0"/>
          <p:nvPr/>
        </p:nvPicPr>
        <p:blipFill>
          <a:blip r:embed="rId2">
            <a:alphaModFix/>
          </a:blip>
          <a:stretch>
            <a:fillRect/>
          </a:stretch>
        </p:blipFill>
        <p:spPr>
          <a:xfrm>
            <a:off x="0" y="1202800"/>
            <a:ext cx="24377651" cy="11237374"/>
          </a:xfrm>
          <a:prstGeom prst="rect">
            <a:avLst/>
          </a:prstGeom>
          <a:noFill/>
          <a:ln>
            <a:noFill/>
          </a:ln>
        </p:spPr>
      </p:pic>
      <p:sp>
        <p:nvSpPr>
          <p:cNvPr id="41" name="Google Shape;41;p5"/>
          <p:cNvSpPr txBox="1">
            <a:spLocks noGrp="1"/>
          </p:cNvSpPr>
          <p:nvPr>
            <p:ph type="title"/>
          </p:nvPr>
        </p:nvSpPr>
        <p:spPr>
          <a:xfrm>
            <a:off x="2090575" y="3944450"/>
            <a:ext cx="15421500" cy="3544800"/>
          </a:xfrm>
          <a:prstGeom prst="rect">
            <a:avLst/>
          </a:prstGeom>
          <a:noFill/>
          <a:ln>
            <a:noFill/>
          </a:ln>
        </p:spPr>
        <p:txBody>
          <a:bodyPr spcFirstLastPara="1" wrap="square" lIns="91425" tIns="91425" rIns="91425" bIns="91425" anchor="t" anchorCtr="0">
            <a:normAutofit/>
          </a:bodyPr>
          <a:lstStyle>
            <a:lvl1pPr lvl="0" rtl="0">
              <a:spcBef>
                <a:spcPts val="0"/>
              </a:spcBef>
              <a:spcAft>
                <a:spcPts val="0"/>
              </a:spcAft>
              <a:buClr>
                <a:schemeClr val="lt1"/>
              </a:buClr>
              <a:buSzPts val="10800"/>
              <a:buFont typeface="Montserrat Black"/>
              <a:buNone/>
              <a:defRPr sz="10800">
                <a:solidFill>
                  <a:schemeClr val="lt1"/>
                </a:solidFill>
                <a:latin typeface="Montserrat Black"/>
                <a:ea typeface="Montserrat Black"/>
                <a:cs typeface="Montserrat Black"/>
                <a:sym typeface="Montserrat Black"/>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42" name="Google Shape;42;p5"/>
          <p:cNvSpPr txBox="1">
            <a:spLocks noGrp="1"/>
          </p:cNvSpPr>
          <p:nvPr>
            <p:ph type="subTitle" idx="1"/>
          </p:nvPr>
        </p:nvSpPr>
        <p:spPr>
          <a:xfrm>
            <a:off x="1970575" y="7622800"/>
            <a:ext cx="20398500" cy="12405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rgbClr val="C1F400"/>
              </a:buClr>
              <a:buSzPts val="4900"/>
              <a:buFont typeface="Montserrat Medium"/>
              <a:buNone/>
              <a:defRPr sz="4900">
                <a:solidFill>
                  <a:srgbClr val="C1F400"/>
                </a:solidFill>
                <a:latin typeface="Montserrat Medium"/>
                <a:ea typeface="Montserrat Medium"/>
                <a:cs typeface="Montserrat Medium"/>
                <a:sym typeface="Montserrat Medium"/>
              </a:defRPr>
            </a:lvl1pPr>
            <a:lvl2pPr lvl="1" rtl="0">
              <a:spcBef>
                <a:spcPts val="0"/>
              </a:spcBef>
              <a:spcAft>
                <a:spcPts val="0"/>
              </a:spcAft>
              <a:buClr>
                <a:srgbClr val="C1F400"/>
              </a:buClr>
              <a:buSzPts val="1400"/>
              <a:buNone/>
              <a:defRPr>
                <a:solidFill>
                  <a:srgbClr val="C1F400"/>
                </a:solidFill>
              </a:defRPr>
            </a:lvl2pPr>
            <a:lvl3pPr lvl="2" rtl="0">
              <a:spcBef>
                <a:spcPts val="0"/>
              </a:spcBef>
              <a:spcAft>
                <a:spcPts val="0"/>
              </a:spcAft>
              <a:buClr>
                <a:srgbClr val="C1F400"/>
              </a:buClr>
              <a:buSzPts val="1400"/>
              <a:buNone/>
              <a:defRPr>
                <a:solidFill>
                  <a:srgbClr val="C1F400"/>
                </a:solidFill>
              </a:defRPr>
            </a:lvl3pPr>
            <a:lvl4pPr lvl="3" rtl="0">
              <a:spcBef>
                <a:spcPts val="0"/>
              </a:spcBef>
              <a:spcAft>
                <a:spcPts val="0"/>
              </a:spcAft>
              <a:buClr>
                <a:srgbClr val="C1F400"/>
              </a:buClr>
              <a:buSzPts val="1400"/>
              <a:buNone/>
              <a:defRPr>
                <a:solidFill>
                  <a:srgbClr val="C1F400"/>
                </a:solidFill>
              </a:defRPr>
            </a:lvl4pPr>
            <a:lvl5pPr lvl="4" rtl="0">
              <a:spcBef>
                <a:spcPts val="0"/>
              </a:spcBef>
              <a:spcAft>
                <a:spcPts val="0"/>
              </a:spcAft>
              <a:buClr>
                <a:srgbClr val="C1F400"/>
              </a:buClr>
              <a:buSzPts val="1400"/>
              <a:buNone/>
              <a:defRPr>
                <a:solidFill>
                  <a:srgbClr val="C1F400"/>
                </a:solidFill>
              </a:defRPr>
            </a:lvl5pPr>
            <a:lvl6pPr lvl="5" rtl="0">
              <a:spcBef>
                <a:spcPts val="0"/>
              </a:spcBef>
              <a:spcAft>
                <a:spcPts val="0"/>
              </a:spcAft>
              <a:buClr>
                <a:srgbClr val="C1F400"/>
              </a:buClr>
              <a:buSzPts val="1400"/>
              <a:buNone/>
              <a:defRPr>
                <a:solidFill>
                  <a:srgbClr val="C1F400"/>
                </a:solidFill>
              </a:defRPr>
            </a:lvl6pPr>
            <a:lvl7pPr lvl="6" rtl="0">
              <a:spcBef>
                <a:spcPts val="0"/>
              </a:spcBef>
              <a:spcAft>
                <a:spcPts val="0"/>
              </a:spcAft>
              <a:buClr>
                <a:srgbClr val="C1F400"/>
              </a:buClr>
              <a:buSzPts val="1400"/>
              <a:buNone/>
              <a:defRPr>
                <a:solidFill>
                  <a:srgbClr val="C1F400"/>
                </a:solidFill>
              </a:defRPr>
            </a:lvl7pPr>
            <a:lvl8pPr lvl="7" rtl="0">
              <a:spcBef>
                <a:spcPts val="0"/>
              </a:spcBef>
              <a:spcAft>
                <a:spcPts val="0"/>
              </a:spcAft>
              <a:buClr>
                <a:srgbClr val="C1F400"/>
              </a:buClr>
              <a:buSzPts val="1400"/>
              <a:buNone/>
              <a:defRPr>
                <a:solidFill>
                  <a:srgbClr val="C1F400"/>
                </a:solidFill>
              </a:defRPr>
            </a:lvl8pPr>
            <a:lvl9pPr lvl="8" rtl="0">
              <a:spcBef>
                <a:spcPts val="0"/>
              </a:spcBef>
              <a:spcAft>
                <a:spcPts val="0"/>
              </a:spcAft>
              <a:buClr>
                <a:srgbClr val="C1F400"/>
              </a:buClr>
              <a:buSzPts val="1400"/>
              <a:buNone/>
              <a:defRPr>
                <a:solidFill>
                  <a:srgbClr val="C1F400"/>
                </a:solidFill>
              </a:defRPr>
            </a:lvl9pPr>
          </a:lstStyle>
          <a:p>
            <a:endParaRPr/>
          </a:p>
        </p:txBody>
      </p:sp>
      <p:sp>
        <p:nvSpPr>
          <p:cNvPr id="43" name="Google Shape;43;p5"/>
          <p:cNvSpPr txBox="1">
            <a:spLocks noGrp="1"/>
          </p:cNvSpPr>
          <p:nvPr>
            <p:ph type="subTitle" idx="2"/>
          </p:nvPr>
        </p:nvSpPr>
        <p:spPr>
          <a:xfrm>
            <a:off x="17392050" y="11739600"/>
            <a:ext cx="5862900" cy="1240500"/>
          </a:xfrm>
          <a:prstGeom prst="rect">
            <a:avLst/>
          </a:prstGeom>
          <a:noFill/>
          <a:ln>
            <a:noFill/>
          </a:ln>
        </p:spPr>
        <p:txBody>
          <a:bodyPr spcFirstLastPara="1" wrap="square" lIns="91425" tIns="91425" rIns="91425" bIns="91425" anchor="ctr" anchorCtr="0">
            <a:noAutofit/>
          </a:bodyPr>
          <a:lstStyle>
            <a:lvl1pPr lvl="0" algn="r" rtl="0">
              <a:spcBef>
                <a:spcPts val="0"/>
              </a:spcBef>
              <a:spcAft>
                <a:spcPts val="0"/>
              </a:spcAft>
              <a:buClr>
                <a:srgbClr val="002A44"/>
              </a:buClr>
              <a:buSzPts val="2400"/>
              <a:buFont typeface="Montserrat SemiBold"/>
              <a:buNone/>
              <a:defRPr sz="2400">
                <a:solidFill>
                  <a:srgbClr val="002A44"/>
                </a:solidFill>
                <a:latin typeface="Montserrat SemiBold"/>
                <a:ea typeface="Montserrat SemiBold"/>
                <a:cs typeface="Montserrat SemiBold"/>
                <a:sym typeface="Montserrat SemiBold"/>
              </a:defRPr>
            </a:lvl1pPr>
            <a:lvl2pPr lvl="1" algn="r" rtl="0">
              <a:spcBef>
                <a:spcPts val="0"/>
              </a:spcBef>
              <a:spcAft>
                <a:spcPts val="0"/>
              </a:spcAft>
              <a:buClr>
                <a:srgbClr val="002A44"/>
              </a:buClr>
              <a:buSzPts val="2400"/>
              <a:buNone/>
              <a:defRPr sz="2400">
                <a:solidFill>
                  <a:srgbClr val="002A44"/>
                </a:solidFill>
              </a:defRPr>
            </a:lvl2pPr>
            <a:lvl3pPr lvl="2" algn="r" rtl="0">
              <a:spcBef>
                <a:spcPts val="0"/>
              </a:spcBef>
              <a:spcAft>
                <a:spcPts val="0"/>
              </a:spcAft>
              <a:buClr>
                <a:srgbClr val="002A44"/>
              </a:buClr>
              <a:buSzPts val="2400"/>
              <a:buNone/>
              <a:defRPr sz="2400">
                <a:solidFill>
                  <a:srgbClr val="002A44"/>
                </a:solidFill>
              </a:defRPr>
            </a:lvl3pPr>
            <a:lvl4pPr lvl="3" algn="r" rtl="0">
              <a:spcBef>
                <a:spcPts val="0"/>
              </a:spcBef>
              <a:spcAft>
                <a:spcPts val="0"/>
              </a:spcAft>
              <a:buClr>
                <a:srgbClr val="002A44"/>
              </a:buClr>
              <a:buSzPts val="2400"/>
              <a:buNone/>
              <a:defRPr sz="2400">
                <a:solidFill>
                  <a:srgbClr val="002A44"/>
                </a:solidFill>
              </a:defRPr>
            </a:lvl4pPr>
            <a:lvl5pPr lvl="4" algn="r" rtl="0">
              <a:spcBef>
                <a:spcPts val="0"/>
              </a:spcBef>
              <a:spcAft>
                <a:spcPts val="0"/>
              </a:spcAft>
              <a:buClr>
                <a:srgbClr val="002A44"/>
              </a:buClr>
              <a:buSzPts val="2400"/>
              <a:buNone/>
              <a:defRPr sz="2400">
                <a:solidFill>
                  <a:srgbClr val="002A44"/>
                </a:solidFill>
              </a:defRPr>
            </a:lvl5pPr>
            <a:lvl6pPr lvl="5" algn="r" rtl="0">
              <a:spcBef>
                <a:spcPts val="0"/>
              </a:spcBef>
              <a:spcAft>
                <a:spcPts val="0"/>
              </a:spcAft>
              <a:buClr>
                <a:srgbClr val="002A44"/>
              </a:buClr>
              <a:buSzPts val="2400"/>
              <a:buNone/>
              <a:defRPr sz="2400">
                <a:solidFill>
                  <a:srgbClr val="002A44"/>
                </a:solidFill>
              </a:defRPr>
            </a:lvl6pPr>
            <a:lvl7pPr lvl="6" algn="r" rtl="0">
              <a:spcBef>
                <a:spcPts val="0"/>
              </a:spcBef>
              <a:spcAft>
                <a:spcPts val="0"/>
              </a:spcAft>
              <a:buClr>
                <a:srgbClr val="002A44"/>
              </a:buClr>
              <a:buSzPts val="2400"/>
              <a:buNone/>
              <a:defRPr sz="2400">
                <a:solidFill>
                  <a:srgbClr val="002A44"/>
                </a:solidFill>
              </a:defRPr>
            </a:lvl7pPr>
            <a:lvl8pPr lvl="7" algn="r" rtl="0">
              <a:spcBef>
                <a:spcPts val="0"/>
              </a:spcBef>
              <a:spcAft>
                <a:spcPts val="0"/>
              </a:spcAft>
              <a:buClr>
                <a:srgbClr val="002A44"/>
              </a:buClr>
              <a:buSzPts val="2400"/>
              <a:buNone/>
              <a:defRPr sz="2400">
                <a:solidFill>
                  <a:srgbClr val="002A44"/>
                </a:solidFill>
              </a:defRPr>
            </a:lvl8pPr>
            <a:lvl9pPr lvl="8" algn="r" rtl="0">
              <a:spcBef>
                <a:spcPts val="0"/>
              </a:spcBef>
              <a:spcAft>
                <a:spcPts val="0"/>
              </a:spcAft>
              <a:buClr>
                <a:srgbClr val="002A44"/>
              </a:buClr>
              <a:buSzPts val="2400"/>
              <a:buNone/>
              <a:defRPr sz="2400">
                <a:solidFill>
                  <a:srgbClr val="002A44"/>
                </a:solidFill>
              </a:defRPr>
            </a:lvl9pPr>
          </a:lstStyle>
          <a:p>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Six Bullet Points">
  <p:cSld name="Six Bullet Points">
    <p:bg>
      <p:bgPr>
        <a:solidFill>
          <a:srgbClr val="002A44"/>
        </a:solidFill>
        <a:effectLst/>
      </p:bgPr>
    </p:bg>
    <p:spTree>
      <p:nvGrpSpPr>
        <p:cNvPr id="1" name="Shape 550"/>
        <p:cNvGrpSpPr/>
        <p:nvPr/>
      </p:nvGrpSpPr>
      <p:grpSpPr>
        <a:xfrm>
          <a:off x="0" y="0"/>
          <a:ext cx="0" cy="0"/>
          <a:chOff x="0" y="0"/>
          <a:chExt cx="0" cy="0"/>
        </a:xfrm>
      </p:grpSpPr>
      <p:pic>
        <p:nvPicPr>
          <p:cNvPr id="551" name="Google Shape;551;p44"/>
          <p:cNvPicPr preferRelativeResize="0"/>
          <p:nvPr/>
        </p:nvPicPr>
        <p:blipFill rotWithShape="1">
          <a:blip r:embed="rId2">
            <a:alphaModFix/>
          </a:blip>
          <a:srcRect b="93557"/>
          <a:stretch/>
        </p:blipFill>
        <p:spPr>
          <a:xfrm>
            <a:off x="0" y="13111675"/>
            <a:ext cx="24377651" cy="604325"/>
          </a:xfrm>
          <a:prstGeom prst="rect">
            <a:avLst/>
          </a:prstGeom>
          <a:noFill/>
          <a:ln>
            <a:noFill/>
          </a:ln>
        </p:spPr>
      </p:pic>
      <p:sp>
        <p:nvSpPr>
          <p:cNvPr id="552" name="Google Shape;552;p44"/>
          <p:cNvSpPr/>
          <p:nvPr/>
        </p:nvSpPr>
        <p:spPr>
          <a:xfrm>
            <a:off x="22412037" y="536597"/>
            <a:ext cx="1515111" cy="1515111"/>
          </a:xfrm>
          <a:custGeom>
            <a:avLst/>
            <a:gdLst/>
            <a:ahLst/>
            <a:cxnLst/>
            <a:rect l="l" t="t" r="r" b="b"/>
            <a:pathLst>
              <a:path w="1137044" h="1137044" extrusionOk="0">
                <a:moveTo>
                  <a:pt x="0" y="0"/>
                </a:moveTo>
                <a:lnTo>
                  <a:pt x="1137044" y="0"/>
                </a:lnTo>
                <a:lnTo>
                  <a:pt x="1137044" y="1137044"/>
                </a:lnTo>
                <a:lnTo>
                  <a:pt x="0" y="1137044"/>
                </a:lnTo>
                <a:lnTo>
                  <a:pt x="0" y="0"/>
                </a:lnTo>
                <a:close/>
              </a:path>
            </a:pathLst>
          </a:custGeom>
          <a:blipFill rotWithShape="1">
            <a:blip r:embed="rId3">
              <a:alphaModFix/>
            </a:blip>
            <a:stretch>
              <a:fillRect/>
            </a:stretch>
          </a:blipFill>
          <a:ln>
            <a:noFill/>
          </a:ln>
        </p:spPr>
      </p:sp>
      <p:sp>
        <p:nvSpPr>
          <p:cNvPr id="553" name="Google Shape;553;p44"/>
          <p:cNvSpPr txBox="1">
            <a:spLocks noGrp="1"/>
          </p:cNvSpPr>
          <p:nvPr>
            <p:ph type="title"/>
          </p:nvPr>
        </p:nvSpPr>
        <p:spPr>
          <a:xfrm>
            <a:off x="1990350" y="2201850"/>
            <a:ext cx="19257600" cy="1370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7200"/>
              <a:buFont typeface="Montserrat Black"/>
              <a:buNone/>
              <a:defRPr sz="7200">
                <a:solidFill>
                  <a:schemeClr val="lt1"/>
                </a:solidFill>
                <a:latin typeface="Montserrat Black"/>
                <a:ea typeface="Montserrat Black"/>
                <a:cs typeface="Montserrat Black"/>
                <a:sym typeface="Montserrat Black"/>
              </a:defRPr>
            </a:lvl1pPr>
            <a:lvl2pPr lvl="1" rtl="0">
              <a:spcBef>
                <a:spcPts val="0"/>
              </a:spcBef>
              <a:spcAft>
                <a:spcPts val="0"/>
              </a:spcAft>
              <a:buClr>
                <a:schemeClr val="lt1"/>
              </a:buClr>
              <a:buSzPts val="7200"/>
              <a:buNone/>
              <a:defRPr sz="7200">
                <a:solidFill>
                  <a:schemeClr val="lt1"/>
                </a:solidFill>
              </a:defRPr>
            </a:lvl2pPr>
            <a:lvl3pPr lvl="2" rtl="0">
              <a:spcBef>
                <a:spcPts val="0"/>
              </a:spcBef>
              <a:spcAft>
                <a:spcPts val="0"/>
              </a:spcAft>
              <a:buClr>
                <a:schemeClr val="lt1"/>
              </a:buClr>
              <a:buSzPts val="7200"/>
              <a:buNone/>
              <a:defRPr sz="7200">
                <a:solidFill>
                  <a:schemeClr val="lt1"/>
                </a:solidFill>
              </a:defRPr>
            </a:lvl3pPr>
            <a:lvl4pPr lvl="3" rtl="0">
              <a:spcBef>
                <a:spcPts val="0"/>
              </a:spcBef>
              <a:spcAft>
                <a:spcPts val="0"/>
              </a:spcAft>
              <a:buClr>
                <a:schemeClr val="lt1"/>
              </a:buClr>
              <a:buSzPts val="7200"/>
              <a:buNone/>
              <a:defRPr sz="7200">
                <a:solidFill>
                  <a:schemeClr val="lt1"/>
                </a:solidFill>
              </a:defRPr>
            </a:lvl4pPr>
            <a:lvl5pPr lvl="4" rtl="0">
              <a:spcBef>
                <a:spcPts val="0"/>
              </a:spcBef>
              <a:spcAft>
                <a:spcPts val="0"/>
              </a:spcAft>
              <a:buClr>
                <a:schemeClr val="lt1"/>
              </a:buClr>
              <a:buSzPts val="7200"/>
              <a:buNone/>
              <a:defRPr sz="7200">
                <a:solidFill>
                  <a:schemeClr val="lt1"/>
                </a:solidFill>
              </a:defRPr>
            </a:lvl5pPr>
            <a:lvl6pPr lvl="5" rtl="0">
              <a:spcBef>
                <a:spcPts val="0"/>
              </a:spcBef>
              <a:spcAft>
                <a:spcPts val="0"/>
              </a:spcAft>
              <a:buClr>
                <a:schemeClr val="lt1"/>
              </a:buClr>
              <a:buSzPts val="7200"/>
              <a:buNone/>
              <a:defRPr sz="7200">
                <a:solidFill>
                  <a:schemeClr val="lt1"/>
                </a:solidFill>
              </a:defRPr>
            </a:lvl6pPr>
            <a:lvl7pPr lvl="6" rtl="0">
              <a:spcBef>
                <a:spcPts val="0"/>
              </a:spcBef>
              <a:spcAft>
                <a:spcPts val="0"/>
              </a:spcAft>
              <a:buClr>
                <a:schemeClr val="lt1"/>
              </a:buClr>
              <a:buSzPts val="7200"/>
              <a:buNone/>
              <a:defRPr sz="7200">
                <a:solidFill>
                  <a:schemeClr val="lt1"/>
                </a:solidFill>
              </a:defRPr>
            </a:lvl7pPr>
            <a:lvl8pPr lvl="7" rtl="0">
              <a:spcBef>
                <a:spcPts val="0"/>
              </a:spcBef>
              <a:spcAft>
                <a:spcPts val="0"/>
              </a:spcAft>
              <a:buClr>
                <a:schemeClr val="lt1"/>
              </a:buClr>
              <a:buSzPts val="7200"/>
              <a:buNone/>
              <a:defRPr sz="7200">
                <a:solidFill>
                  <a:schemeClr val="lt1"/>
                </a:solidFill>
              </a:defRPr>
            </a:lvl8pPr>
            <a:lvl9pPr lvl="8" rtl="0">
              <a:spcBef>
                <a:spcPts val="0"/>
              </a:spcBef>
              <a:spcAft>
                <a:spcPts val="0"/>
              </a:spcAft>
              <a:buClr>
                <a:schemeClr val="lt1"/>
              </a:buClr>
              <a:buSzPts val="7200"/>
              <a:buNone/>
              <a:defRPr sz="7200">
                <a:solidFill>
                  <a:schemeClr val="lt1"/>
                </a:solidFill>
              </a:defRPr>
            </a:lvl9pPr>
          </a:lstStyle>
          <a:p>
            <a:endParaRPr/>
          </a:p>
        </p:txBody>
      </p:sp>
      <p:sp>
        <p:nvSpPr>
          <p:cNvPr id="554" name="Google Shape;554;p44"/>
          <p:cNvSpPr txBox="1">
            <a:spLocks noGrp="1"/>
          </p:cNvSpPr>
          <p:nvPr>
            <p:ph type="subTitle" idx="1"/>
          </p:nvPr>
        </p:nvSpPr>
        <p:spPr>
          <a:xfrm>
            <a:off x="2050300" y="3798050"/>
            <a:ext cx="20078700" cy="1681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3600"/>
              <a:buFont typeface="Montserrat"/>
              <a:buNone/>
              <a:defRPr sz="3600">
                <a:solidFill>
                  <a:schemeClr val="lt1"/>
                </a:solidFill>
                <a:latin typeface="Montserrat"/>
                <a:ea typeface="Montserrat"/>
                <a:cs typeface="Montserrat"/>
                <a:sym typeface="Montserrat"/>
              </a:defRPr>
            </a:lvl1pPr>
            <a:lvl2pPr lvl="1" rtl="0">
              <a:spcBef>
                <a:spcPts val="0"/>
              </a:spcBef>
              <a:spcAft>
                <a:spcPts val="0"/>
              </a:spcAft>
              <a:buClr>
                <a:schemeClr val="lt1"/>
              </a:buClr>
              <a:buSzPts val="3600"/>
              <a:buNone/>
              <a:defRPr sz="3600">
                <a:solidFill>
                  <a:schemeClr val="lt1"/>
                </a:solidFill>
              </a:defRPr>
            </a:lvl2pPr>
            <a:lvl3pPr lvl="2" rtl="0">
              <a:spcBef>
                <a:spcPts val="0"/>
              </a:spcBef>
              <a:spcAft>
                <a:spcPts val="0"/>
              </a:spcAft>
              <a:buClr>
                <a:schemeClr val="lt1"/>
              </a:buClr>
              <a:buSzPts val="3600"/>
              <a:buNone/>
              <a:defRPr sz="3600">
                <a:solidFill>
                  <a:schemeClr val="lt1"/>
                </a:solidFill>
              </a:defRPr>
            </a:lvl3pPr>
            <a:lvl4pPr lvl="3" rtl="0">
              <a:spcBef>
                <a:spcPts val="0"/>
              </a:spcBef>
              <a:spcAft>
                <a:spcPts val="0"/>
              </a:spcAft>
              <a:buClr>
                <a:schemeClr val="lt1"/>
              </a:buClr>
              <a:buSzPts val="3600"/>
              <a:buNone/>
              <a:defRPr sz="3600">
                <a:solidFill>
                  <a:schemeClr val="lt1"/>
                </a:solidFill>
              </a:defRPr>
            </a:lvl4pPr>
            <a:lvl5pPr lvl="4" rtl="0">
              <a:spcBef>
                <a:spcPts val="0"/>
              </a:spcBef>
              <a:spcAft>
                <a:spcPts val="0"/>
              </a:spcAft>
              <a:buClr>
                <a:schemeClr val="lt1"/>
              </a:buClr>
              <a:buSzPts val="3600"/>
              <a:buNone/>
              <a:defRPr sz="3600">
                <a:solidFill>
                  <a:schemeClr val="lt1"/>
                </a:solidFill>
              </a:defRPr>
            </a:lvl5pPr>
            <a:lvl6pPr lvl="5" rtl="0">
              <a:spcBef>
                <a:spcPts val="0"/>
              </a:spcBef>
              <a:spcAft>
                <a:spcPts val="0"/>
              </a:spcAft>
              <a:buClr>
                <a:schemeClr val="lt1"/>
              </a:buClr>
              <a:buSzPts val="3600"/>
              <a:buNone/>
              <a:defRPr sz="3600">
                <a:solidFill>
                  <a:schemeClr val="lt1"/>
                </a:solidFill>
              </a:defRPr>
            </a:lvl6pPr>
            <a:lvl7pPr lvl="6" rtl="0">
              <a:spcBef>
                <a:spcPts val="0"/>
              </a:spcBef>
              <a:spcAft>
                <a:spcPts val="0"/>
              </a:spcAft>
              <a:buClr>
                <a:schemeClr val="lt1"/>
              </a:buClr>
              <a:buSzPts val="3600"/>
              <a:buNone/>
              <a:defRPr sz="3600">
                <a:solidFill>
                  <a:schemeClr val="lt1"/>
                </a:solidFill>
              </a:defRPr>
            </a:lvl7pPr>
            <a:lvl8pPr lvl="7" rtl="0">
              <a:spcBef>
                <a:spcPts val="0"/>
              </a:spcBef>
              <a:spcAft>
                <a:spcPts val="0"/>
              </a:spcAft>
              <a:buClr>
                <a:schemeClr val="lt1"/>
              </a:buClr>
              <a:buSzPts val="3600"/>
              <a:buNone/>
              <a:defRPr sz="3600">
                <a:solidFill>
                  <a:schemeClr val="lt1"/>
                </a:solidFill>
              </a:defRPr>
            </a:lvl8pPr>
            <a:lvl9pPr lvl="8" rtl="0">
              <a:spcBef>
                <a:spcPts val="0"/>
              </a:spcBef>
              <a:spcAft>
                <a:spcPts val="0"/>
              </a:spcAft>
              <a:buClr>
                <a:schemeClr val="lt1"/>
              </a:buClr>
              <a:buSzPts val="3600"/>
              <a:buNone/>
              <a:defRPr sz="3600">
                <a:solidFill>
                  <a:schemeClr val="lt1"/>
                </a:solidFill>
              </a:defRPr>
            </a:lvl9pPr>
          </a:lstStyle>
          <a:p>
            <a:endParaRPr/>
          </a:p>
        </p:txBody>
      </p:sp>
      <p:sp>
        <p:nvSpPr>
          <p:cNvPr id="555" name="Google Shape;555;p44"/>
          <p:cNvSpPr/>
          <p:nvPr/>
        </p:nvSpPr>
        <p:spPr>
          <a:xfrm>
            <a:off x="2167172" y="6117646"/>
            <a:ext cx="514200" cy="514200"/>
          </a:xfrm>
          <a:prstGeom prst="ellipse">
            <a:avLst/>
          </a:prstGeom>
          <a:solidFill>
            <a:srgbClr val="C1F4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56" name="Google Shape;556;p44"/>
          <p:cNvSpPr/>
          <p:nvPr/>
        </p:nvSpPr>
        <p:spPr>
          <a:xfrm>
            <a:off x="2167172" y="7905996"/>
            <a:ext cx="514200" cy="514200"/>
          </a:xfrm>
          <a:prstGeom prst="ellipse">
            <a:avLst/>
          </a:prstGeom>
          <a:solidFill>
            <a:srgbClr val="C1F4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57" name="Google Shape;557;p44"/>
          <p:cNvSpPr/>
          <p:nvPr/>
        </p:nvSpPr>
        <p:spPr>
          <a:xfrm>
            <a:off x="2167172" y="9812996"/>
            <a:ext cx="514200" cy="514200"/>
          </a:xfrm>
          <a:prstGeom prst="ellipse">
            <a:avLst/>
          </a:prstGeom>
          <a:solidFill>
            <a:srgbClr val="C1F4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58" name="Google Shape;558;p44"/>
          <p:cNvSpPr txBox="1">
            <a:spLocks noGrp="1"/>
          </p:cNvSpPr>
          <p:nvPr>
            <p:ph type="subTitle" idx="2"/>
          </p:nvPr>
        </p:nvSpPr>
        <p:spPr>
          <a:xfrm>
            <a:off x="3043649" y="6117650"/>
            <a:ext cx="9073800" cy="753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400"/>
              <a:buFont typeface="Montserrat SemiBold"/>
              <a:buNone/>
              <a:defRPr sz="2400">
                <a:solidFill>
                  <a:srgbClr val="C1F400"/>
                </a:solidFill>
                <a:latin typeface="Montserrat SemiBold"/>
                <a:ea typeface="Montserrat SemiBold"/>
                <a:cs typeface="Montserrat SemiBold"/>
                <a:sym typeface="Montserrat SemiBold"/>
              </a:defRPr>
            </a:lvl1pPr>
            <a:lvl2pPr lvl="1"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2pPr>
            <a:lvl3pPr lvl="2"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3pPr>
            <a:lvl4pPr lvl="3"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4pPr>
            <a:lvl5pPr lvl="4"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5pPr>
            <a:lvl6pPr lvl="5"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6pPr>
            <a:lvl7pPr lvl="6"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7pPr>
            <a:lvl8pPr lvl="7"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8pPr>
            <a:lvl9pPr lvl="8"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9pPr>
          </a:lstStyle>
          <a:p>
            <a:endParaRPr/>
          </a:p>
        </p:txBody>
      </p:sp>
      <p:sp>
        <p:nvSpPr>
          <p:cNvPr id="559" name="Google Shape;559;p44"/>
          <p:cNvSpPr txBox="1">
            <a:spLocks noGrp="1"/>
          </p:cNvSpPr>
          <p:nvPr>
            <p:ph type="subTitle" idx="3"/>
          </p:nvPr>
        </p:nvSpPr>
        <p:spPr>
          <a:xfrm>
            <a:off x="3043649" y="7906000"/>
            <a:ext cx="9073800" cy="753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400"/>
              <a:buFont typeface="Montserrat SemiBold"/>
              <a:buNone/>
              <a:defRPr sz="2400">
                <a:solidFill>
                  <a:srgbClr val="C1F400"/>
                </a:solidFill>
                <a:latin typeface="Montserrat SemiBold"/>
                <a:ea typeface="Montserrat SemiBold"/>
                <a:cs typeface="Montserrat SemiBold"/>
                <a:sym typeface="Montserrat SemiBold"/>
              </a:defRPr>
            </a:lvl1pPr>
            <a:lvl2pPr lvl="1"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2pPr>
            <a:lvl3pPr lvl="2"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3pPr>
            <a:lvl4pPr lvl="3"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4pPr>
            <a:lvl5pPr lvl="4"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5pPr>
            <a:lvl6pPr lvl="5"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6pPr>
            <a:lvl7pPr lvl="6"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7pPr>
            <a:lvl8pPr lvl="7"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8pPr>
            <a:lvl9pPr lvl="8"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9pPr>
          </a:lstStyle>
          <a:p>
            <a:endParaRPr/>
          </a:p>
        </p:txBody>
      </p:sp>
      <p:sp>
        <p:nvSpPr>
          <p:cNvPr id="560" name="Google Shape;560;p44"/>
          <p:cNvSpPr txBox="1">
            <a:spLocks noGrp="1"/>
          </p:cNvSpPr>
          <p:nvPr>
            <p:ph type="subTitle" idx="4"/>
          </p:nvPr>
        </p:nvSpPr>
        <p:spPr>
          <a:xfrm>
            <a:off x="3043649" y="9813000"/>
            <a:ext cx="9073800" cy="753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400"/>
              <a:buFont typeface="Montserrat SemiBold"/>
              <a:buNone/>
              <a:defRPr sz="2400">
                <a:solidFill>
                  <a:srgbClr val="C1F400"/>
                </a:solidFill>
                <a:latin typeface="Montserrat SemiBold"/>
                <a:ea typeface="Montserrat SemiBold"/>
                <a:cs typeface="Montserrat SemiBold"/>
                <a:sym typeface="Montserrat SemiBold"/>
              </a:defRPr>
            </a:lvl1pPr>
            <a:lvl2pPr lvl="1"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2pPr>
            <a:lvl3pPr lvl="2"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3pPr>
            <a:lvl4pPr lvl="3"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4pPr>
            <a:lvl5pPr lvl="4"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5pPr>
            <a:lvl6pPr lvl="5"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6pPr>
            <a:lvl7pPr lvl="6"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7pPr>
            <a:lvl8pPr lvl="7"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8pPr>
            <a:lvl9pPr lvl="8"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9pPr>
          </a:lstStyle>
          <a:p>
            <a:endParaRPr/>
          </a:p>
        </p:txBody>
      </p:sp>
      <p:sp>
        <p:nvSpPr>
          <p:cNvPr id="561" name="Google Shape;561;p44"/>
          <p:cNvSpPr/>
          <p:nvPr/>
        </p:nvSpPr>
        <p:spPr>
          <a:xfrm>
            <a:off x="12640247" y="6117646"/>
            <a:ext cx="514200" cy="514200"/>
          </a:xfrm>
          <a:prstGeom prst="ellipse">
            <a:avLst/>
          </a:prstGeom>
          <a:solidFill>
            <a:srgbClr val="C1F4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62" name="Google Shape;562;p44"/>
          <p:cNvSpPr/>
          <p:nvPr/>
        </p:nvSpPr>
        <p:spPr>
          <a:xfrm>
            <a:off x="12640247" y="7905996"/>
            <a:ext cx="514200" cy="514200"/>
          </a:xfrm>
          <a:prstGeom prst="ellipse">
            <a:avLst/>
          </a:prstGeom>
          <a:solidFill>
            <a:srgbClr val="C1F4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63" name="Google Shape;563;p44"/>
          <p:cNvSpPr/>
          <p:nvPr/>
        </p:nvSpPr>
        <p:spPr>
          <a:xfrm>
            <a:off x="12640247" y="9812996"/>
            <a:ext cx="514200" cy="514200"/>
          </a:xfrm>
          <a:prstGeom prst="ellipse">
            <a:avLst/>
          </a:prstGeom>
          <a:solidFill>
            <a:srgbClr val="C1F4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64" name="Google Shape;564;p44"/>
          <p:cNvSpPr txBox="1">
            <a:spLocks noGrp="1"/>
          </p:cNvSpPr>
          <p:nvPr>
            <p:ph type="subTitle" idx="5"/>
          </p:nvPr>
        </p:nvSpPr>
        <p:spPr>
          <a:xfrm>
            <a:off x="13516724" y="6117650"/>
            <a:ext cx="9073800" cy="753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400"/>
              <a:buFont typeface="Montserrat SemiBold"/>
              <a:buNone/>
              <a:defRPr sz="2400">
                <a:solidFill>
                  <a:srgbClr val="C1F400"/>
                </a:solidFill>
                <a:latin typeface="Montserrat SemiBold"/>
                <a:ea typeface="Montserrat SemiBold"/>
                <a:cs typeface="Montserrat SemiBold"/>
                <a:sym typeface="Montserrat SemiBold"/>
              </a:defRPr>
            </a:lvl1pPr>
            <a:lvl2pPr lvl="1"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2pPr>
            <a:lvl3pPr lvl="2"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3pPr>
            <a:lvl4pPr lvl="3"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4pPr>
            <a:lvl5pPr lvl="4"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5pPr>
            <a:lvl6pPr lvl="5"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6pPr>
            <a:lvl7pPr lvl="6"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7pPr>
            <a:lvl8pPr lvl="7"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8pPr>
            <a:lvl9pPr lvl="8"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9pPr>
          </a:lstStyle>
          <a:p>
            <a:endParaRPr/>
          </a:p>
        </p:txBody>
      </p:sp>
      <p:sp>
        <p:nvSpPr>
          <p:cNvPr id="565" name="Google Shape;565;p44"/>
          <p:cNvSpPr txBox="1">
            <a:spLocks noGrp="1"/>
          </p:cNvSpPr>
          <p:nvPr>
            <p:ph type="subTitle" idx="6"/>
          </p:nvPr>
        </p:nvSpPr>
        <p:spPr>
          <a:xfrm>
            <a:off x="13516724" y="7906000"/>
            <a:ext cx="9073800" cy="753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400"/>
              <a:buFont typeface="Montserrat SemiBold"/>
              <a:buNone/>
              <a:defRPr sz="2400">
                <a:solidFill>
                  <a:srgbClr val="C1F400"/>
                </a:solidFill>
                <a:latin typeface="Montserrat SemiBold"/>
                <a:ea typeface="Montserrat SemiBold"/>
                <a:cs typeface="Montserrat SemiBold"/>
                <a:sym typeface="Montserrat SemiBold"/>
              </a:defRPr>
            </a:lvl1pPr>
            <a:lvl2pPr lvl="1"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2pPr>
            <a:lvl3pPr lvl="2"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3pPr>
            <a:lvl4pPr lvl="3"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4pPr>
            <a:lvl5pPr lvl="4"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5pPr>
            <a:lvl6pPr lvl="5"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6pPr>
            <a:lvl7pPr lvl="6"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7pPr>
            <a:lvl8pPr lvl="7"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8pPr>
            <a:lvl9pPr lvl="8"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9pPr>
          </a:lstStyle>
          <a:p>
            <a:endParaRPr/>
          </a:p>
        </p:txBody>
      </p:sp>
      <p:sp>
        <p:nvSpPr>
          <p:cNvPr id="566" name="Google Shape;566;p44"/>
          <p:cNvSpPr txBox="1">
            <a:spLocks noGrp="1"/>
          </p:cNvSpPr>
          <p:nvPr>
            <p:ph type="subTitle" idx="7"/>
          </p:nvPr>
        </p:nvSpPr>
        <p:spPr>
          <a:xfrm>
            <a:off x="13516724" y="9813000"/>
            <a:ext cx="9073800" cy="753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400"/>
              <a:buFont typeface="Montserrat SemiBold"/>
              <a:buNone/>
              <a:defRPr sz="2400">
                <a:solidFill>
                  <a:srgbClr val="C1F400"/>
                </a:solidFill>
                <a:latin typeface="Montserrat SemiBold"/>
                <a:ea typeface="Montserrat SemiBold"/>
                <a:cs typeface="Montserrat SemiBold"/>
                <a:sym typeface="Montserrat SemiBold"/>
              </a:defRPr>
            </a:lvl1pPr>
            <a:lvl2pPr lvl="1"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2pPr>
            <a:lvl3pPr lvl="2"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3pPr>
            <a:lvl4pPr lvl="3"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4pPr>
            <a:lvl5pPr lvl="4"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5pPr>
            <a:lvl6pPr lvl="5"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6pPr>
            <a:lvl7pPr lvl="6"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7pPr>
            <a:lvl8pPr lvl="7"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8pPr>
            <a:lvl9pPr lvl="8"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9pPr>
          </a:lstStyle>
          <a:p>
            <a:endParaRPr/>
          </a:p>
        </p:txBody>
      </p:sp>
      <p:pic>
        <p:nvPicPr>
          <p:cNvPr id="567" name="Google Shape;567;p44"/>
          <p:cNvPicPr preferRelativeResize="0"/>
          <p:nvPr/>
        </p:nvPicPr>
        <p:blipFill rotWithShape="1">
          <a:blip r:embed="rId2">
            <a:alphaModFix/>
          </a:blip>
          <a:srcRect t="83846"/>
          <a:stretch/>
        </p:blipFill>
        <p:spPr>
          <a:xfrm>
            <a:off x="-2992950" y="-451525"/>
            <a:ext cx="24377651" cy="1515099"/>
          </a:xfrm>
          <a:prstGeom prst="rect">
            <a:avLst/>
          </a:prstGeom>
          <a:noFill/>
          <a:ln>
            <a:noFill/>
          </a:ln>
        </p:spPr>
      </p:pic>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Six Bullet Points Light">
  <p:cSld name="Six Bullet Points Light">
    <p:bg>
      <p:bgPr>
        <a:solidFill>
          <a:schemeClr val="lt1"/>
        </a:solidFill>
        <a:effectLst/>
      </p:bgPr>
    </p:bg>
    <p:spTree>
      <p:nvGrpSpPr>
        <p:cNvPr id="1" name="Shape 568"/>
        <p:cNvGrpSpPr/>
        <p:nvPr/>
      </p:nvGrpSpPr>
      <p:grpSpPr>
        <a:xfrm>
          <a:off x="0" y="0"/>
          <a:ext cx="0" cy="0"/>
          <a:chOff x="0" y="0"/>
          <a:chExt cx="0" cy="0"/>
        </a:xfrm>
      </p:grpSpPr>
      <p:pic>
        <p:nvPicPr>
          <p:cNvPr id="569" name="Google Shape;569;p45"/>
          <p:cNvPicPr preferRelativeResize="0"/>
          <p:nvPr/>
        </p:nvPicPr>
        <p:blipFill rotWithShape="1">
          <a:blip r:embed="rId2">
            <a:alphaModFix/>
          </a:blip>
          <a:srcRect b="93557"/>
          <a:stretch/>
        </p:blipFill>
        <p:spPr>
          <a:xfrm>
            <a:off x="0" y="13111675"/>
            <a:ext cx="24377651" cy="604325"/>
          </a:xfrm>
          <a:prstGeom prst="rect">
            <a:avLst/>
          </a:prstGeom>
          <a:noFill/>
          <a:ln>
            <a:noFill/>
          </a:ln>
        </p:spPr>
      </p:pic>
      <p:sp>
        <p:nvSpPr>
          <p:cNvPr id="570" name="Google Shape;570;p45"/>
          <p:cNvSpPr/>
          <p:nvPr/>
        </p:nvSpPr>
        <p:spPr>
          <a:xfrm>
            <a:off x="22412037" y="536597"/>
            <a:ext cx="1515111" cy="1515111"/>
          </a:xfrm>
          <a:custGeom>
            <a:avLst/>
            <a:gdLst/>
            <a:ahLst/>
            <a:cxnLst/>
            <a:rect l="l" t="t" r="r" b="b"/>
            <a:pathLst>
              <a:path w="1137044" h="1137044" extrusionOk="0">
                <a:moveTo>
                  <a:pt x="0" y="0"/>
                </a:moveTo>
                <a:lnTo>
                  <a:pt x="1137044" y="0"/>
                </a:lnTo>
                <a:lnTo>
                  <a:pt x="1137044" y="1137044"/>
                </a:lnTo>
                <a:lnTo>
                  <a:pt x="0" y="1137044"/>
                </a:lnTo>
                <a:lnTo>
                  <a:pt x="0" y="0"/>
                </a:lnTo>
                <a:close/>
              </a:path>
            </a:pathLst>
          </a:custGeom>
          <a:blipFill rotWithShape="1">
            <a:blip r:embed="rId3">
              <a:alphaModFix/>
            </a:blip>
            <a:stretch>
              <a:fillRect/>
            </a:stretch>
          </a:blipFill>
          <a:ln>
            <a:noFill/>
          </a:ln>
        </p:spPr>
      </p:sp>
      <p:sp>
        <p:nvSpPr>
          <p:cNvPr id="571" name="Google Shape;571;p45"/>
          <p:cNvSpPr txBox="1">
            <a:spLocks noGrp="1"/>
          </p:cNvSpPr>
          <p:nvPr>
            <p:ph type="title"/>
          </p:nvPr>
        </p:nvSpPr>
        <p:spPr>
          <a:xfrm>
            <a:off x="1990350" y="2201850"/>
            <a:ext cx="19257600" cy="1370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D45"/>
              </a:buClr>
              <a:buSzPts val="7200"/>
              <a:buFont typeface="Montserrat Black"/>
              <a:buNone/>
              <a:defRPr sz="7200">
                <a:solidFill>
                  <a:srgbClr val="002D45"/>
                </a:solidFill>
                <a:latin typeface="Montserrat Black"/>
                <a:ea typeface="Montserrat Black"/>
                <a:cs typeface="Montserrat Black"/>
                <a:sym typeface="Montserrat Black"/>
              </a:defRPr>
            </a:lvl1pPr>
            <a:lvl2pPr lvl="1" rtl="0">
              <a:spcBef>
                <a:spcPts val="0"/>
              </a:spcBef>
              <a:spcAft>
                <a:spcPts val="0"/>
              </a:spcAft>
              <a:buClr>
                <a:srgbClr val="002D45"/>
              </a:buClr>
              <a:buSzPts val="7200"/>
              <a:buNone/>
              <a:defRPr sz="7200">
                <a:solidFill>
                  <a:srgbClr val="002D45"/>
                </a:solidFill>
              </a:defRPr>
            </a:lvl2pPr>
            <a:lvl3pPr lvl="2" rtl="0">
              <a:spcBef>
                <a:spcPts val="0"/>
              </a:spcBef>
              <a:spcAft>
                <a:spcPts val="0"/>
              </a:spcAft>
              <a:buClr>
                <a:srgbClr val="002D45"/>
              </a:buClr>
              <a:buSzPts val="7200"/>
              <a:buNone/>
              <a:defRPr sz="7200">
                <a:solidFill>
                  <a:srgbClr val="002D45"/>
                </a:solidFill>
              </a:defRPr>
            </a:lvl3pPr>
            <a:lvl4pPr lvl="3" rtl="0">
              <a:spcBef>
                <a:spcPts val="0"/>
              </a:spcBef>
              <a:spcAft>
                <a:spcPts val="0"/>
              </a:spcAft>
              <a:buClr>
                <a:srgbClr val="002D45"/>
              </a:buClr>
              <a:buSzPts val="7200"/>
              <a:buNone/>
              <a:defRPr sz="7200">
                <a:solidFill>
                  <a:srgbClr val="002D45"/>
                </a:solidFill>
              </a:defRPr>
            </a:lvl4pPr>
            <a:lvl5pPr lvl="4" rtl="0">
              <a:spcBef>
                <a:spcPts val="0"/>
              </a:spcBef>
              <a:spcAft>
                <a:spcPts val="0"/>
              </a:spcAft>
              <a:buClr>
                <a:srgbClr val="002D45"/>
              </a:buClr>
              <a:buSzPts val="7200"/>
              <a:buNone/>
              <a:defRPr sz="7200">
                <a:solidFill>
                  <a:srgbClr val="002D45"/>
                </a:solidFill>
              </a:defRPr>
            </a:lvl5pPr>
            <a:lvl6pPr lvl="5" rtl="0">
              <a:spcBef>
                <a:spcPts val="0"/>
              </a:spcBef>
              <a:spcAft>
                <a:spcPts val="0"/>
              </a:spcAft>
              <a:buClr>
                <a:srgbClr val="002D45"/>
              </a:buClr>
              <a:buSzPts val="7200"/>
              <a:buNone/>
              <a:defRPr sz="7200">
                <a:solidFill>
                  <a:srgbClr val="002D45"/>
                </a:solidFill>
              </a:defRPr>
            </a:lvl6pPr>
            <a:lvl7pPr lvl="6" rtl="0">
              <a:spcBef>
                <a:spcPts val="0"/>
              </a:spcBef>
              <a:spcAft>
                <a:spcPts val="0"/>
              </a:spcAft>
              <a:buClr>
                <a:srgbClr val="002D45"/>
              </a:buClr>
              <a:buSzPts val="7200"/>
              <a:buNone/>
              <a:defRPr sz="7200">
                <a:solidFill>
                  <a:srgbClr val="002D45"/>
                </a:solidFill>
              </a:defRPr>
            </a:lvl7pPr>
            <a:lvl8pPr lvl="7" rtl="0">
              <a:spcBef>
                <a:spcPts val="0"/>
              </a:spcBef>
              <a:spcAft>
                <a:spcPts val="0"/>
              </a:spcAft>
              <a:buClr>
                <a:srgbClr val="002D45"/>
              </a:buClr>
              <a:buSzPts val="7200"/>
              <a:buNone/>
              <a:defRPr sz="7200">
                <a:solidFill>
                  <a:srgbClr val="002D45"/>
                </a:solidFill>
              </a:defRPr>
            </a:lvl8pPr>
            <a:lvl9pPr lvl="8" rtl="0">
              <a:spcBef>
                <a:spcPts val="0"/>
              </a:spcBef>
              <a:spcAft>
                <a:spcPts val="0"/>
              </a:spcAft>
              <a:buClr>
                <a:srgbClr val="002D45"/>
              </a:buClr>
              <a:buSzPts val="7200"/>
              <a:buNone/>
              <a:defRPr sz="7200">
                <a:solidFill>
                  <a:srgbClr val="002D45"/>
                </a:solidFill>
              </a:defRPr>
            </a:lvl9pPr>
          </a:lstStyle>
          <a:p>
            <a:endParaRPr/>
          </a:p>
        </p:txBody>
      </p:sp>
      <p:sp>
        <p:nvSpPr>
          <p:cNvPr id="572" name="Google Shape;572;p45"/>
          <p:cNvSpPr txBox="1">
            <a:spLocks noGrp="1"/>
          </p:cNvSpPr>
          <p:nvPr>
            <p:ph type="subTitle" idx="1"/>
          </p:nvPr>
        </p:nvSpPr>
        <p:spPr>
          <a:xfrm>
            <a:off x="2050300" y="3798050"/>
            <a:ext cx="20078700" cy="1681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D45"/>
              </a:buClr>
              <a:buSzPts val="3600"/>
              <a:buFont typeface="Montserrat"/>
              <a:buNone/>
              <a:defRPr sz="3600">
                <a:solidFill>
                  <a:srgbClr val="002D45"/>
                </a:solidFill>
                <a:latin typeface="Montserrat"/>
                <a:ea typeface="Montserrat"/>
                <a:cs typeface="Montserrat"/>
                <a:sym typeface="Montserrat"/>
              </a:defRPr>
            </a:lvl1pPr>
            <a:lvl2pPr lvl="1" rtl="0">
              <a:spcBef>
                <a:spcPts val="0"/>
              </a:spcBef>
              <a:spcAft>
                <a:spcPts val="0"/>
              </a:spcAft>
              <a:buClr>
                <a:srgbClr val="002D45"/>
              </a:buClr>
              <a:buSzPts val="3600"/>
              <a:buNone/>
              <a:defRPr sz="3600">
                <a:solidFill>
                  <a:srgbClr val="002D45"/>
                </a:solidFill>
              </a:defRPr>
            </a:lvl2pPr>
            <a:lvl3pPr lvl="2" rtl="0">
              <a:spcBef>
                <a:spcPts val="0"/>
              </a:spcBef>
              <a:spcAft>
                <a:spcPts val="0"/>
              </a:spcAft>
              <a:buClr>
                <a:srgbClr val="002D45"/>
              </a:buClr>
              <a:buSzPts val="3600"/>
              <a:buNone/>
              <a:defRPr sz="3600">
                <a:solidFill>
                  <a:srgbClr val="002D45"/>
                </a:solidFill>
              </a:defRPr>
            </a:lvl3pPr>
            <a:lvl4pPr lvl="3" rtl="0">
              <a:spcBef>
                <a:spcPts val="0"/>
              </a:spcBef>
              <a:spcAft>
                <a:spcPts val="0"/>
              </a:spcAft>
              <a:buClr>
                <a:srgbClr val="002D45"/>
              </a:buClr>
              <a:buSzPts val="3600"/>
              <a:buNone/>
              <a:defRPr sz="3600">
                <a:solidFill>
                  <a:srgbClr val="002D45"/>
                </a:solidFill>
              </a:defRPr>
            </a:lvl4pPr>
            <a:lvl5pPr lvl="4" rtl="0">
              <a:spcBef>
                <a:spcPts val="0"/>
              </a:spcBef>
              <a:spcAft>
                <a:spcPts val="0"/>
              </a:spcAft>
              <a:buClr>
                <a:srgbClr val="002D45"/>
              </a:buClr>
              <a:buSzPts val="3600"/>
              <a:buNone/>
              <a:defRPr sz="3600">
                <a:solidFill>
                  <a:srgbClr val="002D45"/>
                </a:solidFill>
              </a:defRPr>
            </a:lvl5pPr>
            <a:lvl6pPr lvl="5" rtl="0">
              <a:spcBef>
                <a:spcPts val="0"/>
              </a:spcBef>
              <a:spcAft>
                <a:spcPts val="0"/>
              </a:spcAft>
              <a:buClr>
                <a:srgbClr val="002D45"/>
              </a:buClr>
              <a:buSzPts val="3600"/>
              <a:buNone/>
              <a:defRPr sz="3600">
                <a:solidFill>
                  <a:srgbClr val="002D45"/>
                </a:solidFill>
              </a:defRPr>
            </a:lvl6pPr>
            <a:lvl7pPr lvl="6" rtl="0">
              <a:spcBef>
                <a:spcPts val="0"/>
              </a:spcBef>
              <a:spcAft>
                <a:spcPts val="0"/>
              </a:spcAft>
              <a:buClr>
                <a:srgbClr val="002D45"/>
              </a:buClr>
              <a:buSzPts val="3600"/>
              <a:buNone/>
              <a:defRPr sz="3600">
                <a:solidFill>
                  <a:srgbClr val="002D45"/>
                </a:solidFill>
              </a:defRPr>
            </a:lvl7pPr>
            <a:lvl8pPr lvl="7" rtl="0">
              <a:spcBef>
                <a:spcPts val="0"/>
              </a:spcBef>
              <a:spcAft>
                <a:spcPts val="0"/>
              </a:spcAft>
              <a:buClr>
                <a:srgbClr val="002D45"/>
              </a:buClr>
              <a:buSzPts val="3600"/>
              <a:buNone/>
              <a:defRPr sz="3600">
                <a:solidFill>
                  <a:srgbClr val="002D45"/>
                </a:solidFill>
              </a:defRPr>
            </a:lvl8pPr>
            <a:lvl9pPr lvl="8" rtl="0">
              <a:spcBef>
                <a:spcPts val="0"/>
              </a:spcBef>
              <a:spcAft>
                <a:spcPts val="0"/>
              </a:spcAft>
              <a:buClr>
                <a:srgbClr val="002D45"/>
              </a:buClr>
              <a:buSzPts val="3600"/>
              <a:buNone/>
              <a:defRPr sz="3600">
                <a:solidFill>
                  <a:srgbClr val="002D45"/>
                </a:solidFill>
              </a:defRPr>
            </a:lvl9pPr>
          </a:lstStyle>
          <a:p>
            <a:endParaRPr/>
          </a:p>
        </p:txBody>
      </p:sp>
      <p:sp>
        <p:nvSpPr>
          <p:cNvPr id="573" name="Google Shape;573;p45"/>
          <p:cNvSpPr/>
          <p:nvPr/>
        </p:nvSpPr>
        <p:spPr>
          <a:xfrm>
            <a:off x="2167172" y="6117646"/>
            <a:ext cx="514200" cy="514200"/>
          </a:xfrm>
          <a:prstGeom prst="ellipse">
            <a:avLst/>
          </a:prstGeom>
          <a:solidFill>
            <a:srgbClr val="C1F4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4" name="Google Shape;574;p45"/>
          <p:cNvSpPr/>
          <p:nvPr/>
        </p:nvSpPr>
        <p:spPr>
          <a:xfrm>
            <a:off x="2167172" y="7905996"/>
            <a:ext cx="514200" cy="514200"/>
          </a:xfrm>
          <a:prstGeom prst="ellipse">
            <a:avLst/>
          </a:prstGeom>
          <a:solidFill>
            <a:srgbClr val="C1F4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5" name="Google Shape;575;p45"/>
          <p:cNvSpPr/>
          <p:nvPr/>
        </p:nvSpPr>
        <p:spPr>
          <a:xfrm>
            <a:off x="2167172" y="9812996"/>
            <a:ext cx="514200" cy="514200"/>
          </a:xfrm>
          <a:prstGeom prst="ellipse">
            <a:avLst/>
          </a:prstGeom>
          <a:solidFill>
            <a:srgbClr val="C1F4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6" name="Google Shape;576;p45"/>
          <p:cNvSpPr txBox="1">
            <a:spLocks noGrp="1"/>
          </p:cNvSpPr>
          <p:nvPr>
            <p:ph type="subTitle" idx="2"/>
          </p:nvPr>
        </p:nvSpPr>
        <p:spPr>
          <a:xfrm>
            <a:off x="3043649" y="6117650"/>
            <a:ext cx="9073800" cy="753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D45"/>
              </a:buClr>
              <a:buSzPts val="2400"/>
              <a:buFont typeface="Montserrat SemiBold"/>
              <a:buNone/>
              <a:defRPr sz="2400">
                <a:solidFill>
                  <a:srgbClr val="002D45"/>
                </a:solidFill>
                <a:latin typeface="Montserrat SemiBold"/>
                <a:ea typeface="Montserrat SemiBold"/>
                <a:cs typeface="Montserrat SemiBold"/>
                <a:sym typeface="Montserrat SemiBold"/>
              </a:defRPr>
            </a:lvl1pPr>
            <a:lvl2pPr lvl="1"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2pPr>
            <a:lvl3pPr lvl="2"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3pPr>
            <a:lvl4pPr lvl="3"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4pPr>
            <a:lvl5pPr lvl="4"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5pPr>
            <a:lvl6pPr lvl="5"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6pPr>
            <a:lvl7pPr lvl="6"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7pPr>
            <a:lvl8pPr lvl="7"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8pPr>
            <a:lvl9pPr lvl="8"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9pPr>
          </a:lstStyle>
          <a:p>
            <a:endParaRPr/>
          </a:p>
        </p:txBody>
      </p:sp>
      <p:sp>
        <p:nvSpPr>
          <p:cNvPr id="577" name="Google Shape;577;p45"/>
          <p:cNvSpPr txBox="1">
            <a:spLocks noGrp="1"/>
          </p:cNvSpPr>
          <p:nvPr>
            <p:ph type="subTitle" idx="3"/>
          </p:nvPr>
        </p:nvSpPr>
        <p:spPr>
          <a:xfrm>
            <a:off x="3043649" y="7906000"/>
            <a:ext cx="9073800" cy="753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D45"/>
              </a:buClr>
              <a:buSzPts val="2400"/>
              <a:buFont typeface="Montserrat SemiBold"/>
              <a:buNone/>
              <a:defRPr sz="2400">
                <a:solidFill>
                  <a:srgbClr val="002D45"/>
                </a:solidFill>
                <a:latin typeface="Montserrat SemiBold"/>
                <a:ea typeface="Montserrat SemiBold"/>
                <a:cs typeface="Montserrat SemiBold"/>
                <a:sym typeface="Montserrat SemiBold"/>
              </a:defRPr>
            </a:lvl1pPr>
            <a:lvl2pPr lvl="1"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2pPr>
            <a:lvl3pPr lvl="2"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3pPr>
            <a:lvl4pPr lvl="3"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4pPr>
            <a:lvl5pPr lvl="4"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5pPr>
            <a:lvl6pPr lvl="5"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6pPr>
            <a:lvl7pPr lvl="6"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7pPr>
            <a:lvl8pPr lvl="7"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8pPr>
            <a:lvl9pPr lvl="8"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9pPr>
          </a:lstStyle>
          <a:p>
            <a:endParaRPr/>
          </a:p>
        </p:txBody>
      </p:sp>
      <p:sp>
        <p:nvSpPr>
          <p:cNvPr id="578" name="Google Shape;578;p45"/>
          <p:cNvSpPr txBox="1">
            <a:spLocks noGrp="1"/>
          </p:cNvSpPr>
          <p:nvPr>
            <p:ph type="subTitle" idx="4"/>
          </p:nvPr>
        </p:nvSpPr>
        <p:spPr>
          <a:xfrm>
            <a:off x="3043649" y="9813000"/>
            <a:ext cx="9073800" cy="753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D45"/>
              </a:buClr>
              <a:buSzPts val="2400"/>
              <a:buFont typeface="Montserrat SemiBold"/>
              <a:buNone/>
              <a:defRPr sz="2400">
                <a:solidFill>
                  <a:srgbClr val="002D45"/>
                </a:solidFill>
                <a:latin typeface="Montserrat SemiBold"/>
                <a:ea typeface="Montserrat SemiBold"/>
                <a:cs typeface="Montserrat SemiBold"/>
                <a:sym typeface="Montserrat SemiBold"/>
              </a:defRPr>
            </a:lvl1pPr>
            <a:lvl2pPr lvl="1"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2pPr>
            <a:lvl3pPr lvl="2"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3pPr>
            <a:lvl4pPr lvl="3"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4pPr>
            <a:lvl5pPr lvl="4"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5pPr>
            <a:lvl6pPr lvl="5"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6pPr>
            <a:lvl7pPr lvl="6"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7pPr>
            <a:lvl8pPr lvl="7"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8pPr>
            <a:lvl9pPr lvl="8"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9pPr>
          </a:lstStyle>
          <a:p>
            <a:endParaRPr/>
          </a:p>
        </p:txBody>
      </p:sp>
      <p:sp>
        <p:nvSpPr>
          <p:cNvPr id="579" name="Google Shape;579;p45"/>
          <p:cNvSpPr/>
          <p:nvPr/>
        </p:nvSpPr>
        <p:spPr>
          <a:xfrm>
            <a:off x="12640247" y="6117646"/>
            <a:ext cx="514200" cy="514200"/>
          </a:xfrm>
          <a:prstGeom prst="ellipse">
            <a:avLst/>
          </a:prstGeom>
          <a:solidFill>
            <a:srgbClr val="C1F4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0" name="Google Shape;580;p45"/>
          <p:cNvSpPr/>
          <p:nvPr/>
        </p:nvSpPr>
        <p:spPr>
          <a:xfrm>
            <a:off x="12640247" y="7905996"/>
            <a:ext cx="514200" cy="514200"/>
          </a:xfrm>
          <a:prstGeom prst="ellipse">
            <a:avLst/>
          </a:prstGeom>
          <a:solidFill>
            <a:srgbClr val="C1F4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1" name="Google Shape;581;p45"/>
          <p:cNvSpPr/>
          <p:nvPr/>
        </p:nvSpPr>
        <p:spPr>
          <a:xfrm>
            <a:off x="12640247" y="9812996"/>
            <a:ext cx="514200" cy="514200"/>
          </a:xfrm>
          <a:prstGeom prst="ellipse">
            <a:avLst/>
          </a:prstGeom>
          <a:solidFill>
            <a:srgbClr val="C1F4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2" name="Google Shape;582;p45"/>
          <p:cNvSpPr txBox="1">
            <a:spLocks noGrp="1"/>
          </p:cNvSpPr>
          <p:nvPr>
            <p:ph type="subTitle" idx="5"/>
          </p:nvPr>
        </p:nvSpPr>
        <p:spPr>
          <a:xfrm>
            <a:off x="13516724" y="6117650"/>
            <a:ext cx="9073800" cy="753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D45"/>
              </a:buClr>
              <a:buSzPts val="2400"/>
              <a:buFont typeface="Montserrat SemiBold"/>
              <a:buNone/>
              <a:defRPr sz="2400">
                <a:solidFill>
                  <a:srgbClr val="002D45"/>
                </a:solidFill>
                <a:latin typeface="Montserrat SemiBold"/>
                <a:ea typeface="Montserrat SemiBold"/>
                <a:cs typeface="Montserrat SemiBold"/>
                <a:sym typeface="Montserrat SemiBold"/>
              </a:defRPr>
            </a:lvl1pPr>
            <a:lvl2pPr lvl="1"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2pPr>
            <a:lvl3pPr lvl="2"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3pPr>
            <a:lvl4pPr lvl="3"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4pPr>
            <a:lvl5pPr lvl="4"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5pPr>
            <a:lvl6pPr lvl="5"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6pPr>
            <a:lvl7pPr lvl="6"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7pPr>
            <a:lvl8pPr lvl="7"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8pPr>
            <a:lvl9pPr lvl="8"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9pPr>
          </a:lstStyle>
          <a:p>
            <a:endParaRPr/>
          </a:p>
        </p:txBody>
      </p:sp>
      <p:sp>
        <p:nvSpPr>
          <p:cNvPr id="583" name="Google Shape;583;p45"/>
          <p:cNvSpPr txBox="1">
            <a:spLocks noGrp="1"/>
          </p:cNvSpPr>
          <p:nvPr>
            <p:ph type="subTitle" idx="6"/>
          </p:nvPr>
        </p:nvSpPr>
        <p:spPr>
          <a:xfrm>
            <a:off x="13516724" y="7906000"/>
            <a:ext cx="9073800" cy="753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D45"/>
              </a:buClr>
              <a:buSzPts val="2400"/>
              <a:buFont typeface="Montserrat SemiBold"/>
              <a:buNone/>
              <a:defRPr sz="2400">
                <a:solidFill>
                  <a:srgbClr val="002D45"/>
                </a:solidFill>
                <a:latin typeface="Montserrat SemiBold"/>
                <a:ea typeface="Montserrat SemiBold"/>
                <a:cs typeface="Montserrat SemiBold"/>
                <a:sym typeface="Montserrat SemiBold"/>
              </a:defRPr>
            </a:lvl1pPr>
            <a:lvl2pPr lvl="1"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2pPr>
            <a:lvl3pPr lvl="2"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3pPr>
            <a:lvl4pPr lvl="3"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4pPr>
            <a:lvl5pPr lvl="4"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5pPr>
            <a:lvl6pPr lvl="5"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6pPr>
            <a:lvl7pPr lvl="6"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7pPr>
            <a:lvl8pPr lvl="7"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8pPr>
            <a:lvl9pPr lvl="8"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9pPr>
          </a:lstStyle>
          <a:p>
            <a:endParaRPr/>
          </a:p>
        </p:txBody>
      </p:sp>
      <p:sp>
        <p:nvSpPr>
          <p:cNvPr id="584" name="Google Shape;584;p45"/>
          <p:cNvSpPr txBox="1">
            <a:spLocks noGrp="1"/>
          </p:cNvSpPr>
          <p:nvPr>
            <p:ph type="subTitle" idx="7"/>
          </p:nvPr>
        </p:nvSpPr>
        <p:spPr>
          <a:xfrm>
            <a:off x="13516724" y="9813000"/>
            <a:ext cx="9073800" cy="753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D45"/>
              </a:buClr>
              <a:buSzPts val="2400"/>
              <a:buFont typeface="Montserrat SemiBold"/>
              <a:buNone/>
              <a:defRPr sz="2400">
                <a:solidFill>
                  <a:srgbClr val="002D45"/>
                </a:solidFill>
                <a:latin typeface="Montserrat SemiBold"/>
                <a:ea typeface="Montserrat SemiBold"/>
                <a:cs typeface="Montserrat SemiBold"/>
                <a:sym typeface="Montserrat SemiBold"/>
              </a:defRPr>
            </a:lvl1pPr>
            <a:lvl2pPr lvl="1"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2pPr>
            <a:lvl3pPr lvl="2"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3pPr>
            <a:lvl4pPr lvl="3"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4pPr>
            <a:lvl5pPr lvl="4"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5pPr>
            <a:lvl6pPr lvl="5"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6pPr>
            <a:lvl7pPr lvl="6"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7pPr>
            <a:lvl8pPr lvl="7"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8pPr>
            <a:lvl9pPr lvl="8" rtl="0">
              <a:spcBef>
                <a:spcPts val="0"/>
              </a:spcBef>
              <a:spcAft>
                <a:spcPts val="0"/>
              </a:spcAft>
              <a:buClr>
                <a:srgbClr val="002D45"/>
              </a:buClr>
              <a:buSzPts val="2500"/>
              <a:buFont typeface="Montserrat SemiBold"/>
              <a:buNone/>
              <a:defRPr sz="2500">
                <a:solidFill>
                  <a:srgbClr val="002D45"/>
                </a:solidFill>
                <a:latin typeface="Montserrat SemiBold"/>
                <a:ea typeface="Montserrat SemiBold"/>
                <a:cs typeface="Montserrat SemiBold"/>
                <a:sym typeface="Montserrat SemiBold"/>
              </a:defRPr>
            </a:lvl9pPr>
          </a:lstStyle>
          <a:p>
            <a:endParaRPr/>
          </a:p>
        </p:txBody>
      </p:sp>
      <p:pic>
        <p:nvPicPr>
          <p:cNvPr id="585" name="Google Shape;585;p45"/>
          <p:cNvPicPr preferRelativeResize="0"/>
          <p:nvPr/>
        </p:nvPicPr>
        <p:blipFill rotWithShape="1">
          <a:blip r:embed="rId2">
            <a:alphaModFix/>
          </a:blip>
          <a:srcRect t="83846"/>
          <a:stretch/>
        </p:blipFill>
        <p:spPr>
          <a:xfrm>
            <a:off x="-2992950" y="-451525"/>
            <a:ext cx="24377651" cy="1515099"/>
          </a:xfrm>
          <a:prstGeom prst="rect">
            <a:avLst/>
          </a:prstGeom>
          <a:noFill/>
          <a:ln>
            <a:noFill/>
          </a:ln>
        </p:spPr>
      </p:pic>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Blank Slide">
  <p:cSld name="Blank Slide">
    <p:bg>
      <p:bgPr>
        <a:solidFill>
          <a:schemeClr val="lt1"/>
        </a:solidFill>
        <a:effectLst/>
      </p:bgPr>
    </p:bg>
    <p:spTree>
      <p:nvGrpSpPr>
        <p:cNvPr id="1" name="Shape 586"/>
        <p:cNvGrpSpPr/>
        <p:nvPr/>
      </p:nvGrpSpPr>
      <p:grpSpPr>
        <a:xfrm>
          <a:off x="0" y="0"/>
          <a:ext cx="0" cy="0"/>
          <a:chOff x="0" y="0"/>
          <a:chExt cx="0" cy="0"/>
        </a:xfrm>
      </p:grpSpPr>
      <p:pic>
        <p:nvPicPr>
          <p:cNvPr id="587" name="Google Shape;587;p46"/>
          <p:cNvPicPr preferRelativeResize="0"/>
          <p:nvPr/>
        </p:nvPicPr>
        <p:blipFill rotWithShape="1">
          <a:blip r:embed="rId2">
            <a:alphaModFix/>
          </a:blip>
          <a:srcRect t="83846"/>
          <a:stretch/>
        </p:blipFill>
        <p:spPr>
          <a:xfrm>
            <a:off x="-3678750" y="-680125"/>
            <a:ext cx="24377651" cy="1515099"/>
          </a:xfrm>
          <a:prstGeom prst="rect">
            <a:avLst/>
          </a:prstGeom>
          <a:noFill/>
          <a:ln>
            <a:noFill/>
          </a:ln>
        </p:spPr>
      </p:pic>
      <p:pic>
        <p:nvPicPr>
          <p:cNvPr id="588" name="Google Shape;588;p46"/>
          <p:cNvPicPr preferRelativeResize="0"/>
          <p:nvPr/>
        </p:nvPicPr>
        <p:blipFill rotWithShape="1">
          <a:blip r:embed="rId2">
            <a:alphaModFix/>
          </a:blip>
          <a:srcRect b="93557"/>
          <a:stretch/>
        </p:blipFill>
        <p:spPr>
          <a:xfrm>
            <a:off x="0" y="13111675"/>
            <a:ext cx="24377651" cy="604325"/>
          </a:xfrm>
          <a:prstGeom prst="rect">
            <a:avLst/>
          </a:prstGeom>
          <a:noFill/>
          <a:ln>
            <a:noFill/>
          </a:ln>
        </p:spPr>
      </p:pic>
      <p:sp>
        <p:nvSpPr>
          <p:cNvPr id="589" name="Google Shape;589;p46"/>
          <p:cNvSpPr/>
          <p:nvPr/>
        </p:nvSpPr>
        <p:spPr>
          <a:xfrm>
            <a:off x="22412037" y="536597"/>
            <a:ext cx="1515111" cy="1515111"/>
          </a:xfrm>
          <a:custGeom>
            <a:avLst/>
            <a:gdLst/>
            <a:ahLst/>
            <a:cxnLst/>
            <a:rect l="l" t="t" r="r" b="b"/>
            <a:pathLst>
              <a:path w="1137044" h="1137044" extrusionOk="0">
                <a:moveTo>
                  <a:pt x="0" y="0"/>
                </a:moveTo>
                <a:lnTo>
                  <a:pt x="1137044" y="0"/>
                </a:lnTo>
                <a:lnTo>
                  <a:pt x="1137044" y="1137044"/>
                </a:lnTo>
                <a:lnTo>
                  <a:pt x="0" y="1137044"/>
                </a:lnTo>
                <a:lnTo>
                  <a:pt x="0" y="0"/>
                </a:lnTo>
                <a:close/>
              </a:path>
            </a:pathLst>
          </a:custGeom>
          <a:blipFill rotWithShape="1">
            <a:blip r:embed="rId3">
              <a:alphaModFix/>
            </a:blip>
            <a:stretch>
              <a:fillRect/>
            </a:stretch>
          </a:blipFill>
          <a:ln>
            <a:noFill/>
          </a:ln>
        </p:spPr>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Icon Stats 4">
  <p:cSld name="Icon Stats 4">
    <p:bg>
      <p:bgPr>
        <a:solidFill>
          <a:schemeClr val="lt1"/>
        </a:solidFill>
        <a:effectLst/>
      </p:bgPr>
    </p:bg>
    <p:spTree>
      <p:nvGrpSpPr>
        <p:cNvPr id="1" name="Shape 590"/>
        <p:cNvGrpSpPr/>
        <p:nvPr/>
      </p:nvGrpSpPr>
      <p:grpSpPr>
        <a:xfrm>
          <a:off x="0" y="0"/>
          <a:ext cx="0" cy="0"/>
          <a:chOff x="0" y="0"/>
          <a:chExt cx="0" cy="0"/>
        </a:xfrm>
      </p:grpSpPr>
      <p:pic>
        <p:nvPicPr>
          <p:cNvPr id="591" name="Google Shape;591;p47"/>
          <p:cNvPicPr preferRelativeResize="0"/>
          <p:nvPr/>
        </p:nvPicPr>
        <p:blipFill rotWithShape="1">
          <a:blip r:embed="rId2">
            <a:alphaModFix/>
          </a:blip>
          <a:srcRect t="83846"/>
          <a:stretch/>
        </p:blipFill>
        <p:spPr>
          <a:xfrm>
            <a:off x="-2992950" y="-451525"/>
            <a:ext cx="24377651" cy="1515099"/>
          </a:xfrm>
          <a:prstGeom prst="rect">
            <a:avLst/>
          </a:prstGeom>
          <a:noFill/>
          <a:ln>
            <a:noFill/>
          </a:ln>
        </p:spPr>
      </p:pic>
      <p:pic>
        <p:nvPicPr>
          <p:cNvPr id="592" name="Google Shape;592;p47"/>
          <p:cNvPicPr preferRelativeResize="0"/>
          <p:nvPr/>
        </p:nvPicPr>
        <p:blipFill rotWithShape="1">
          <a:blip r:embed="rId2">
            <a:alphaModFix/>
          </a:blip>
          <a:srcRect b="93557"/>
          <a:stretch/>
        </p:blipFill>
        <p:spPr>
          <a:xfrm>
            <a:off x="0" y="13111675"/>
            <a:ext cx="24377651" cy="604325"/>
          </a:xfrm>
          <a:prstGeom prst="rect">
            <a:avLst/>
          </a:prstGeom>
          <a:noFill/>
          <a:ln>
            <a:noFill/>
          </a:ln>
        </p:spPr>
      </p:pic>
      <p:sp>
        <p:nvSpPr>
          <p:cNvPr id="593" name="Google Shape;593;p47"/>
          <p:cNvSpPr/>
          <p:nvPr/>
        </p:nvSpPr>
        <p:spPr>
          <a:xfrm>
            <a:off x="22412037" y="536597"/>
            <a:ext cx="1515111" cy="1515111"/>
          </a:xfrm>
          <a:custGeom>
            <a:avLst/>
            <a:gdLst/>
            <a:ahLst/>
            <a:cxnLst/>
            <a:rect l="l" t="t" r="r" b="b"/>
            <a:pathLst>
              <a:path w="1137044" h="1137044" extrusionOk="0">
                <a:moveTo>
                  <a:pt x="0" y="0"/>
                </a:moveTo>
                <a:lnTo>
                  <a:pt x="1137044" y="0"/>
                </a:lnTo>
                <a:lnTo>
                  <a:pt x="1137044" y="1137044"/>
                </a:lnTo>
                <a:lnTo>
                  <a:pt x="0" y="1137044"/>
                </a:lnTo>
                <a:lnTo>
                  <a:pt x="0" y="0"/>
                </a:lnTo>
                <a:close/>
              </a:path>
            </a:pathLst>
          </a:custGeom>
          <a:blipFill rotWithShape="1">
            <a:blip r:embed="rId3">
              <a:alphaModFix/>
            </a:blip>
            <a:stretch>
              <a:fillRect/>
            </a:stretch>
          </a:blipFill>
          <a:ln>
            <a:noFill/>
          </a:ln>
        </p:spPr>
      </p:sp>
      <p:sp>
        <p:nvSpPr>
          <p:cNvPr id="594" name="Google Shape;594;p47"/>
          <p:cNvSpPr/>
          <p:nvPr/>
        </p:nvSpPr>
        <p:spPr>
          <a:xfrm>
            <a:off x="9198950" y="3404825"/>
            <a:ext cx="1992300" cy="1992300"/>
          </a:xfrm>
          <a:prstGeom prst="ellipse">
            <a:avLst/>
          </a:prstGeom>
          <a:solidFill>
            <a:srgbClr val="C1F400"/>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595" name="Google Shape;595;p47"/>
          <p:cNvSpPr/>
          <p:nvPr/>
        </p:nvSpPr>
        <p:spPr>
          <a:xfrm>
            <a:off x="9198950" y="8318875"/>
            <a:ext cx="1992300" cy="1992300"/>
          </a:xfrm>
          <a:prstGeom prst="ellipse">
            <a:avLst/>
          </a:prstGeom>
          <a:solidFill>
            <a:srgbClr val="C1F400"/>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596" name="Google Shape;596;p47"/>
          <p:cNvSpPr txBox="1">
            <a:spLocks noGrp="1"/>
          </p:cNvSpPr>
          <p:nvPr>
            <p:ph type="subTitle" idx="1"/>
          </p:nvPr>
        </p:nvSpPr>
        <p:spPr>
          <a:xfrm>
            <a:off x="2069275" y="6959450"/>
            <a:ext cx="6080100" cy="2566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SzPts val="3600"/>
              <a:buFont typeface="Montserrat"/>
              <a:buNone/>
              <a:defRPr sz="3600">
                <a:latin typeface="Montserrat"/>
                <a:ea typeface="Montserrat"/>
                <a:cs typeface="Montserrat"/>
                <a:sym typeface="Montserrat"/>
              </a:defRPr>
            </a:lvl1pPr>
            <a:lvl2pPr lvl="1" rtl="0">
              <a:spcBef>
                <a:spcPts val="0"/>
              </a:spcBef>
              <a:spcAft>
                <a:spcPts val="0"/>
              </a:spcAft>
              <a:buSzPts val="3600"/>
              <a:buFont typeface="Montserrat"/>
              <a:buNone/>
              <a:defRPr sz="3600">
                <a:latin typeface="Montserrat"/>
                <a:ea typeface="Montserrat"/>
                <a:cs typeface="Montserrat"/>
                <a:sym typeface="Montserrat"/>
              </a:defRPr>
            </a:lvl2pPr>
            <a:lvl3pPr lvl="2" rtl="0">
              <a:spcBef>
                <a:spcPts val="0"/>
              </a:spcBef>
              <a:spcAft>
                <a:spcPts val="0"/>
              </a:spcAft>
              <a:buSzPts val="3600"/>
              <a:buFont typeface="Montserrat"/>
              <a:buNone/>
              <a:defRPr sz="3600">
                <a:latin typeface="Montserrat"/>
                <a:ea typeface="Montserrat"/>
                <a:cs typeface="Montserrat"/>
                <a:sym typeface="Montserrat"/>
              </a:defRPr>
            </a:lvl3pPr>
            <a:lvl4pPr lvl="3" rtl="0">
              <a:spcBef>
                <a:spcPts val="0"/>
              </a:spcBef>
              <a:spcAft>
                <a:spcPts val="0"/>
              </a:spcAft>
              <a:buSzPts val="3600"/>
              <a:buFont typeface="Montserrat"/>
              <a:buNone/>
              <a:defRPr sz="3600">
                <a:latin typeface="Montserrat"/>
                <a:ea typeface="Montserrat"/>
                <a:cs typeface="Montserrat"/>
                <a:sym typeface="Montserrat"/>
              </a:defRPr>
            </a:lvl4pPr>
            <a:lvl5pPr lvl="4" rtl="0">
              <a:spcBef>
                <a:spcPts val="0"/>
              </a:spcBef>
              <a:spcAft>
                <a:spcPts val="0"/>
              </a:spcAft>
              <a:buSzPts val="3600"/>
              <a:buFont typeface="Montserrat"/>
              <a:buNone/>
              <a:defRPr sz="3600">
                <a:latin typeface="Montserrat"/>
                <a:ea typeface="Montserrat"/>
                <a:cs typeface="Montserrat"/>
                <a:sym typeface="Montserrat"/>
              </a:defRPr>
            </a:lvl5pPr>
            <a:lvl6pPr lvl="5" rtl="0">
              <a:spcBef>
                <a:spcPts val="0"/>
              </a:spcBef>
              <a:spcAft>
                <a:spcPts val="0"/>
              </a:spcAft>
              <a:buSzPts val="3600"/>
              <a:buFont typeface="Montserrat"/>
              <a:buNone/>
              <a:defRPr sz="3600">
                <a:latin typeface="Montserrat"/>
                <a:ea typeface="Montserrat"/>
                <a:cs typeface="Montserrat"/>
                <a:sym typeface="Montserrat"/>
              </a:defRPr>
            </a:lvl6pPr>
            <a:lvl7pPr lvl="6" rtl="0">
              <a:spcBef>
                <a:spcPts val="0"/>
              </a:spcBef>
              <a:spcAft>
                <a:spcPts val="0"/>
              </a:spcAft>
              <a:buSzPts val="3600"/>
              <a:buFont typeface="Montserrat"/>
              <a:buNone/>
              <a:defRPr sz="3600">
                <a:latin typeface="Montserrat"/>
                <a:ea typeface="Montserrat"/>
                <a:cs typeface="Montserrat"/>
                <a:sym typeface="Montserrat"/>
              </a:defRPr>
            </a:lvl7pPr>
            <a:lvl8pPr lvl="7" rtl="0">
              <a:spcBef>
                <a:spcPts val="0"/>
              </a:spcBef>
              <a:spcAft>
                <a:spcPts val="0"/>
              </a:spcAft>
              <a:buSzPts val="3600"/>
              <a:buFont typeface="Montserrat"/>
              <a:buNone/>
              <a:defRPr sz="3600">
                <a:latin typeface="Montserrat"/>
                <a:ea typeface="Montserrat"/>
                <a:cs typeface="Montserrat"/>
                <a:sym typeface="Montserrat"/>
              </a:defRPr>
            </a:lvl8pPr>
            <a:lvl9pPr lvl="8" rtl="0">
              <a:spcBef>
                <a:spcPts val="0"/>
              </a:spcBef>
              <a:spcAft>
                <a:spcPts val="0"/>
              </a:spcAft>
              <a:buSzPts val="3600"/>
              <a:buFont typeface="Montserrat"/>
              <a:buNone/>
              <a:defRPr sz="3600">
                <a:latin typeface="Montserrat"/>
                <a:ea typeface="Montserrat"/>
                <a:cs typeface="Montserrat"/>
                <a:sym typeface="Montserrat"/>
              </a:defRPr>
            </a:lvl9pPr>
          </a:lstStyle>
          <a:p>
            <a:endParaRPr/>
          </a:p>
        </p:txBody>
      </p:sp>
      <p:sp>
        <p:nvSpPr>
          <p:cNvPr id="597" name="Google Shape;597;p47"/>
          <p:cNvSpPr txBox="1">
            <a:spLocks noGrp="1"/>
          </p:cNvSpPr>
          <p:nvPr>
            <p:ph type="title"/>
          </p:nvPr>
        </p:nvSpPr>
        <p:spPr>
          <a:xfrm>
            <a:off x="1992025" y="3078425"/>
            <a:ext cx="6080100" cy="26451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D45"/>
              </a:buClr>
              <a:buSzPts val="7200"/>
              <a:buFont typeface="Montserrat Black"/>
              <a:buNone/>
              <a:defRPr sz="7200">
                <a:solidFill>
                  <a:srgbClr val="002D45"/>
                </a:solidFill>
                <a:latin typeface="Montserrat Black"/>
                <a:ea typeface="Montserrat Black"/>
                <a:cs typeface="Montserrat Black"/>
                <a:sym typeface="Montserrat Black"/>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598" name="Google Shape;598;p47"/>
          <p:cNvSpPr txBox="1">
            <a:spLocks noGrp="1"/>
          </p:cNvSpPr>
          <p:nvPr>
            <p:ph type="title" idx="2"/>
          </p:nvPr>
        </p:nvSpPr>
        <p:spPr>
          <a:xfrm>
            <a:off x="11538900" y="3404825"/>
            <a:ext cx="3735900" cy="17475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D45"/>
              </a:buClr>
              <a:buSzPts val="3600"/>
              <a:buFont typeface="Montserrat Black"/>
              <a:buNone/>
              <a:defRPr sz="3600">
                <a:solidFill>
                  <a:srgbClr val="002D45"/>
                </a:solidFill>
                <a:latin typeface="Montserrat Black"/>
                <a:ea typeface="Montserrat Black"/>
                <a:cs typeface="Montserrat Black"/>
                <a:sym typeface="Montserrat Black"/>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599" name="Google Shape;599;p47"/>
          <p:cNvSpPr txBox="1">
            <a:spLocks noGrp="1"/>
          </p:cNvSpPr>
          <p:nvPr>
            <p:ph type="title" idx="3"/>
          </p:nvPr>
        </p:nvSpPr>
        <p:spPr>
          <a:xfrm>
            <a:off x="18659175" y="3404825"/>
            <a:ext cx="3735900" cy="17475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D45"/>
              </a:buClr>
              <a:buSzPts val="3600"/>
              <a:buFont typeface="Montserrat Black"/>
              <a:buNone/>
              <a:defRPr sz="3600">
                <a:solidFill>
                  <a:srgbClr val="002D45"/>
                </a:solidFill>
                <a:latin typeface="Montserrat Black"/>
                <a:ea typeface="Montserrat Black"/>
                <a:cs typeface="Montserrat Black"/>
                <a:sym typeface="Montserrat Black"/>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600" name="Google Shape;600;p47"/>
          <p:cNvSpPr txBox="1">
            <a:spLocks noGrp="1"/>
          </p:cNvSpPr>
          <p:nvPr>
            <p:ph type="title" idx="4"/>
          </p:nvPr>
        </p:nvSpPr>
        <p:spPr>
          <a:xfrm>
            <a:off x="11538900" y="8334450"/>
            <a:ext cx="3735900" cy="17475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D45"/>
              </a:buClr>
              <a:buSzPts val="3600"/>
              <a:buFont typeface="Montserrat Black"/>
              <a:buNone/>
              <a:defRPr sz="3600">
                <a:solidFill>
                  <a:srgbClr val="002D45"/>
                </a:solidFill>
                <a:latin typeface="Montserrat Black"/>
                <a:ea typeface="Montserrat Black"/>
                <a:cs typeface="Montserrat Black"/>
                <a:sym typeface="Montserrat Black"/>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601" name="Google Shape;601;p47"/>
          <p:cNvSpPr txBox="1">
            <a:spLocks noGrp="1"/>
          </p:cNvSpPr>
          <p:nvPr>
            <p:ph type="title" idx="5"/>
          </p:nvPr>
        </p:nvSpPr>
        <p:spPr>
          <a:xfrm>
            <a:off x="18659175" y="8334450"/>
            <a:ext cx="3735900" cy="17475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D45"/>
              </a:buClr>
              <a:buSzPts val="3600"/>
              <a:buFont typeface="Montserrat Black"/>
              <a:buNone/>
              <a:defRPr sz="3600">
                <a:solidFill>
                  <a:srgbClr val="002D45"/>
                </a:solidFill>
                <a:latin typeface="Montserrat Black"/>
                <a:ea typeface="Montserrat Black"/>
                <a:cs typeface="Montserrat Black"/>
                <a:sym typeface="Montserrat Black"/>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602" name="Google Shape;602;p47"/>
          <p:cNvSpPr txBox="1">
            <a:spLocks noGrp="1"/>
          </p:cNvSpPr>
          <p:nvPr>
            <p:ph type="subTitle" idx="6"/>
          </p:nvPr>
        </p:nvSpPr>
        <p:spPr>
          <a:xfrm>
            <a:off x="11538900" y="5460300"/>
            <a:ext cx="4135800" cy="1992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SzPts val="2400"/>
              <a:buFont typeface="Montserrat Medium"/>
              <a:buNone/>
              <a:defRPr sz="2400">
                <a:latin typeface="Montserrat Medium"/>
                <a:ea typeface="Montserrat Medium"/>
                <a:cs typeface="Montserrat Medium"/>
                <a:sym typeface="Montserrat Medium"/>
              </a:defRPr>
            </a:lvl1pPr>
            <a:lvl2pPr lvl="1" rtl="0">
              <a:spcBef>
                <a:spcPts val="0"/>
              </a:spcBef>
              <a:spcAft>
                <a:spcPts val="0"/>
              </a:spcAft>
              <a:buSzPts val="2400"/>
              <a:buFont typeface="Montserrat Medium"/>
              <a:buNone/>
              <a:defRPr sz="2400">
                <a:latin typeface="Montserrat Medium"/>
                <a:ea typeface="Montserrat Medium"/>
                <a:cs typeface="Montserrat Medium"/>
                <a:sym typeface="Montserrat Medium"/>
              </a:defRPr>
            </a:lvl2pPr>
            <a:lvl3pPr lvl="2" rtl="0">
              <a:spcBef>
                <a:spcPts val="0"/>
              </a:spcBef>
              <a:spcAft>
                <a:spcPts val="0"/>
              </a:spcAft>
              <a:buSzPts val="2400"/>
              <a:buFont typeface="Montserrat Medium"/>
              <a:buNone/>
              <a:defRPr sz="2400">
                <a:latin typeface="Montserrat Medium"/>
                <a:ea typeface="Montserrat Medium"/>
                <a:cs typeface="Montserrat Medium"/>
                <a:sym typeface="Montserrat Medium"/>
              </a:defRPr>
            </a:lvl3pPr>
            <a:lvl4pPr lvl="3" rtl="0">
              <a:spcBef>
                <a:spcPts val="0"/>
              </a:spcBef>
              <a:spcAft>
                <a:spcPts val="0"/>
              </a:spcAft>
              <a:buSzPts val="2400"/>
              <a:buFont typeface="Montserrat Medium"/>
              <a:buNone/>
              <a:defRPr sz="2400">
                <a:latin typeface="Montserrat Medium"/>
                <a:ea typeface="Montserrat Medium"/>
                <a:cs typeface="Montserrat Medium"/>
                <a:sym typeface="Montserrat Medium"/>
              </a:defRPr>
            </a:lvl4pPr>
            <a:lvl5pPr lvl="4" rtl="0">
              <a:spcBef>
                <a:spcPts val="0"/>
              </a:spcBef>
              <a:spcAft>
                <a:spcPts val="0"/>
              </a:spcAft>
              <a:buSzPts val="2400"/>
              <a:buFont typeface="Montserrat Medium"/>
              <a:buNone/>
              <a:defRPr sz="2400">
                <a:latin typeface="Montserrat Medium"/>
                <a:ea typeface="Montserrat Medium"/>
                <a:cs typeface="Montserrat Medium"/>
                <a:sym typeface="Montserrat Medium"/>
              </a:defRPr>
            </a:lvl5pPr>
            <a:lvl6pPr lvl="5" rtl="0">
              <a:spcBef>
                <a:spcPts val="0"/>
              </a:spcBef>
              <a:spcAft>
                <a:spcPts val="0"/>
              </a:spcAft>
              <a:buSzPts val="2400"/>
              <a:buFont typeface="Montserrat Medium"/>
              <a:buNone/>
              <a:defRPr sz="2400">
                <a:latin typeface="Montserrat Medium"/>
                <a:ea typeface="Montserrat Medium"/>
                <a:cs typeface="Montserrat Medium"/>
                <a:sym typeface="Montserrat Medium"/>
              </a:defRPr>
            </a:lvl6pPr>
            <a:lvl7pPr lvl="6" rtl="0">
              <a:spcBef>
                <a:spcPts val="0"/>
              </a:spcBef>
              <a:spcAft>
                <a:spcPts val="0"/>
              </a:spcAft>
              <a:buSzPts val="2400"/>
              <a:buFont typeface="Montserrat Medium"/>
              <a:buNone/>
              <a:defRPr sz="2400">
                <a:latin typeface="Montserrat Medium"/>
                <a:ea typeface="Montserrat Medium"/>
                <a:cs typeface="Montserrat Medium"/>
                <a:sym typeface="Montserrat Medium"/>
              </a:defRPr>
            </a:lvl7pPr>
            <a:lvl8pPr lvl="7" rtl="0">
              <a:spcBef>
                <a:spcPts val="0"/>
              </a:spcBef>
              <a:spcAft>
                <a:spcPts val="0"/>
              </a:spcAft>
              <a:buSzPts val="2400"/>
              <a:buFont typeface="Montserrat Medium"/>
              <a:buNone/>
              <a:defRPr sz="2400">
                <a:latin typeface="Montserrat Medium"/>
                <a:ea typeface="Montserrat Medium"/>
                <a:cs typeface="Montserrat Medium"/>
                <a:sym typeface="Montserrat Medium"/>
              </a:defRPr>
            </a:lvl8pPr>
            <a:lvl9pPr lvl="8" rtl="0">
              <a:spcBef>
                <a:spcPts val="0"/>
              </a:spcBef>
              <a:spcAft>
                <a:spcPts val="0"/>
              </a:spcAft>
              <a:buSzPts val="2400"/>
              <a:buFont typeface="Montserrat Medium"/>
              <a:buNone/>
              <a:defRPr sz="2400">
                <a:latin typeface="Montserrat Medium"/>
                <a:ea typeface="Montserrat Medium"/>
                <a:cs typeface="Montserrat Medium"/>
                <a:sym typeface="Montserrat Medium"/>
              </a:defRPr>
            </a:lvl9pPr>
          </a:lstStyle>
          <a:p>
            <a:endParaRPr/>
          </a:p>
        </p:txBody>
      </p:sp>
      <p:sp>
        <p:nvSpPr>
          <p:cNvPr id="603" name="Google Shape;603;p47"/>
          <p:cNvSpPr txBox="1">
            <a:spLocks noGrp="1"/>
          </p:cNvSpPr>
          <p:nvPr>
            <p:ph type="subTitle" idx="7"/>
          </p:nvPr>
        </p:nvSpPr>
        <p:spPr>
          <a:xfrm>
            <a:off x="18761625" y="5460300"/>
            <a:ext cx="4135800" cy="1992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SzPts val="2400"/>
              <a:buFont typeface="Montserrat Medium"/>
              <a:buNone/>
              <a:defRPr sz="2400">
                <a:latin typeface="Montserrat Medium"/>
                <a:ea typeface="Montserrat Medium"/>
                <a:cs typeface="Montserrat Medium"/>
                <a:sym typeface="Montserrat Medium"/>
              </a:defRPr>
            </a:lvl1pPr>
            <a:lvl2pPr lvl="1" rtl="0">
              <a:spcBef>
                <a:spcPts val="0"/>
              </a:spcBef>
              <a:spcAft>
                <a:spcPts val="0"/>
              </a:spcAft>
              <a:buSzPts val="2400"/>
              <a:buFont typeface="Montserrat Medium"/>
              <a:buNone/>
              <a:defRPr sz="2400">
                <a:latin typeface="Montserrat Medium"/>
                <a:ea typeface="Montserrat Medium"/>
                <a:cs typeface="Montserrat Medium"/>
                <a:sym typeface="Montserrat Medium"/>
              </a:defRPr>
            </a:lvl2pPr>
            <a:lvl3pPr lvl="2" rtl="0">
              <a:spcBef>
                <a:spcPts val="0"/>
              </a:spcBef>
              <a:spcAft>
                <a:spcPts val="0"/>
              </a:spcAft>
              <a:buSzPts val="2400"/>
              <a:buFont typeface="Montserrat Medium"/>
              <a:buNone/>
              <a:defRPr sz="2400">
                <a:latin typeface="Montserrat Medium"/>
                <a:ea typeface="Montserrat Medium"/>
                <a:cs typeface="Montserrat Medium"/>
                <a:sym typeface="Montserrat Medium"/>
              </a:defRPr>
            </a:lvl3pPr>
            <a:lvl4pPr lvl="3" rtl="0">
              <a:spcBef>
                <a:spcPts val="0"/>
              </a:spcBef>
              <a:spcAft>
                <a:spcPts val="0"/>
              </a:spcAft>
              <a:buSzPts val="2400"/>
              <a:buFont typeface="Montserrat Medium"/>
              <a:buNone/>
              <a:defRPr sz="2400">
                <a:latin typeface="Montserrat Medium"/>
                <a:ea typeface="Montserrat Medium"/>
                <a:cs typeface="Montserrat Medium"/>
                <a:sym typeface="Montserrat Medium"/>
              </a:defRPr>
            </a:lvl4pPr>
            <a:lvl5pPr lvl="4" rtl="0">
              <a:spcBef>
                <a:spcPts val="0"/>
              </a:spcBef>
              <a:spcAft>
                <a:spcPts val="0"/>
              </a:spcAft>
              <a:buSzPts val="2400"/>
              <a:buFont typeface="Montserrat Medium"/>
              <a:buNone/>
              <a:defRPr sz="2400">
                <a:latin typeface="Montserrat Medium"/>
                <a:ea typeface="Montserrat Medium"/>
                <a:cs typeface="Montserrat Medium"/>
                <a:sym typeface="Montserrat Medium"/>
              </a:defRPr>
            </a:lvl5pPr>
            <a:lvl6pPr lvl="5" rtl="0">
              <a:spcBef>
                <a:spcPts val="0"/>
              </a:spcBef>
              <a:spcAft>
                <a:spcPts val="0"/>
              </a:spcAft>
              <a:buSzPts val="2400"/>
              <a:buFont typeface="Montserrat Medium"/>
              <a:buNone/>
              <a:defRPr sz="2400">
                <a:latin typeface="Montserrat Medium"/>
                <a:ea typeface="Montserrat Medium"/>
                <a:cs typeface="Montserrat Medium"/>
                <a:sym typeface="Montserrat Medium"/>
              </a:defRPr>
            </a:lvl6pPr>
            <a:lvl7pPr lvl="6" rtl="0">
              <a:spcBef>
                <a:spcPts val="0"/>
              </a:spcBef>
              <a:spcAft>
                <a:spcPts val="0"/>
              </a:spcAft>
              <a:buSzPts val="2400"/>
              <a:buFont typeface="Montserrat Medium"/>
              <a:buNone/>
              <a:defRPr sz="2400">
                <a:latin typeface="Montserrat Medium"/>
                <a:ea typeface="Montserrat Medium"/>
                <a:cs typeface="Montserrat Medium"/>
                <a:sym typeface="Montserrat Medium"/>
              </a:defRPr>
            </a:lvl7pPr>
            <a:lvl8pPr lvl="7" rtl="0">
              <a:spcBef>
                <a:spcPts val="0"/>
              </a:spcBef>
              <a:spcAft>
                <a:spcPts val="0"/>
              </a:spcAft>
              <a:buSzPts val="2400"/>
              <a:buFont typeface="Montserrat Medium"/>
              <a:buNone/>
              <a:defRPr sz="2400">
                <a:latin typeface="Montserrat Medium"/>
                <a:ea typeface="Montserrat Medium"/>
                <a:cs typeface="Montserrat Medium"/>
                <a:sym typeface="Montserrat Medium"/>
              </a:defRPr>
            </a:lvl8pPr>
            <a:lvl9pPr lvl="8" rtl="0">
              <a:spcBef>
                <a:spcPts val="0"/>
              </a:spcBef>
              <a:spcAft>
                <a:spcPts val="0"/>
              </a:spcAft>
              <a:buSzPts val="2400"/>
              <a:buFont typeface="Montserrat Medium"/>
              <a:buNone/>
              <a:defRPr sz="2400">
                <a:latin typeface="Montserrat Medium"/>
                <a:ea typeface="Montserrat Medium"/>
                <a:cs typeface="Montserrat Medium"/>
                <a:sym typeface="Montserrat Medium"/>
              </a:defRPr>
            </a:lvl9pPr>
          </a:lstStyle>
          <a:p>
            <a:endParaRPr/>
          </a:p>
        </p:txBody>
      </p:sp>
      <p:sp>
        <p:nvSpPr>
          <p:cNvPr id="604" name="Google Shape;604;p47"/>
          <p:cNvSpPr txBox="1">
            <a:spLocks noGrp="1"/>
          </p:cNvSpPr>
          <p:nvPr>
            <p:ph type="subTitle" idx="8"/>
          </p:nvPr>
        </p:nvSpPr>
        <p:spPr>
          <a:xfrm>
            <a:off x="11538900" y="10420275"/>
            <a:ext cx="4135800" cy="1992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SzPts val="2400"/>
              <a:buFont typeface="Montserrat Medium"/>
              <a:buNone/>
              <a:defRPr sz="2400">
                <a:latin typeface="Montserrat Medium"/>
                <a:ea typeface="Montserrat Medium"/>
                <a:cs typeface="Montserrat Medium"/>
                <a:sym typeface="Montserrat Medium"/>
              </a:defRPr>
            </a:lvl1pPr>
            <a:lvl2pPr lvl="1" rtl="0">
              <a:spcBef>
                <a:spcPts val="0"/>
              </a:spcBef>
              <a:spcAft>
                <a:spcPts val="0"/>
              </a:spcAft>
              <a:buSzPts val="2400"/>
              <a:buFont typeface="Montserrat Medium"/>
              <a:buNone/>
              <a:defRPr sz="2400">
                <a:latin typeface="Montserrat Medium"/>
                <a:ea typeface="Montserrat Medium"/>
                <a:cs typeface="Montserrat Medium"/>
                <a:sym typeface="Montserrat Medium"/>
              </a:defRPr>
            </a:lvl2pPr>
            <a:lvl3pPr lvl="2" rtl="0">
              <a:spcBef>
                <a:spcPts val="0"/>
              </a:spcBef>
              <a:spcAft>
                <a:spcPts val="0"/>
              </a:spcAft>
              <a:buSzPts val="2400"/>
              <a:buFont typeface="Montserrat Medium"/>
              <a:buNone/>
              <a:defRPr sz="2400">
                <a:latin typeface="Montserrat Medium"/>
                <a:ea typeface="Montserrat Medium"/>
                <a:cs typeface="Montserrat Medium"/>
                <a:sym typeface="Montserrat Medium"/>
              </a:defRPr>
            </a:lvl3pPr>
            <a:lvl4pPr lvl="3" rtl="0">
              <a:spcBef>
                <a:spcPts val="0"/>
              </a:spcBef>
              <a:spcAft>
                <a:spcPts val="0"/>
              </a:spcAft>
              <a:buSzPts val="2400"/>
              <a:buFont typeface="Montserrat Medium"/>
              <a:buNone/>
              <a:defRPr sz="2400">
                <a:latin typeface="Montserrat Medium"/>
                <a:ea typeface="Montserrat Medium"/>
                <a:cs typeface="Montserrat Medium"/>
                <a:sym typeface="Montserrat Medium"/>
              </a:defRPr>
            </a:lvl4pPr>
            <a:lvl5pPr lvl="4" rtl="0">
              <a:spcBef>
                <a:spcPts val="0"/>
              </a:spcBef>
              <a:spcAft>
                <a:spcPts val="0"/>
              </a:spcAft>
              <a:buSzPts val="2400"/>
              <a:buFont typeface="Montserrat Medium"/>
              <a:buNone/>
              <a:defRPr sz="2400">
                <a:latin typeface="Montserrat Medium"/>
                <a:ea typeface="Montserrat Medium"/>
                <a:cs typeface="Montserrat Medium"/>
                <a:sym typeface="Montserrat Medium"/>
              </a:defRPr>
            </a:lvl5pPr>
            <a:lvl6pPr lvl="5" rtl="0">
              <a:spcBef>
                <a:spcPts val="0"/>
              </a:spcBef>
              <a:spcAft>
                <a:spcPts val="0"/>
              </a:spcAft>
              <a:buSzPts val="2400"/>
              <a:buFont typeface="Montserrat Medium"/>
              <a:buNone/>
              <a:defRPr sz="2400">
                <a:latin typeface="Montserrat Medium"/>
                <a:ea typeface="Montserrat Medium"/>
                <a:cs typeface="Montserrat Medium"/>
                <a:sym typeface="Montserrat Medium"/>
              </a:defRPr>
            </a:lvl6pPr>
            <a:lvl7pPr lvl="6" rtl="0">
              <a:spcBef>
                <a:spcPts val="0"/>
              </a:spcBef>
              <a:spcAft>
                <a:spcPts val="0"/>
              </a:spcAft>
              <a:buSzPts val="2400"/>
              <a:buFont typeface="Montserrat Medium"/>
              <a:buNone/>
              <a:defRPr sz="2400">
                <a:latin typeface="Montserrat Medium"/>
                <a:ea typeface="Montserrat Medium"/>
                <a:cs typeface="Montserrat Medium"/>
                <a:sym typeface="Montserrat Medium"/>
              </a:defRPr>
            </a:lvl7pPr>
            <a:lvl8pPr lvl="7" rtl="0">
              <a:spcBef>
                <a:spcPts val="0"/>
              </a:spcBef>
              <a:spcAft>
                <a:spcPts val="0"/>
              </a:spcAft>
              <a:buSzPts val="2400"/>
              <a:buFont typeface="Montserrat Medium"/>
              <a:buNone/>
              <a:defRPr sz="2400">
                <a:latin typeface="Montserrat Medium"/>
                <a:ea typeface="Montserrat Medium"/>
                <a:cs typeface="Montserrat Medium"/>
                <a:sym typeface="Montserrat Medium"/>
              </a:defRPr>
            </a:lvl8pPr>
            <a:lvl9pPr lvl="8" rtl="0">
              <a:spcBef>
                <a:spcPts val="0"/>
              </a:spcBef>
              <a:spcAft>
                <a:spcPts val="0"/>
              </a:spcAft>
              <a:buSzPts val="2400"/>
              <a:buFont typeface="Montserrat Medium"/>
              <a:buNone/>
              <a:defRPr sz="2400">
                <a:latin typeface="Montserrat Medium"/>
                <a:ea typeface="Montserrat Medium"/>
                <a:cs typeface="Montserrat Medium"/>
                <a:sym typeface="Montserrat Medium"/>
              </a:defRPr>
            </a:lvl9pPr>
          </a:lstStyle>
          <a:p>
            <a:endParaRPr/>
          </a:p>
        </p:txBody>
      </p:sp>
      <p:sp>
        <p:nvSpPr>
          <p:cNvPr id="605" name="Google Shape;605;p47"/>
          <p:cNvSpPr txBox="1">
            <a:spLocks noGrp="1"/>
          </p:cNvSpPr>
          <p:nvPr>
            <p:ph type="subTitle" idx="9"/>
          </p:nvPr>
        </p:nvSpPr>
        <p:spPr>
          <a:xfrm>
            <a:off x="18761625" y="10420275"/>
            <a:ext cx="4135800" cy="1992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SzPts val="2400"/>
              <a:buFont typeface="Montserrat Medium"/>
              <a:buNone/>
              <a:defRPr sz="2400">
                <a:latin typeface="Montserrat Medium"/>
                <a:ea typeface="Montserrat Medium"/>
                <a:cs typeface="Montserrat Medium"/>
                <a:sym typeface="Montserrat Medium"/>
              </a:defRPr>
            </a:lvl1pPr>
            <a:lvl2pPr lvl="1" rtl="0">
              <a:spcBef>
                <a:spcPts val="0"/>
              </a:spcBef>
              <a:spcAft>
                <a:spcPts val="0"/>
              </a:spcAft>
              <a:buSzPts val="2400"/>
              <a:buFont typeface="Montserrat Medium"/>
              <a:buNone/>
              <a:defRPr sz="2400">
                <a:latin typeface="Montserrat Medium"/>
                <a:ea typeface="Montserrat Medium"/>
                <a:cs typeface="Montserrat Medium"/>
                <a:sym typeface="Montserrat Medium"/>
              </a:defRPr>
            </a:lvl2pPr>
            <a:lvl3pPr lvl="2" rtl="0">
              <a:spcBef>
                <a:spcPts val="0"/>
              </a:spcBef>
              <a:spcAft>
                <a:spcPts val="0"/>
              </a:spcAft>
              <a:buSzPts val="2400"/>
              <a:buFont typeface="Montserrat Medium"/>
              <a:buNone/>
              <a:defRPr sz="2400">
                <a:latin typeface="Montserrat Medium"/>
                <a:ea typeface="Montserrat Medium"/>
                <a:cs typeface="Montserrat Medium"/>
                <a:sym typeface="Montserrat Medium"/>
              </a:defRPr>
            </a:lvl3pPr>
            <a:lvl4pPr lvl="3" rtl="0">
              <a:spcBef>
                <a:spcPts val="0"/>
              </a:spcBef>
              <a:spcAft>
                <a:spcPts val="0"/>
              </a:spcAft>
              <a:buSzPts val="2400"/>
              <a:buFont typeface="Montserrat Medium"/>
              <a:buNone/>
              <a:defRPr sz="2400">
                <a:latin typeface="Montserrat Medium"/>
                <a:ea typeface="Montserrat Medium"/>
                <a:cs typeface="Montserrat Medium"/>
                <a:sym typeface="Montserrat Medium"/>
              </a:defRPr>
            </a:lvl4pPr>
            <a:lvl5pPr lvl="4" rtl="0">
              <a:spcBef>
                <a:spcPts val="0"/>
              </a:spcBef>
              <a:spcAft>
                <a:spcPts val="0"/>
              </a:spcAft>
              <a:buSzPts val="2400"/>
              <a:buFont typeface="Montserrat Medium"/>
              <a:buNone/>
              <a:defRPr sz="2400">
                <a:latin typeface="Montserrat Medium"/>
                <a:ea typeface="Montserrat Medium"/>
                <a:cs typeface="Montserrat Medium"/>
                <a:sym typeface="Montserrat Medium"/>
              </a:defRPr>
            </a:lvl5pPr>
            <a:lvl6pPr lvl="5" rtl="0">
              <a:spcBef>
                <a:spcPts val="0"/>
              </a:spcBef>
              <a:spcAft>
                <a:spcPts val="0"/>
              </a:spcAft>
              <a:buSzPts val="2400"/>
              <a:buFont typeface="Montserrat Medium"/>
              <a:buNone/>
              <a:defRPr sz="2400">
                <a:latin typeface="Montserrat Medium"/>
                <a:ea typeface="Montserrat Medium"/>
                <a:cs typeface="Montserrat Medium"/>
                <a:sym typeface="Montserrat Medium"/>
              </a:defRPr>
            </a:lvl6pPr>
            <a:lvl7pPr lvl="6" rtl="0">
              <a:spcBef>
                <a:spcPts val="0"/>
              </a:spcBef>
              <a:spcAft>
                <a:spcPts val="0"/>
              </a:spcAft>
              <a:buSzPts val="2400"/>
              <a:buFont typeface="Montserrat Medium"/>
              <a:buNone/>
              <a:defRPr sz="2400">
                <a:latin typeface="Montserrat Medium"/>
                <a:ea typeface="Montserrat Medium"/>
                <a:cs typeface="Montserrat Medium"/>
                <a:sym typeface="Montserrat Medium"/>
              </a:defRPr>
            </a:lvl7pPr>
            <a:lvl8pPr lvl="7" rtl="0">
              <a:spcBef>
                <a:spcPts val="0"/>
              </a:spcBef>
              <a:spcAft>
                <a:spcPts val="0"/>
              </a:spcAft>
              <a:buSzPts val="2400"/>
              <a:buFont typeface="Montserrat Medium"/>
              <a:buNone/>
              <a:defRPr sz="2400">
                <a:latin typeface="Montserrat Medium"/>
                <a:ea typeface="Montserrat Medium"/>
                <a:cs typeface="Montserrat Medium"/>
                <a:sym typeface="Montserrat Medium"/>
              </a:defRPr>
            </a:lvl8pPr>
            <a:lvl9pPr lvl="8" rtl="0">
              <a:spcBef>
                <a:spcPts val="0"/>
              </a:spcBef>
              <a:spcAft>
                <a:spcPts val="0"/>
              </a:spcAft>
              <a:buSzPts val="2400"/>
              <a:buFont typeface="Montserrat Medium"/>
              <a:buNone/>
              <a:defRPr sz="2400">
                <a:latin typeface="Montserrat Medium"/>
                <a:ea typeface="Montserrat Medium"/>
                <a:cs typeface="Montserrat Medium"/>
                <a:sym typeface="Montserrat Medium"/>
              </a:defRPr>
            </a:lvl9pPr>
          </a:lstStyle>
          <a:p>
            <a:endParaRPr/>
          </a:p>
        </p:txBody>
      </p:sp>
      <p:sp>
        <p:nvSpPr>
          <p:cNvPr id="606" name="Google Shape;606;p47"/>
          <p:cNvSpPr>
            <a:spLocks noGrp="1"/>
          </p:cNvSpPr>
          <p:nvPr>
            <p:ph type="pic" idx="13"/>
          </p:nvPr>
        </p:nvSpPr>
        <p:spPr>
          <a:xfrm>
            <a:off x="9566450" y="3772325"/>
            <a:ext cx="1257300" cy="1257300"/>
          </a:xfrm>
          <a:prstGeom prst="ellipse">
            <a:avLst/>
          </a:prstGeom>
          <a:noFill/>
          <a:ln>
            <a:noFill/>
          </a:ln>
        </p:spPr>
      </p:sp>
      <p:sp>
        <p:nvSpPr>
          <p:cNvPr id="607" name="Google Shape;607;p47"/>
          <p:cNvSpPr>
            <a:spLocks noGrp="1"/>
          </p:cNvSpPr>
          <p:nvPr>
            <p:ph type="pic" idx="14"/>
          </p:nvPr>
        </p:nvSpPr>
        <p:spPr>
          <a:xfrm>
            <a:off x="9566450" y="8686375"/>
            <a:ext cx="1257300" cy="1257300"/>
          </a:xfrm>
          <a:prstGeom prst="ellipse">
            <a:avLst/>
          </a:prstGeom>
          <a:noFill/>
          <a:ln>
            <a:noFill/>
          </a:ln>
        </p:spPr>
      </p:sp>
      <p:sp>
        <p:nvSpPr>
          <p:cNvPr id="608" name="Google Shape;608;p47"/>
          <p:cNvSpPr/>
          <p:nvPr/>
        </p:nvSpPr>
        <p:spPr>
          <a:xfrm>
            <a:off x="16329850" y="3404825"/>
            <a:ext cx="1992300" cy="1992300"/>
          </a:xfrm>
          <a:prstGeom prst="ellipse">
            <a:avLst/>
          </a:prstGeom>
          <a:solidFill>
            <a:srgbClr val="C1F400"/>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609" name="Google Shape;609;p47"/>
          <p:cNvSpPr/>
          <p:nvPr/>
        </p:nvSpPr>
        <p:spPr>
          <a:xfrm>
            <a:off x="16329850" y="8318875"/>
            <a:ext cx="1992300" cy="1992300"/>
          </a:xfrm>
          <a:prstGeom prst="ellipse">
            <a:avLst/>
          </a:prstGeom>
          <a:solidFill>
            <a:srgbClr val="C1F400"/>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610" name="Google Shape;610;p47"/>
          <p:cNvSpPr>
            <a:spLocks noGrp="1"/>
          </p:cNvSpPr>
          <p:nvPr>
            <p:ph type="pic" idx="15"/>
          </p:nvPr>
        </p:nvSpPr>
        <p:spPr>
          <a:xfrm>
            <a:off x="16697350" y="3772325"/>
            <a:ext cx="1257300" cy="1257300"/>
          </a:xfrm>
          <a:prstGeom prst="ellipse">
            <a:avLst/>
          </a:prstGeom>
          <a:noFill/>
          <a:ln>
            <a:noFill/>
          </a:ln>
        </p:spPr>
      </p:sp>
      <p:sp>
        <p:nvSpPr>
          <p:cNvPr id="611" name="Google Shape;611;p47"/>
          <p:cNvSpPr>
            <a:spLocks noGrp="1"/>
          </p:cNvSpPr>
          <p:nvPr>
            <p:ph type="pic" idx="16"/>
          </p:nvPr>
        </p:nvSpPr>
        <p:spPr>
          <a:xfrm>
            <a:off x="16697350" y="8686375"/>
            <a:ext cx="1257300" cy="1257300"/>
          </a:xfrm>
          <a:prstGeom prst="ellipse">
            <a:avLst/>
          </a:prstGeom>
          <a:noFill/>
          <a:ln>
            <a:noFill/>
          </a:ln>
        </p:spPr>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Section title slide - no image">
  <p:cSld name="Section title slide - no image">
    <p:bg>
      <p:bgPr>
        <a:solidFill>
          <a:srgbClr val="C1F400"/>
        </a:solidFill>
        <a:effectLst/>
      </p:bgPr>
    </p:bg>
    <p:spTree>
      <p:nvGrpSpPr>
        <p:cNvPr id="1" name="Shape 612"/>
        <p:cNvGrpSpPr/>
        <p:nvPr/>
      </p:nvGrpSpPr>
      <p:grpSpPr>
        <a:xfrm>
          <a:off x="0" y="0"/>
          <a:ext cx="0" cy="0"/>
          <a:chOff x="0" y="0"/>
          <a:chExt cx="0" cy="0"/>
        </a:xfrm>
      </p:grpSpPr>
      <p:pic>
        <p:nvPicPr>
          <p:cNvPr id="613" name="Google Shape;613;p48"/>
          <p:cNvPicPr preferRelativeResize="0"/>
          <p:nvPr/>
        </p:nvPicPr>
        <p:blipFill>
          <a:blip r:embed="rId2">
            <a:alphaModFix/>
          </a:blip>
          <a:stretch>
            <a:fillRect/>
          </a:stretch>
        </p:blipFill>
        <p:spPr>
          <a:xfrm>
            <a:off x="0" y="1676425"/>
            <a:ext cx="24377651" cy="10608076"/>
          </a:xfrm>
          <a:prstGeom prst="rect">
            <a:avLst/>
          </a:prstGeom>
          <a:noFill/>
          <a:ln>
            <a:noFill/>
          </a:ln>
        </p:spPr>
      </p:pic>
      <p:sp>
        <p:nvSpPr>
          <p:cNvPr id="614" name="Google Shape;614;p48"/>
          <p:cNvSpPr txBox="1">
            <a:spLocks noGrp="1"/>
          </p:cNvSpPr>
          <p:nvPr>
            <p:ph type="title"/>
          </p:nvPr>
        </p:nvSpPr>
        <p:spPr>
          <a:xfrm>
            <a:off x="5329075" y="4201950"/>
            <a:ext cx="15421500" cy="35448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0800"/>
              <a:buFont typeface="Montserrat Black"/>
              <a:buNone/>
              <a:defRPr sz="10800">
                <a:solidFill>
                  <a:schemeClr val="lt1"/>
                </a:solidFill>
                <a:latin typeface="Montserrat Black"/>
                <a:ea typeface="Montserrat Black"/>
                <a:cs typeface="Montserrat Black"/>
                <a:sym typeface="Montserrat Black"/>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615" name="Google Shape;615;p48"/>
          <p:cNvSpPr txBox="1">
            <a:spLocks noGrp="1"/>
          </p:cNvSpPr>
          <p:nvPr>
            <p:ph type="title" idx="2"/>
          </p:nvPr>
        </p:nvSpPr>
        <p:spPr>
          <a:xfrm>
            <a:off x="1347625" y="3459000"/>
            <a:ext cx="2888700" cy="35448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8700"/>
              <a:buFont typeface="Montserrat Black"/>
              <a:buNone/>
              <a:defRPr sz="28700">
                <a:solidFill>
                  <a:srgbClr val="C1F400"/>
                </a:solidFill>
                <a:latin typeface="Montserrat Black"/>
                <a:ea typeface="Montserrat Black"/>
                <a:cs typeface="Montserrat Black"/>
                <a:sym typeface="Montserrat Black"/>
              </a:defRPr>
            </a:lvl1pPr>
            <a:lvl2pPr lvl="1" rtl="0">
              <a:spcBef>
                <a:spcPts val="0"/>
              </a:spcBef>
              <a:spcAft>
                <a:spcPts val="0"/>
              </a:spcAft>
              <a:buClr>
                <a:srgbClr val="C1F400"/>
              </a:buClr>
              <a:buSzPts val="28700"/>
              <a:buNone/>
              <a:defRPr sz="28700">
                <a:solidFill>
                  <a:srgbClr val="C1F400"/>
                </a:solidFill>
              </a:defRPr>
            </a:lvl2pPr>
            <a:lvl3pPr lvl="2" rtl="0">
              <a:spcBef>
                <a:spcPts val="0"/>
              </a:spcBef>
              <a:spcAft>
                <a:spcPts val="0"/>
              </a:spcAft>
              <a:buClr>
                <a:srgbClr val="C1F400"/>
              </a:buClr>
              <a:buSzPts val="28700"/>
              <a:buNone/>
              <a:defRPr sz="28700">
                <a:solidFill>
                  <a:srgbClr val="C1F400"/>
                </a:solidFill>
              </a:defRPr>
            </a:lvl3pPr>
            <a:lvl4pPr lvl="3" rtl="0">
              <a:spcBef>
                <a:spcPts val="0"/>
              </a:spcBef>
              <a:spcAft>
                <a:spcPts val="0"/>
              </a:spcAft>
              <a:buClr>
                <a:srgbClr val="C1F400"/>
              </a:buClr>
              <a:buSzPts val="28700"/>
              <a:buNone/>
              <a:defRPr sz="28700">
                <a:solidFill>
                  <a:srgbClr val="C1F400"/>
                </a:solidFill>
              </a:defRPr>
            </a:lvl4pPr>
            <a:lvl5pPr lvl="4" rtl="0">
              <a:spcBef>
                <a:spcPts val="0"/>
              </a:spcBef>
              <a:spcAft>
                <a:spcPts val="0"/>
              </a:spcAft>
              <a:buClr>
                <a:srgbClr val="C1F400"/>
              </a:buClr>
              <a:buSzPts val="28700"/>
              <a:buNone/>
              <a:defRPr sz="28700">
                <a:solidFill>
                  <a:srgbClr val="C1F400"/>
                </a:solidFill>
              </a:defRPr>
            </a:lvl5pPr>
            <a:lvl6pPr lvl="5" rtl="0">
              <a:spcBef>
                <a:spcPts val="0"/>
              </a:spcBef>
              <a:spcAft>
                <a:spcPts val="0"/>
              </a:spcAft>
              <a:buClr>
                <a:srgbClr val="C1F400"/>
              </a:buClr>
              <a:buSzPts val="28700"/>
              <a:buNone/>
              <a:defRPr sz="28700">
                <a:solidFill>
                  <a:srgbClr val="C1F400"/>
                </a:solidFill>
              </a:defRPr>
            </a:lvl6pPr>
            <a:lvl7pPr lvl="6" rtl="0">
              <a:spcBef>
                <a:spcPts val="0"/>
              </a:spcBef>
              <a:spcAft>
                <a:spcPts val="0"/>
              </a:spcAft>
              <a:buClr>
                <a:srgbClr val="C1F400"/>
              </a:buClr>
              <a:buSzPts val="28700"/>
              <a:buNone/>
              <a:defRPr sz="28700">
                <a:solidFill>
                  <a:srgbClr val="C1F400"/>
                </a:solidFill>
              </a:defRPr>
            </a:lvl7pPr>
            <a:lvl8pPr lvl="7" rtl="0">
              <a:spcBef>
                <a:spcPts val="0"/>
              </a:spcBef>
              <a:spcAft>
                <a:spcPts val="0"/>
              </a:spcAft>
              <a:buClr>
                <a:srgbClr val="C1F400"/>
              </a:buClr>
              <a:buSzPts val="28700"/>
              <a:buNone/>
              <a:defRPr sz="28700">
                <a:solidFill>
                  <a:srgbClr val="C1F400"/>
                </a:solidFill>
              </a:defRPr>
            </a:lvl8pPr>
            <a:lvl9pPr lvl="8" rtl="0">
              <a:spcBef>
                <a:spcPts val="0"/>
              </a:spcBef>
              <a:spcAft>
                <a:spcPts val="0"/>
              </a:spcAft>
              <a:buClr>
                <a:srgbClr val="C1F400"/>
              </a:buClr>
              <a:buSzPts val="28700"/>
              <a:buNone/>
              <a:defRPr sz="28700">
                <a:solidFill>
                  <a:srgbClr val="C1F400"/>
                </a:solidFill>
              </a:defRPr>
            </a:lvl9pPr>
          </a:lstStyle>
          <a:p>
            <a:endParaRPr/>
          </a:p>
        </p:txBody>
      </p:sp>
      <p:sp>
        <p:nvSpPr>
          <p:cNvPr id="616" name="Google Shape;616;p48"/>
          <p:cNvSpPr txBox="1">
            <a:spLocks noGrp="1"/>
          </p:cNvSpPr>
          <p:nvPr>
            <p:ph type="subTitle" idx="1"/>
          </p:nvPr>
        </p:nvSpPr>
        <p:spPr>
          <a:xfrm>
            <a:off x="5329075" y="7622800"/>
            <a:ext cx="11616000" cy="12405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rgbClr val="C1F400"/>
              </a:buClr>
              <a:buSzPts val="4900"/>
              <a:buFont typeface="Montserrat Medium"/>
              <a:buNone/>
              <a:defRPr sz="4900">
                <a:solidFill>
                  <a:srgbClr val="C1F400"/>
                </a:solidFill>
                <a:latin typeface="Montserrat Medium"/>
                <a:ea typeface="Montserrat Medium"/>
                <a:cs typeface="Montserrat Medium"/>
                <a:sym typeface="Montserrat Medium"/>
              </a:defRPr>
            </a:lvl1pPr>
            <a:lvl2pPr lvl="1" rtl="0">
              <a:spcBef>
                <a:spcPts val="0"/>
              </a:spcBef>
              <a:spcAft>
                <a:spcPts val="0"/>
              </a:spcAft>
              <a:buClr>
                <a:srgbClr val="C1F400"/>
              </a:buClr>
              <a:buSzPts val="1400"/>
              <a:buNone/>
              <a:defRPr>
                <a:solidFill>
                  <a:srgbClr val="C1F400"/>
                </a:solidFill>
              </a:defRPr>
            </a:lvl2pPr>
            <a:lvl3pPr lvl="2" rtl="0">
              <a:spcBef>
                <a:spcPts val="0"/>
              </a:spcBef>
              <a:spcAft>
                <a:spcPts val="0"/>
              </a:spcAft>
              <a:buClr>
                <a:srgbClr val="C1F400"/>
              </a:buClr>
              <a:buSzPts val="1400"/>
              <a:buNone/>
              <a:defRPr>
                <a:solidFill>
                  <a:srgbClr val="C1F400"/>
                </a:solidFill>
              </a:defRPr>
            </a:lvl3pPr>
            <a:lvl4pPr lvl="3" rtl="0">
              <a:spcBef>
                <a:spcPts val="0"/>
              </a:spcBef>
              <a:spcAft>
                <a:spcPts val="0"/>
              </a:spcAft>
              <a:buClr>
                <a:srgbClr val="C1F400"/>
              </a:buClr>
              <a:buSzPts val="1400"/>
              <a:buNone/>
              <a:defRPr>
                <a:solidFill>
                  <a:srgbClr val="C1F400"/>
                </a:solidFill>
              </a:defRPr>
            </a:lvl4pPr>
            <a:lvl5pPr lvl="4" rtl="0">
              <a:spcBef>
                <a:spcPts val="0"/>
              </a:spcBef>
              <a:spcAft>
                <a:spcPts val="0"/>
              </a:spcAft>
              <a:buClr>
                <a:srgbClr val="C1F400"/>
              </a:buClr>
              <a:buSzPts val="1400"/>
              <a:buNone/>
              <a:defRPr>
                <a:solidFill>
                  <a:srgbClr val="C1F400"/>
                </a:solidFill>
              </a:defRPr>
            </a:lvl5pPr>
            <a:lvl6pPr lvl="5" rtl="0">
              <a:spcBef>
                <a:spcPts val="0"/>
              </a:spcBef>
              <a:spcAft>
                <a:spcPts val="0"/>
              </a:spcAft>
              <a:buClr>
                <a:srgbClr val="C1F400"/>
              </a:buClr>
              <a:buSzPts val="1400"/>
              <a:buNone/>
              <a:defRPr>
                <a:solidFill>
                  <a:srgbClr val="C1F400"/>
                </a:solidFill>
              </a:defRPr>
            </a:lvl6pPr>
            <a:lvl7pPr lvl="6" rtl="0">
              <a:spcBef>
                <a:spcPts val="0"/>
              </a:spcBef>
              <a:spcAft>
                <a:spcPts val="0"/>
              </a:spcAft>
              <a:buClr>
                <a:srgbClr val="C1F400"/>
              </a:buClr>
              <a:buSzPts val="1400"/>
              <a:buNone/>
              <a:defRPr>
                <a:solidFill>
                  <a:srgbClr val="C1F400"/>
                </a:solidFill>
              </a:defRPr>
            </a:lvl7pPr>
            <a:lvl8pPr lvl="7" rtl="0">
              <a:spcBef>
                <a:spcPts val="0"/>
              </a:spcBef>
              <a:spcAft>
                <a:spcPts val="0"/>
              </a:spcAft>
              <a:buClr>
                <a:srgbClr val="C1F400"/>
              </a:buClr>
              <a:buSzPts val="1400"/>
              <a:buNone/>
              <a:defRPr>
                <a:solidFill>
                  <a:srgbClr val="C1F400"/>
                </a:solidFill>
              </a:defRPr>
            </a:lvl8pPr>
            <a:lvl9pPr lvl="8" rtl="0">
              <a:spcBef>
                <a:spcPts val="0"/>
              </a:spcBef>
              <a:spcAft>
                <a:spcPts val="0"/>
              </a:spcAft>
              <a:buClr>
                <a:srgbClr val="C1F400"/>
              </a:buClr>
              <a:buSzPts val="1400"/>
              <a:buNone/>
              <a:defRPr>
                <a:solidFill>
                  <a:srgbClr val="C1F400"/>
                </a:solidFill>
              </a:defRPr>
            </a:lvl9pPr>
          </a:lstStyle>
          <a:p>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Section title slide with Image">
  <p:cSld name="Section title slide with Image">
    <p:bg>
      <p:bgPr>
        <a:solidFill>
          <a:srgbClr val="C1F400"/>
        </a:solidFill>
        <a:effectLst/>
      </p:bgPr>
    </p:bg>
    <p:spTree>
      <p:nvGrpSpPr>
        <p:cNvPr id="1" name="Shape 617"/>
        <p:cNvGrpSpPr/>
        <p:nvPr/>
      </p:nvGrpSpPr>
      <p:grpSpPr>
        <a:xfrm>
          <a:off x="0" y="0"/>
          <a:ext cx="0" cy="0"/>
          <a:chOff x="0" y="0"/>
          <a:chExt cx="0" cy="0"/>
        </a:xfrm>
      </p:grpSpPr>
      <p:pic>
        <p:nvPicPr>
          <p:cNvPr id="618" name="Google Shape;618;p49"/>
          <p:cNvPicPr preferRelativeResize="0"/>
          <p:nvPr/>
        </p:nvPicPr>
        <p:blipFill rotWithShape="1">
          <a:blip r:embed="rId2">
            <a:alphaModFix/>
          </a:blip>
          <a:srcRect t="3737" b="3737"/>
          <a:stretch/>
        </p:blipFill>
        <p:spPr>
          <a:xfrm flipH="1">
            <a:off x="-3" y="-699009"/>
            <a:ext cx="24377653" cy="5724335"/>
          </a:xfrm>
          <a:prstGeom prst="rect">
            <a:avLst/>
          </a:prstGeom>
          <a:solidFill>
            <a:schemeClr val="lt2"/>
          </a:solidFill>
          <a:ln>
            <a:noFill/>
          </a:ln>
        </p:spPr>
      </p:pic>
      <p:pic>
        <p:nvPicPr>
          <p:cNvPr id="619" name="Google Shape;619;p49"/>
          <p:cNvPicPr preferRelativeResize="0"/>
          <p:nvPr/>
        </p:nvPicPr>
        <p:blipFill>
          <a:blip r:embed="rId3">
            <a:alphaModFix/>
          </a:blip>
          <a:stretch>
            <a:fillRect/>
          </a:stretch>
        </p:blipFill>
        <p:spPr>
          <a:xfrm>
            <a:off x="0" y="2745925"/>
            <a:ext cx="24377651" cy="9538575"/>
          </a:xfrm>
          <a:prstGeom prst="rect">
            <a:avLst/>
          </a:prstGeom>
          <a:noFill/>
          <a:ln>
            <a:noFill/>
          </a:ln>
        </p:spPr>
      </p:pic>
      <p:sp>
        <p:nvSpPr>
          <p:cNvPr id="620" name="Google Shape;620;p49"/>
          <p:cNvSpPr txBox="1">
            <a:spLocks noGrp="1"/>
          </p:cNvSpPr>
          <p:nvPr>
            <p:ph type="title"/>
          </p:nvPr>
        </p:nvSpPr>
        <p:spPr>
          <a:xfrm>
            <a:off x="5329075" y="4201950"/>
            <a:ext cx="15421500" cy="35448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0800"/>
              <a:buFont typeface="Montserrat Black"/>
              <a:buNone/>
              <a:defRPr sz="10800">
                <a:solidFill>
                  <a:schemeClr val="lt1"/>
                </a:solidFill>
                <a:latin typeface="Montserrat Black"/>
                <a:ea typeface="Montserrat Black"/>
                <a:cs typeface="Montserrat Black"/>
                <a:sym typeface="Montserrat Black"/>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621" name="Google Shape;621;p49"/>
          <p:cNvSpPr txBox="1">
            <a:spLocks noGrp="1"/>
          </p:cNvSpPr>
          <p:nvPr>
            <p:ph type="title" idx="2"/>
          </p:nvPr>
        </p:nvSpPr>
        <p:spPr>
          <a:xfrm>
            <a:off x="1347625" y="3420900"/>
            <a:ext cx="2888700" cy="35448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8700"/>
              <a:buFont typeface="Montserrat Black"/>
              <a:buNone/>
              <a:defRPr sz="28700">
                <a:solidFill>
                  <a:srgbClr val="C1F400"/>
                </a:solidFill>
                <a:latin typeface="Montserrat Black"/>
                <a:ea typeface="Montserrat Black"/>
                <a:cs typeface="Montserrat Black"/>
                <a:sym typeface="Montserrat Black"/>
              </a:defRPr>
            </a:lvl1pPr>
            <a:lvl2pPr lvl="1" rtl="0">
              <a:spcBef>
                <a:spcPts val="0"/>
              </a:spcBef>
              <a:spcAft>
                <a:spcPts val="0"/>
              </a:spcAft>
              <a:buClr>
                <a:srgbClr val="C1F400"/>
              </a:buClr>
              <a:buSzPts val="28700"/>
              <a:buNone/>
              <a:defRPr sz="28700">
                <a:solidFill>
                  <a:srgbClr val="C1F400"/>
                </a:solidFill>
              </a:defRPr>
            </a:lvl2pPr>
            <a:lvl3pPr lvl="2" rtl="0">
              <a:spcBef>
                <a:spcPts val="0"/>
              </a:spcBef>
              <a:spcAft>
                <a:spcPts val="0"/>
              </a:spcAft>
              <a:buClr>
                <a:srgbClr val="C1F400"/>
              </a:buClr>
              <a:buSzPts val="28700"/>
              <a:buNone/>
              <a:defRPr sz="28700">
                <a:solidFill>
                  <a:srgbClr val="C1F400"/>
                </a:solidFill>
              </a:defRPr>
            </a:lvl3pPr>
            <a:lvl4pPr lvl="3" rtl="0">
              <a:spcBef>
                <a:spcPts val="0"/>
              </a:spcBef>
              <a:spcAft>
                <a:spcPts val="0"/>
              </a:spcAft>
              <a:buClr>
                <a:srgbClr val="C1F400"/>
              </a:buClr>
              <a:buSzPts val="28700"/>
              <a:buNone/>
              <a:defRPr sz="28700">
                <a:solidFill>
                  <a:srgbClr val="C1F400"/>
                </a:solidFill>
              </a:defRPr>
            </a:lvl4pPr>
            <a:lvl5pPr lvl="4" rtl="0">
              <a:spcBef>
                <a:spcPts val="0"/>
              </a:spcBef>
              <a:spcAft>
                <a:spcPts val="0"/>
              </a:spcAft>
              <a:buClr>
                <a:srgbClr val="C1F400"/>
              </a:buClr>
              <a:buSzPts val="28700"/>
              <a:buNone/>
              <a:defRPr sz="28700">
                <a:solidFill>
                  <a:srgbClr val="C1F400"/>
                </a:solidFill>
              </a:defRPr>
            </a:lvl5pPr>
            <a:lvl6pPr lvl="5" rtl="0">
              <a:spcBef>
                <a:spcPts val="0"/>
              </a:spcBef>
              <a:spcAft>
                <a:spcPts val="0"/>
              </a:spcAft>
              <a:buClr>
                <a:srgbClr val="C1F400"/>
              </a:buClr>
              <a:buSzPts val="28700"/>
              <a:buNone/>
              <a:defRPr sz="28700">
                <a:solidFill>
                  <a:srgbClr val="C1F400"/>
                </a:solidFill>
              </a:defRPr>
            </a:lvl6pPr>
            <a:lvl7pPr lvl="6" rtl="0">
              <a:spcBef>
                <a:spcPts val="0"/>
              </a:spcBef>
              <a:spcAft>
                <a:spcPts val="0"/>
              </a:spcAft>
              <a:buClr>
                <a:srgbClr val="C1F400"/>
              </a:buClr>
              <a:buSzPts val="28700"/>
              <a:buNone/>
              <a:defRPr sz="28700">
                <a:solidFill>
                  <a:srgbClr val="C1F400"/>
                </a:solidFill>
              </a:defRPr>
            </a:lvl7pPr>
            <a:lvl8pPr lvl="7" rtl="0">
              <a:spcBef>
                <a:spcPts val="0"/>
              </a:spcBef>
              <a:spcAft>
                <a:spcPts val="0"/>
              </a:spcAft>
              <a:buClr>
                <a:srgbClr val="C1F400"/>
              </a:buClr>
              <a:buSzPts val="28700"/>
              <a:buNone/>
              <a:defRPr sz="28700">
                <a:solidFill>
                  <a:srgbClr val="C1F400"/>
                </a:solidFill>
              </a:defRPr>
            </a:lvl8pPr>
            <a:lvl9pPr lvl="8" rtl="0">
              <a:spcBef>
                <a:spcPts val="0"/>
              </a:spcBef>
              <a:spcAft>
                <a:spcPts val="0"/>
              </a:spcAft>
              <a:buClr>
                <a:srgbClr val="C1F400"/>
              </a:buClr>
              <a:buSzPts val="28700"/>
              <a:buNone/>
              <a:defRPr sz="28700">
                <a:solidFill>
                  <a:srgbClr val="C1F400"/>
                </a:solidFill>
              </a:defRPr>
            </a:lvl9pPr>
          </a:lstStyle>
          <a:p>
            <a:endParaRPr/>
          </a:p>
        </p:txBody>
      </p:sp>
      <p:sp>
        <p:nvSpPr>
          <p:cNvPr id="622" name="Google Shape;622;p49"/>
          <p:cNvSpPr txBox="1">
            <a:spLocks noGrp="1"/>
          </p:cNvSpPr>
          <p:nvPr>
            <p:ph type="subTitle" idx="1"/>
          </p:nvPr>
        </p:nvSpPr>
        <p:spPr>
          <a:xfrm>
            <a:off x="5329075" y="7622800"/>
            <a:ext cx="11616000" cy="12405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rgbClr val="C1F400"/>
              </a:buClr>
              <a:buSzPts val="4900"/>
              <a:buFont typeface="Montserrat Medium"/>
              <a:buNone/>
              <a:defRPr sz="4900">
                <a:solidFill>
                  <a:srgbClr val="C1F400"/>
                </a:solidFill>
                <a:latin typeface="Montserrat Medium"/>
                <a:ea typeface="Montserrat Medium"/>
                <a:cs typeface="Montserrat Medium"/>
                <a:sym typeface="Montserrat Medium"/>
              </a:defRPr>
            </a:lvl1pPr>
            <a:lvl2pPr lvl="1" rtl="0">
              <a:spcBef>
                <a:spcPts val="0"/>
              </a:spcBef>
              <a:spcAft>
                <a:spcPts val="0"/>
              </a:spcAft>
              <a:buClr>
                <a:srgbClr val="C1F400"/>
              </a:buClr>
              <a:buSzPts val="1400"/>
              <a:buNone/>
              <a:defRPr>
                <a:solidFill>
                  <a:srgbClr val="C1F400"/>
                </a:solidFill>
              </a:defRPr>
            </a:lvl2pPr>
            <a:lvl3pPr lvl="2" rtl="0">
              <a:spcBef>
                <a:spcPts val="0"/>
              </a:spcBef>
              <a:spcAft>
                <a:spcPts val="0"/>
              </a:spcAft>
              <a:buClr>
                <a:srgbClr val="C1F400"/>
              </a:buClr>
              <a:buSzPts val="1400"/>
              <a:buNone/>
              <a:defRPr>
                <a:solidFill>
                  <a:srgbClr val="C1F400"/>
                </a:solidFill>
              </a:defRPr>
            </a:lvl3pPr>
            <a:lvl4pPr lvl="3" rtl="0">
              <a:spcBef>
                <a:spcPts val="0"/>
              </a:spcBef>
              <a:spcAft>
                <a:spcPts val="0"/>
              </a:spcAft>
              <a:buClr>
                <a:srgbClr val="C1F400"/>
              </a:buClr>
              <a:buSzPts val="1400"/>
              <a:buNone/>
              <a:defRPr>
                <a:solidFill>
                  <a:srgbClr val="C1F400"/>
                </a:solidFill>
              </a:defRPr>
            </a:lvl4pPr>
            <a:lvl5pPr lvl="4" rtl="0">
              <a:spcBef>
                <a:spcPts val="0"/>
              </a:spcBef>
              <a:spcAft>
                <a:spcPts val="0"/>
              </a:spcAft>
              <a:buClr>
                <a:srgbClr val="C1F400"/>
              </a:buClr>
              <a:buSzPts val="1400"/>
              <a:buNone/>
              <a:defRPr>
                <a:solidFill>
                  <a:srgbClr val="C1F400"/>
                </a:solidFill>
              </a:defRPr>
            </a:lvl5pPr>
            <a:lvl6pPr lvl="5" rtl="0">
              <a:spcBef>
                <a:spcPts val="0"/>
              </a:spcBef>
              <a:spcAft>
                <a:spcPts val="0"/>
              </a:spcAft>
              <a:buClr>
                <a:srgbClr val="C1F400"/>
              </a:buClr>
              <a:buSzPts val="1400"/>
              <a:buNone/>
              <a:defRPr>
                <a:solidFill>
                  <a:srgbClr val="C1F400"/>
                </a:solidFill>
              </a:defRPr>
            </a:lvl6pPr>
            <a:lvl7pPr lvl="6" rtl="0">
              <a:spcBef>
                <a:spcPts val="0"/>
              </a:spcBef>
              <a:spcAft>
                <a:spcPts val="0"/>
              </a:spcAft>
              <a:buClr>
                <a:srgbClr val="C1F400"/>
              </a:buClr>
              <a:buSzPts val="1400"/>
              <a:buNone/>
              <a:defRPr>
                <a:solidFill>
                  <a:srgbClr val="C1F400"/>
                </a:solidFill>
              </a:defRPr>
            </a:lvl7pPr>
            <a:lvl8pPr lvl="7" rtl="0">
              <a:spcBef>
                <a:spcPts val="0"/>
              </a:spcBef>
              <a:spcAft>
                <a:spcPts val="0"/>
              </a:spcAft>
              <a:buClr>
                <a:srgbClr val="C1F400"/>
              </a:buClr>
              <a:buSzPts val="1400"/>
              <a:buNone/>
              <a:defRPr>
                <a:solidFill>
                  <a:srgbClr val="C1F400"/>
                </a:solidFill>
              </a:defRPr>
            </a:lvl8pPr>
            <a:lvl9pPr lvl="8" rtl="0">
              <a:spcBef>
                <a:spcPts val="0"/>
              </a:spcBef>
              <a:spcAft>
                <a:spcPts val="0"/>
              </a:spcAft>
              <a:buClr>
                <a:srgbClr val="C1F400"/>
              </a:buClr>
              <a:buSzPts val="1400"/>
              <a:buNone/>
              <a:defRPr>
                <a:solidFill>
                  <a:srgbClr val="C1F400"/>
                </a:solidFill>
              </a:defRPr>
            </a:lvl9pPr>
          </a:lstStyle>
          <a:p>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Small Logo Grid">
  <p:cSld name="Small Logo Grid">
    <p:spTree>
      <p:nvGrpSpPr>
        <p:cNvPr id="1" name="Shape 623"/>
        <p:cNvGrpSpPr/>
        <p:nvPr/>
      </p:nvGrpSpPr>
      <p:grpSpPr>
        <a:xfrm>
          <a:off x="0" y="0"/>
          <a:ext cx="0" cy="0"/>
          <a:chOff x="0" y="0"/>
          <a:chExt cx="0" cy="0"/>
        </a:xfrm>
      </p:grpSpPr>
      <p:pic>
        <p:nvPicPr>
          <p:cNvPr id="624" name="Google Shape;624;p50"/>
          <p:cNvPicPr preferRelativeResize="0"/>
          <p:nvPr/>
        </p:nvPicPr>
        <p:blipFill>
          <a:blip r:embed="rId2">
            <a:alphaModFix/>
          </a:blip>
          <a:stretch>
            <a:fillRect/>
          </a:stretch>
        </p:blipFill>
        <p:spPr>
          <a:xfrm>
            <a:off x="0" y="-2678850"/>
            <a:ext cx="24377651" cy="9379682"/>
          </a:xfrm>
          <a:prstGeom prst="rect">
            <a:avLst/>
          </a:prstGeom>
          <a:noFill/>
          <a:ln>
            <a:noFill/>
          </a:ln>
        </p:spPr>
      </p:pic>
      <p:sp>
        <p:nvSpPr>
          <p:cNvPr id="625" name="Google Shape;625;p50"/>
          <p:cNvSpPr>
            <a:spLocks noGrp="1"/>
          </p:cNvSpPr>
          <p:nvPr>
            <p:ph type="pic" idx="2"/>
          </p:nvPr>
        </p:nvSpPr>
        <p:spPr>
          <a:xfrm>
            <a:off x="8271875" y="7099525"/>
            <a:ext cx="3522300" cy="1201200"/>
          </a:xfrm>
          <a:prstGeom prst="rect">
            <a:avLst/>
          </a:prstGeom>
          <a:noFill/>
          <a:ln>
            <a:noFill/>
          </a:ln>
        </p:spPr>
      </p:sp>
      <p:sp>
        <p:nvSpPr>
          <p:cNvPr id="626" name="Google Shape;626;p50"/>
          <p:cNvSpPr>
            <a:spLocks noGrp="1"/>
          </p:cNvSpPr>
          <p:nvPr>
            <p:ph type="pic" idx="3"/>
          </p:nvPr>
        </p:nvSpPr>
        <p:spPr>
          <a:xfrm>
            <a:off x="8271875" y="8540674"/>
            <a:ext cx="3522300" cy="1201200"/>
          </a:xfrm>
          <a:prstGeom prst="rect">
            <a:avLst/>
          </a:prstGeom>
          <a:noFill/>
          <a:ln>
            <a:noFill/>
          </a:ln>
        </p:spPr>
      </p:sp>
      <p:sp>
        <p:nvSpPr>
          <p:cNvPr id="627" name="Google Shape;627;p50"/>
          <p:cNvSpPr>
            <a:spLocks noGrp="1"/>
          </p:cNvSpPr>
          <p:nvPr>
            <p:ph type="pic" idx="4"/>
          </p:nvPr>
        </p:nvSpPr>
        <p:spPr>
          <a:xfrm>
            <a:off x="8271875" y="9981824"/>
            <a:ext cx="3522300" cy="1201200"/>
          </a:xfrm>
          <a:prstGeom prst="rect">
            <a:avLst/>
          </a:prstGeom>
          <a:noFill/>
          <a:ln>
            <a:noFill/>
          </a:ln>
        </p:spPr>
      </p:sp>
      <p:sp>
        <p:nvSpPr>
          <p:cNvPr id="628" name="Google Shape;628;p50"/>
          <p:cNvSpPr>
            <a:spLocks noGrp="1"/>
          </p:cNvSpPr>
          <p:nvPr>
            <p:ph type="pic" idx="5"/>
          </p:nvPr>
        </p:nvSpPr>
        <p:spPr>
          <a:xfrm>
            <a:off x="11987655" y="7099525"/>
            <a:ext cx="3522300" cy="1201200"/>
          </a:xfrm>
          <a:prstGeom prst="rect">
            <a:avLst/>
          </a:prstGeom>
          <a:noFill/>
          <a:ln>
            <a:noFill/>
          </a:ln>
        </p:spPr>
      </p:sp>
      <p:sp>
        <p:nvSpPr>
          <p:cNvPr id="629" name="Google Shape;629;p50"/>
          <p:cNvSpPr>
            <a:spLocks noGrp="1"/>
          </p:cNvSpPr>
          <p:nvPr>
            <p:ph type="pic" idx="6"/>
          </p:nvPr>
        </p:nvSpPr>
        <p:spPr>
          <a:xfrm>
            <a:off x="11987655" y="8540674"/>
            <a:ext cx="3522300" cy="1201200"/>
          </a:xfrm>
          <a:prstGeom prst="rect">
            <a:avLst/>
          </a:prstGeom>
          <a:noFill/>
          <a:ln>
            <a:noFill/>
          </a:ln>
        </p:spPr>
      </p:sp>
      <p:sp>
        <p:nvSpPr>
          <p:cNvPr id="630" name="Google Shape;630;p50"/>
          <p:cNvSpPr>
            <a:spLocks noGrp="1"/>
          </p:cNvSpPr>
          <p:nvPr>
            <p:ph type="pic" idx="7"/>
          </p:nvPr>
        </p:nvSpPr>
        <p:spPr>
          <a:xfrm>
            <a:off x="11987655" y="9981824"/>
            <a:ext cx="3522300" cy="1201200"/>
          </a:xfrm>
          <a:prstGeom prst="rect">
            <a:avLst/>
          </a:prstGeom>
          <a:noFill/>
          <a:ln>
            <a:noFill/>
          </a:ln>
        </p:spPr>
      </p:sp>
      <p:sp>
        <p:nvSpPr>
          <p:cNvPr id="631" name="Google Shape;631;p50"/>
          <p:cNvSpPr>
            <a:spLocks noGrp="1"/>
          </p:cNvSpPr>
          <p:nvPr>
            <p:ph type="pic" idx="8"/>
          </p:nvPr>
        </p:nvSpPr>
        <p:spPr>
          <a:xfrm>
            <a:off x="15703436" y="7099525"/>
            <a:ext cx="3522300" cy="1201200"/>
          </a:xfrm>
          <a:prstGeom prst="rect">
            <a:avLst/>
          </a:prstGeom>
          <a:noFill/>
          <a:ln>
            <a:noFill/>
          </a:ln>
        </p:spPr>
      </p:sp>
      <p:sp>
        <p:nvSpPr>
          <p:cNvPr id="632" name="Google Shape;632;p50"/>
          <p:cNvSpPr>
            <a:spLocks noGrp="1"/>
          </p:cNvSpPr>
          <p:nvPr>
            <p:ph type="pic" idx="9"/>
          </p:nvPr>
        </p:nvSpPr>
        <p:spPr>
          <a:xfrm>
            <a:off x="15703436" y="8540674"/>
            <a:ext cx="3522300" cy="1201200"/>
          </a:xfrm>
          <a:prstGeom prst="rect">
            <a:avLst/>
          </a:prstGeom>
          <a:noFill/>
          <a:ln>
            <a:noFill/>
          </a:ln>
        </p:spPr>
      </p:sp>
      <p:sp>
        <p:nvSpPr>
          <p:cNvPr id="633" name="Google Shape;633;p50"/>
          <p:cNvSpPr>
            <a:spLocks noGrp="1"/>
          </p:cNvSpPr>
          <p:nvPr>
            <p:ph type="pic" idx="13"/>
          </p:nvPr>
        </p:nvSpPr>
        <p:spPr>
          <a:xfrm>
            <a:off x="15703436" y="9981824"/>
            <a:ext cx="3522300" cy="1201200"/>
          </a:xfrm>
          <a:prstGeom prst="rect">
            <a:avLst/>
          </a:prstGeom>
          <a:noFill/>
          <a:ln>
            <a:noFill/>
          </a:ln>
        </p:spPr>
      </p:sp>
      <p:sp>
        <p:nvSpPr>
          <p:cNvPr id="634" name="Google Shape;634;p50"/>
          <p:cNvSpPr>
            <a:spLocks noGrp="1"/>
          </p:cNvSpPr>
          <p:nvPr>
            <p:ph type="pic" idx="14"/>
          </p:nvPr>
        </p:nvSpPr>
        <p:spPr>
          <a:xfrm>
            <a:off x="8271875" y="11422973"/>
            <a:ext cx="3522300" cy="1201200"/>
          </a:xfrm>
          <a:prstGeom prst="rect">
            <a:avLst/>
          </a:prstGeom>
          <a:noFill/>
          <a:ln>
            <a:noFill/>
          </a:ln>
        </p:spPr>
      </p:sp>
      <p:sp>
        <p:nvSpPr>
          <p:cNvPr id="635" name="Google Shape;635;p50"/>
          <p:cNvSpPr>
            <a:spLocks noGrp="1"/>
          </p:cNvSpPr>
          <p:nvPr>
            <p:ph type="pic" idx="15"/>
          </p:nvPr>
        </p:nvSpPr>
        <p:spPr>
          <a:xfrm>
            <a:off x="11987655" y="11422973"/>
            <a:ext cx="3522300" cy="1201200"/>
          </a:xfrm>
          <a:prstGeom prst="rect">
            <a:avLst/>
          </a:prstGeom>
          <a:noFill/>
          <a:ln>
            <a:noFill/>
          </a:ln>
        </p:spPr>
      </p:sp>
      <p:sp>
        <p:nvSpPr>
          <p:cNvPr id="636" name="Google Shape;636;p50"/>
          <p:cNvSpPr>
            <a:spLocks noGrp="1"/>
          </p:cNvSpPr>
          <p:nvPr>
            <p:ph type="pic" idx="16"/>
          </p:nvPr>
        </p:nvSpPr>
        <p:spPr>
          <a:xfrm>
            <a:off x="15703436" y="11422973"/>
            <a:ext cx="3522300" cy="1201200"/>
          </a:xfrm>
          <a:prstGeom prst="rect">
            <a:avLst/>
          </a:prstGeom>
          <a:noFill/>
          <a:ln>
            <a:noFill/>
          </a:ln>
        </p:spPr>
      </p:sp>
      <p:sp>
        <p:nvSpPr>
          <p:cNvPr id="637" name="Google Shape;637;p50"/>
          <p:cNvSpPr>
            <a:spLocks noGrp="1"/>
          </p:cNvSpPr>
          <p:nvPr>
            <p:ph type="pic" idx="17"/>
          </p:nvPr>
        </p:nvSpPr>
        <p:spPr>
          <a:xfrm>
            <a:off x="19419211" y="7099525"/>
            <a:ext cx="3522300" cy="1201200"/>
          </a:xfrm>
          <a:prstGeom prst="rect">
            <a:avLst/>
          </a:prstGeom>
          <a:noFill/>
          <a:ln>
            <a:noFill/>
          </a:ln>
        </p:spPr>
      </p:sp>
      <p:sp>
        <p:nvSpPr>
          <p:cNvPr id="638" name="Google Shape;638;p50"/>
          <p:cNvSpPr>
            <a:spLocks noGrp="1"/>
          </p:cNvSpPr>
          <p:nvPr>
            <p:ph type="pic" idx="18"/>
          </p:nvPr>
        </p:nvSpPr>
        <p:spPr>
          <a:xfrm>
            <a:off x="19419211" y="8540674"/>
            <a:ext cx="3522300" cy="1201200"/>
          </a:xfrm>
          <a:prstGeom prst="rect">
            <a:avLst/>
          </a:prstGeom>
          <a:noFill/>
          <a:ln>
            <a:noFill/>
          </a:ln>
        </p:spPr>
      </p:sp>
      <p:sp>
        <p:nvSpPr>
          <p:cNvPr id="639" name="Google Shape;639;p50"/>
          <p:cNvSpPr>
            <a:spLocks noGrp="1"/>
          </p:cNvSpPr>
          <p:nvPr>
            <p:ph type="pic" idx="19"/>
          </p:nvPr>
        </p:nvSpPr>
        <p:spPr>
          <a:xfrm>
            <a:off x="19419211" y="9981824"/>
            <a:ext cx="3522300" cy="1201200"/>
          </a:xfrm>
          <a:prstGeom prst="rect">
            <a:avLst/>
          </a:prstGeom>
          <a:noFill/>
          <a:ln>
            <a:noFill/>
          </a:ln>
        </p:spPr>
      </p:sp>
      <p:sp>
        <p:nvSpPr>
          <p:cNvPr id="640" name="Google Shape;640;p50"/>
          <p:cNvSpPr>
            <a:spLocks noGrp="1"/>
          </p:cNvSpPr>
          <p:nvPr>
            <p:ph type="pic" idx="20"/>
          </p:nvPr>
        </p:nvSpPr>
        <p:spPr>
          <a:xfrm>
            <a:off x="19419211" y="11422973"/>
            <a:ext cx="3522300" cy="1201200"/>
          </a:xfrm>
          <a:prstGeom prst="rect">
            <a:avLst/>
          </a:prstGeom>
          <a:noFill/>
          <a:ln>
            <a:noFill/>
          </a:ln>
        </p:spPr>
      </p:sp>
      <p:sp>
        <p:nvSpPr>
          <p:cNvPr id="641" name="Google Shape;641;p50"/>
          <p:cNvSpPr txBox="1">
            <a:spLocks noGrp="1"/>
          </p:cNvSpPr>
          <p:nvPr>
            <p:ph type="title"/>
          </p:nvPr>
        </p:nvSpPr>
        <p:spPr>
          <a:xfrm>
            <a:off x="1990350" y="1382700"/>
            <a:ext cx="19257600" cy="3223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6400"/>
              <a:buFont typeface="Montserrat Black"/>
              <a:buNone/>
              <a:defRPr sz="6400">
                <a:solidFill>
                  <a:srgbClr val="002A44"/>
                </a:solidFill>
                <a:latin typeface="Montserrat Black"/>
                <a:ea typeface="Montserrat Black"/>
                <a:cs typeface="Montserrat Black"/>
                <a:sym typeface="Montserrat Black"/>
              </a:defRPr>
            </a:lvl1pPr>
            <a:lvl2pPr lvl="1" rtl="0">
              <a:spcBef>
                <a:spcPts val="0"/>
              </a:spcBef>
              <a:spcAft>
                <a:spcPts val="0"/>
              </a:spcAft>
              <a:buClr>
                <a:srgbClr val="002A44"/>
              </a:buClr>
              <a:buSzPts val="6400"/>
              <a:buNone/>
              <a:defRPr sz="6400">
                <a:solidFill>
                  <a:srgbClr val="002A44"/>
                </a:solidFill>
              </a:defRPr>
            </a:lvl2pPr>
            <a:lvl3pPr lvl="2" rtl="0">
              <a:spcBef>
                <a:spcPts val="0"/>
              </a:spcBef>
              <a:spcAft>
                <a:spcPts val="0"/>
              </a:spcAft>
              <a:buClr>
                <a:srgbClr val="002A44"/>
              </a:buClr>
              <a:buSzPts val="6400"/>
              <a:buNone/>
              <a:defRPr sz="6400">
                <a:solidFill>
                  <a:srgbClr val="002A44"/>
                </a:solidFill>
              </a:defRPr>
            </a:lvl3pPr>
            <a:lvl4pPr lvl="3" rtl="0">
              <a:spcBef>
                <a:spcPts val="0"/>
              </a:spcBef>
              <a:spcAft>
                <a:spcPts val="0"/>
              </a:spcAft>
              <a:buClr>
                <a:srgbClr val="002A44"/>
              </a:buClr>
              <a:buSzPts val="6400"/>
              <a:buNone/>
              <a:defRPr sz="6400">
                <a:solidFill>
                  <a:srgbClr val="002A44"/>
                </a:solidFill>
              </a:defRPr>
            </a:lvl4pPr>
            <a:lvl5pPr lvl="4" rtl="0">
              <a:spcBef>
                <a:spcPts val="0"/>
              </a:spcBef>
              <a:spcAft>
                <a:spcPts val="0"/>
              </a:spcAft>
              <a:buClr>
                <a:srgbClr val="002A44"/>
              </a:buClr>
              <a:buSzPts val="6400"/>
              <a:buNone/>
              <a:defRPr sz="6400">
                <a:solidFill>
                  <a:srgbClr val="002A44"/>
                </a:solidFill>
              </a:defRPr>
            </a:lvl5pPr>
            <a:lvl6pPr lvl="5" rtl="0">
              <a:spcBef>
                <a:spcPts val="0"/>
              </a:spcBef>
              <a:spcAft>
                <a:spcPts val="0"/>
              </a:spcAft>
              <a:buClr>
                <a:srgbClr val="002A44"/>
              </a:buClr>
              <a:buSzPts val="6400"/>
              <a:buNone/>
              <a:defRPr sz="6400">
                <a:solidFill>
                  <a:srgbClr val="002A44"/>
                </a:solidFill>
              </a:defRPr>
            </a:lvl6pPr>
            <a:lvl7pPr lvl="6" rtl="0">
              <a:spcBef>
                <a:spcPts val="0"/>
              </a:spcBef>
              <a:spcAft>
                <a:spcPts val="0"/>
              </a:spcAft>
              <a:buClr>
                <a:srgbClr val="002A44"/>
              </a:buClr>
              <a:buSzPts val="6400"/>
              <a:buNone/>
              <a:defRPr sz="6400">
                <a:solidFill>
                  <a:srgbClr val="002A44"/>
                </a:solidFill>
              </a:defRPr>
            </a:lvl7pPr>
            <a:lvl8pPr lvl="7" rtl="0">
              <a:spcBef>
                <a:spcPts val="0"/>
              </a:spcBef>
              <a:spcAft>
                <a:spcPts val="0"/>
              </a:spcAft>
              <a:buClr>
                <a:srgbClr val="002A44"/>
              </a:buClr>
              <a:buSzPts val="6400"/>
              <a:buNone/>
              <a:defRPr sz="6400">
                <a:solidFill>
                  <a:srgbClr val="002A44"/>
                </a:solidFill>
              </a:defRPr>
            </a:lvl8pPr>
            <a:lvl9pPr lvl="8" rtl="0">
              <a:spcBef>
                <a:spcPts val="0"/>
              </a:spcBef>
              <a:spcAft>
                <a:spcPts val="0"/>
              </a:spcAft>
              <a:buClr>
                <a:srgbClr val="002A44"/>
              </a:buClr>
              <a:buSzPts val="6400"/>
              <a:buNone/>
              <a:defRPr sz="6400">
                <a:solidFill>
                  <a:srgbClr val="002A44"/>
                </a:solidFill>
              </a:defRPr>
            </a:lvl9pPr>
          </a:lstStyle>
          <a:p>
            <a:endParaRPr/>
          </a:p>
        </p:txBody>
      </p:sp>
      <p:sp>
        <p:nvSpPr>
          <p:cNvPr id="642" name="Google Shape;642;p50"/>
          <p:cNvSpPr txBox="1">
            <a:spLocks noGrp="1"/>
          </p:cNvSpPr>
          <p:nvPr>
            <p:ph type="subTitle" idx="1"/>
          </p:nvPr>
        </p:nvSpPr>
        <p:spPr>
          <a:xfrm>
            <a:off x="1990350" y="7099525"/>
            <a:ext cx="5160600" cy="5583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2400"/>
              <a:buFont typeface="Open Sans"/>
              <a:buNone/>
              <a:defRPr sz="2400">
                <a:solidFill>
                  <a:srgbClr val="002A44"/>
                </a:solidFill>
                <a:latin typeface="Open Sans"/>
                <a:ea typeface="Open Sans"/>
                <a:cs typeface="Open Sans"/>
                <a:sym typeface="Open Sans"/>
              </a:defRPr>
            </a:lvl1pPr>
            <a:lvl2pPr lvl="1" rtl="0">
              <a:spcBef>
                <a:spcPts val="0"/>
              </a:spcBef>
              <a:spcAft>
                <a:spcPts val="0"/>
              </a:spcAft>
              <a:buSzPts val="2400"/>
              <a:buFont typeface="Open Sans"/>
              <a:buNone/>
              <a:defRPr sz="2400">
                <a:latin typeface="Open Sans"/>
                <a:ea typeface="Open Sans"/>
                <a:cs typeface="Open Sans"/>
                <a:sym typeface="Open Sans"/>
              </a:defRPr>
            </a:lvl2pPr>
            <a:lvl3pPr lvl="2" rtl="0">
              <a:spcBef>
                <a:spcPts val="0"/>
              </a:spcBef>
              <a:spcAft>
                <a:spcPts val="0"/>
              </a:spcAft>
              <a:buSzPts val="2400"/>
              <a:buFont typeface="Open Sans"/>
              <a:buNone/>
              <a:defRPr sz="2400">
                <a:latin typeface="Open Sans"/>
                <a:ea typeface="Open Sans"/>
                <a:cs typeface="Open Sans"/>
                <a:sym typeface="Open Sans"/>
              </a:defRPr>
            </a:lvl3pPr>
            <a:lvl4pPr lvl="3" rtl="0">
              <a:spcBef>
                <a:spcPts val="0"/>
              </a:spcBef>
              <a:spcAft>
                <a:spcPts val="0"/>
              </a:spcAft>
              <a:buSzPts val="2400"/>
              <a:buFont typeface="Open Sans"/>
              <a:buNone/>
              <a:defRPr sz="2400">
                <a:latin typeface="Open Sans"/>
                <a:ea typeface="Open Sans"/>
                <a:cs typeface="Open Sans"/>
                <a:sym typeface="Open Sans"/>
              </a:defRPr>
            </a:lvl4pPr>
            <a:lvl5pPr lvl="4" rtl="0">
              <a:spcBef>
                <a:spcPts val="0"/>
              </a:spcBef>
              <a:spcAft>
                <a:spcPts val="0"/>
              </a:spcAft>
              <a:buSzPts val="2400"/>
              <a:buFont typeface="Open Sans"/>
              <a:buNone/>
              <a:defRPr sz="2400">
                <a:latin typeface="Open Sans"/>
                <a:ea typeface="Open Sans"/>
                <a:cs typeface="Open Sans"/>
                <a:sym typeface="Open Sans"/>
              </a:defRPr>
            </a:lvl5pPr>
            <a:lvl6pPr lvl="5" rtl="0">
              <a:spcBef>
                <a:spcPts val="0"/>
              </a:spcBef>
              <a:spcAft>
                <a:spcPts val="0"/>
              </a:spcAft>
              <a:buSzPts val="2400"/>
              <a:buFont typeface="Open Sans"/>
              <a:buNone/>
              <a:defRPr sz="2400">
                <a:latin typeface="Open Sans"/>
                <a:ea typeface="Open Sans"/>
                <a:cs typeface="Open Sans"/>
                <a:sym typeface="Open Sans"/>
              </a:defRPr>
            </a:lvl6pPr>
            <a:lvl7pPr lvl="6" rtl="0">
              <a:spcBef>
                <a:spcPts val="0"/>
              </a:spcBef>
              <a:spcAft>
                <a:spcPts val="0"/>
              </a:spcAft>
              <a:buSzPts val="2400"/>
              <a:buFont typeface="Open Sans"/>
              <a:buNone/>
              <a:defRPr sz="2400">
                <a:latin typeface="Open Sans"/>
                <a:ea typeface="Open Sans"/>
                <a:cs typeface="Open Sans"/>
                <a:sym typeface="Open Sans"/>
              </a:defRPr>
            </a:lvl7pPr>
            <a:lvl8pPr lvl="7" rtl="0">
              <a:spcBef>
                <a:spcPts val="0"/>
              </a:spcBef>
              <a:spcAft>
                <a:spcPts val="0"/>
              </a:spcAft>
              <a:buSzPts val="2400"/>
              <a:buFont typeface="Open Sans"/>
              <a:buNone/>
              <a:defRPr sz="2400">
                <a:latin typeface="Open Sans"/>
                <a:ea typeface="Open Sans"/>
                <a:cs typeface="Open Sans"/>
                <a:sym typeface="Open Sans"/>
              </a:defRPr>
            </a:lvl8pPr>
            <a:lvl9pPr lvl="8" rtl="0">
              <a:spcBef>
                <a:spcPts val="0"/>
              </a:spcBef>
              <a:spcAft>
                <a:spcPts val="0"/>
              </a:spcAft>
              <a:buSzPts val="2400"/>
              <a:buFont typeface="Open Sans"/>
              <a:buNone/>
              <a:defRPr sz="2400">
                <a:latin typeface="Open Sans"/>
                <a:ea typeface="Open Sans"/>
                <a:cs typeface="Open Sans"/>
                <a:sym typeface="Open Sans"/>
              </a:defRPr>
            </a:lvl9pPr>
          </a:lstStyle>
          <a:p>
            <a:endParaRPr/>
          </a:p>
        </p:txBody>
      </p:sp>
      <p:sp>
        <p:nvSpPr>
          <p:cNvPr id="643" name="Google Shape;643;p50"/>
          <p:cNvSpPr/>
          <p:nvPr/>
        </p:nvSpPr>
        <p:spPr>
          <a:xfrm>
            <a:off x="22412037" y="536597"/>
            <a:ext cx="1515111" cy="1515111"/>
          </a:xfrm>
          <a:custGeom>
            <a:avLst/>
            <a:gdLst/>
            <a:ahLst/>
            <a:cxnLst/>
            <a:rect l="l" t="t" r="r" b="b"/>
            <a:pathLst>
              <a:path w="1137044" h="1137044" extrusionOk="0">
                <a:moveTo>
                  <a:pt x="0" y="0"/>
                </a:moveTo>
                <a:lnTo>
                  <a:pt x="1137044" y="0"/>
                </a:lnTo>
                <a:lnTo>
                  <a:pt x="1137044" y="1137044"/>
                </a:lnTo>
                <a:lnTo>
                  <a:pt x="0" y="1137044"/>
                </a:lnTo>
                <a:lnTo>
                  <a:pt x="0" y="0"/>
                </a:lnTo>
                <a:close/>
              </a:path>
            </a:pathLst>
          </a:custGeom>
          <a:blipFill rotWithShape="1">
            <a:blip r:embed="rId3">
              <a:alphaModFix/>
            </a:blip>
            <a:stretch>
              <a:fillRect/>
            </a:stretch>
          </a:blipFill>
          <a:ln>
            <a:noFill/>
          </a:ln>
        </p:spPr>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Large Logo Grid">
  <p:cSld name="Large Logo Grid">
    <p:spTree>
      <p:nvGrpSpPr>
        <p:cNvPr id="1" name="Shape 644"/>
        <p:cNvGrpSpPr/>
        <p:nvPr/>
      </p:nvGrpSpPr>
      <p:grpSpPr>
        <a:xfrm>
          <a:off x="0" y="0"/>
          <a:ext cx="0" cy="0"/>
          <a:chOff x="0" y="0"/>
          <a:chExt cx="0" cy="0"/>
        </a:xfrm>
      </p:grpSpPr>
      <p:pic>
        <p:nvPicPr>
          <p:cNvPr id="645" name="Google Shape;645;p51"/>
          <p:cNvPicPr preferRelativeResize="0"/>
          <p:nvPr/>
        </p:nvPicPr>
        <p:blipFill>
          <a:blip r:embed="rId2">
            <a:alphaModFix/>
          </a:blip>
          <a:stretch>
            <a:fillRect/>
          </a:stretch>
        </p:blipFill>
        <p:spPr>
          <a:xfrm>
            <a:off x="0" y="-2678850"/>
            <a:ext cx="24377651" cy="9379682"/>
          </a:xfrm>
          <a:prstGeom prst="rect">
            <a:avLst/>
          </a:prstGeom>
          <a:noFill/>
          <a:ln>
            <a:noFill/>
          </a:ln>
        </p:spPr>
      </p:pic>
      <p:sp>
        <p:nvSpPr>
          <p:cNvPr id="646" name="Google Shape;646;p51"/>
          <p:cNvSpPr>
            <a:spLocks noGrp="1"/>
          </p:cNvSpPr>
          <p:nvPr>
            <p:ph type="pic" idx="2"/>
          </p:nvPr>
        </p:nvSpPr>
        <p:spPr>
          <a:xfrm>
            <a:off x="5887679" y="7647200"/>
            <a:ext cx="4094700" cy="1878300"/>
          </a:xfrm>
          <a:prstGeom prst="rect">
            <a:avLst/>
          </a:prstGeom>
          <a:noFill/>
          <a:ln>
            <a:noFill/>
          </a:ln>
        </p:spPr>
      </p:sp>
      <p:sp>
        <p:nvSpPr>
          <p:cNvPr id="647" name="Google Shape;647;p51"/>
          <p:cNvSpPr>
            <a:spLocks noGrp="1"/>
          </p:cNvSpPr>
          <p:nvPr>
            <p:ph type="pic" idx="3"/>
          </p:nvPr>
        </p:nvSpPr>
        <p:spPr>
          <a:xfrm>
            <a:off x="5887679" y="10317030"/>
            <a:ext cx="4094700" cy="1878300"/>
          </a:xfrm>
          <a:prstGeom prst="rect">
            <a:avLst/>
          </a:prstGeom>
          <a:noFill/>
          <a:ln>
            <a:noFill/>
          </a:ln>
        </p:spPr>
      </p:sp>
      <p:sp>
        <p:nvSpPr>
          <p:cNvPr id="648" name="Google Shape;648;p51"/>
          <p:cNvSpPr>
            <a:spLocks noGrp="1"/>
          </p:cNvSpPr>
          <p:nvPr>
            <p:ph type="pic" idx="4"/>
          </p:nvPr>
        </p:nvSpPr>
        <p:spPr>
          <a:xfrm>
            <a:off x="10207364" y="7647200"/>
            <a:ext cx="4094700" cy="1878300"/>
          </a:xfrm>
          <a:prstGeom prst="rect">
            <a:avLst/>
          </a:prstGeom>
          <a:noFill/>
          <a:ln>
            <a:noFill/>
          </a:ln>
        </p:spPr>
      </p:sp>
      <p:sp>
        <p:nvSpPr>
          <p:cNvPr id="649" name="Google Shape;649;p51"/>
          <p:cNvSpPr>
            <a:spLocks noGrp="1"/>
          </p:cNvSpPr>
          <p:nvPr>
            <p:ph type="pic" idx="5"/>
          </p:nvPr>
        </p:nvSpPr>
        <p:spPr>
          <a:xfrm>
            <a:off x="10207364" y="10317030"/>
            <a:ext cx="4094700" cy="1878300"/>
          </a:xfrm>
          <a:prstGeom prst="rect">
            <a:avLst/>
          </a:prstGeom>
          <a:noFill/>
          <a:ln>
            <a:noFill/>
          </a:ln>
        </p:spPr>
      </p:sp>
      <p:sp>
        <p:nvSpPr>
          <p:cNvPr id="650" name="Google Shape;650;p51"/>
          <p:cNvSpPr>
            <a:spLocks noGrp="1"/>
          </p:cNvSpPr>
          <p:nvPr>
            <p:ph type="pic" idx="6"/>
          </p:nvPr>
        </p:nvSpPr>
        <p:spPr>
          <a:xfrm>
            <a:off x="14527049" y="7647200"/>
            <a:ext cx="4094700" cy="1878300"/>
          </a:xfrm>
          <a:prstGeom prst="rect">
            <a:avLst/>
          </a:prstGeom>
          <a:noFill/>
          <a:ln>
            <a:noFill/>
          </a:ln>
        </p:spPr>
      </p:sp>
      <p:sp>
        <p:nvSpPr>
          <p:cNvPr id="651" name="Google Shape;651;p51"/>
          <p:cNvSpPr>
            <a:spLocks noGrp="1"/>
          </p:cNvSpPr>
          <p:nvPr>
            <p:ph type="pic" idx="7"/>
          </p:nvPr>
        </p:nvSpPr>
        <p:spPr>
          <a:xfrm>
            <a:off x="14527049" y="10317030"/>
            <a:ext cx="4094700" cy="1878300"/>
          </a:xfrm>
          <a:prstGeom prst="rect">
            <a:avLst/>
          </a:prstGeom>
          <a:noFill/>
          <a:ln>
            <a:noFill/>
          </a:ln>
        </p:spPr>
      </p:sp>
      <p:sp>
        <p:nvSpPr>
          <p:cNvPr id="652" name="Google Shape;652;p51"/>
          <p:cNvSpPr>
            <a:spLocks noGrp="1"/>
          </p:cNvSpPr>
          <p:nvPr>
            <p:ph type="pic" idx="8"/>
          </p:nvPr>
        </p:nvSpPr>
        <p:spPr>
          <a:xfrm>
            <a:off x="18846728" y="7647200"/>
            <a:ext cx="4094700" cy="1878300"/>
          </a:xfrm>
          <a:prstGeom prst="rect">
            <a:avLst/>
          </a:prstGeom>
          <a:noFill/>
          <a:ln>
            <a:noFill/>
          </a:ln>
        </p:spPr>
      </p:sp>
      <p:sp>
        <p:nvSpPr>
          <p:cNvPr id="653" name="Google Shape;653;p51"/>
          <p:cNvSpPr>
            <a:spLocks noGrp="1"/>
          </p:cNvSpPr>
          <p:nvPr>
            <p:ph type="pic" idx="9"/>
          </p:nvPr>
        </p:nvSpPr>
        <p:spPr>
          <a:xfrm>
            <a:off x="1568000" y="7647200"/>
            <a:ext cx="4094700" cy="1878300"/>
          </a:xfrm>
          <a:prstGeom prst="rect">
            <a:avLst/>
          </a:prstGeom>
          <a:noFill/>
          <a:ln>
            <a:noFill/>
          </a:ln>
        </p:spPr>
      </p:sp>
      <p:sp>
        <p:nvSpPr>
          <p:cNvPr id="654" name="Google Shape;654;p51"/>
          <p:cNvSpPr>
            <a:spLocks noGrp="1"/>
          </p:cNvSpPr>
          <p:nvPr>
            <p:ph type="pic" idx="13"/>
          </p:nvPr>
        </p:nvSpPr>
        <p:spPr>
          <a:xfrm>
            <a:off x="1568000" y="10317030"/>
            <a:ext cx="4094700" cy="1878300"/>
          </a:xfrm>
          <a:prstGeom prst="rect">
            <a:avLst/>
          </a:prstGeom>
          <a:noFill/>
          <a:ln>
            <a:noFill/>
          </a:ln>
        </p:spPr>
      </p:sp>
      <p:sp>
        <p:nvSpPr>
          <p:cNvPr id="655" name="Google Shape;655;p51"/>
          <p:cNvSpPr>
            <a:spLocks noGrp="1"/>
          </p:cNvSpPr>
          <p:nvPr>
            <p:ph type="pic" idx="14"/>
          </p:nvPr>
        </p:nvSpPr>
        <p:spPr>
          <a:xfrm>
            <a:off x="18846728" y="10317031"/>
            <a:ext cx="4094700" cy="1878300"/>
          </a:xfrm>
          <a:prstGeom prst="rect">
            <a:avLst/>
          </a:prstGeom>
          <a:noFill/>
          <a:ln>
            <a:noFill/>
          </a:ln>
        </p:spPr>
      </p:sp>
      <p:sp>
        <p:nvSpPr>
          <p:cNvPr id="656" name="Google Shape;656;p51"/>
          <p:cNvSpPr txBox="1">
            <a:spLocks noGrp="1"/>
          </p:cNvSpPr>
          <p:nvPr>
            <p:ph type="subTitle" idx="1"/>
          </p:nvPr>
        </p:nvSpPr>
        <p:spPr>
          <a:xfrm>
            <a:off x="9779875" y="1431750"/>
            <a:ext cx="12094200" cy="24381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3600"/>
              <a:buFont typeface="Montserrat"/>
              <a:buNone/>
              <a:defRPr sz="3600">
                <a:solidFill>
                  <a:srgbClr val="002A44"/>
                </a:solidFill>
                <a:latin typeface="Montserrat"/>
                <a:ea typeface="Montserrat"/>
                <a:cs typeface="Montserrat"/>
                <a:sym typeface="Montserrat"/>
              </a:defRPr>
            </a:lvl1pPr>
            <a:lvl2pPr lvl="1" rtl="0">
              <a:spcBef>
                <a:spcPts val="0"/>
              </a:spcBef>
              <a:spcAft>
                <a:spcPts val="0"/>
              </a:spcAft>
              <a:buSzPts val="3600"/>
              <a:buNone/>
              <a:defRPr sz="3600"/>
            </a:lvl2pPr>
            <a:lvl3pPr lvl="2" rtl="0">
              <a:spcBef>
                <a:spcPts val="0"/>
              </a:spcBef>
              <a:spcAft>
                <a:spcPts val="0"/>
              </a:spcAft>
              <a:buSzPts val="3600"/>
              <a:buNone/>
              <a:defRPr sz="3600"/>
            </a:lvl3pPr>
            <a:lvl4pPr lvl="3" rtl="0">
              <a:spcBef>
                <a:spcPts val="0"/>
              </a:spcBef>
              <a:spcAft>
                <a:spcPts val="0"/>
              </a:spcAft>
              <a:buSzPts val="3600"/>
              <a:buNone/>
              <a:defRPr sz="3600"/>
            </a:lvl4pPr>
            <a:lvl5pPr lvl="4" rtl="0">
              <a:spcBef>
                <a:spcPts val="0"/>
              </a:spcBef>
              <a:spcAft>
                <a:spcPts val="0"/>
              </a:spcAft>
              <a:buSzPts val="3600"/>
              <a:buNone/>
              <a:defRPr sz="3600"/>
            </a:lvl5pPr>
            <a:lvl6pPr lvl="5" rtl="0">
              <a:spcBef>
                <a:spcPts val="0"/>
              </a:spcBef>
              <a:spcAft>
                <a:spcPts val="0"/>
              </a:spcAft>
              <a:buSzPts val="3600"/>
              <a:buNone/>
              <a:defRPr sz="3600"/>
            </a:lvl6pPr>
            <a:lvl7pPr lvl="6" rtl="0">
              <a:spcBef>
                <a:spcPts val="0"/>
              </a:spcBef>
              <a:spcAft>
                <a:spcPts val="0"/>
              </a:spcAft>
              <a:buSzPts val="3600"/>
              <a:buNone/>
              <a:defRPr sz="3600"/>
            </a:lvl7pPr>
            <a:lvl8pPr lvl="7" rtl="0">
              <a:spcBef>
                <a:spcPts val="0"/>
              </a:spcBef>
              <a:spcAft>
                <a:spcPts val="0"/>
              </a:spcAft>
              <a:buSzPts val="3600"/>
              <a:buNone/>
              <a:defRPr sz="3600"/>
            </a:lvl8pPr>
            <a:lvl9pPr lvl="8" rtl="0">
              <a:spcBef>
                <a:spcPts val="0"/>
              </a:spcBef>
              <a:spcAft>
                <a:spcPts val="0"/>
              </a:spcAft>
              <a:buSzPts val="3600"/>
              <a:buNone/>
              <a:defRPr sz="3600"/>
            </a:lvl9pPr>
          </a:lstStyle>
          <a:p>
            <a:endParaRPr/>
          </a:p>
        </p:txBody>
      </p:sp>
      <p:sp>
        <p:nvSpPr>
          <p:cNvPr id="657" name="Google Shape;657;p51"/>
          <p:cNvSpPr txBox="1">
            <a:spLocks noGrp="1"/>
          </p:cNvSpPr>
          <p:nvPr>
            <p:ph type="title"/>
          </p:nvPr>
        </p:nvSpPr>
        <p:spPr>
          <a:xfrm>
            <a:off x="1568000" y="1325550"/>
            <a:ext cx="6875100" cy="26505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7200"/>
              <a:buFont typeface="Montserrat Black"/>
              <a:buNone/>
              <a:defRPr sz="7200">
                <a:solidFill>
                  <a:srgbClr val="002A44"/>
                </a:solidFill>
                <a:latin typeface="Montserrat Black"/>
                <a:ea typeface="Montserrat Black"/>
                <a:cs typeface="Montserrat Black"/>
                <a:sym typeface="Montserrat Black"/>
              </a:defRPr>
            </a:lvl1pPr>
            <a:lvl2pPr lvl="1" rtl="0">
              <a:spcBef>
                <a:spcPts val="0"/>
              </a:spcBef>
              <a:spcAft>
                <a:spcPts val="0"/>
              </a:spcAft>
              <a:buSzPts val="7200"/>
              <a:buNone/>
              <a:defRPr sz="7200"/>
            </a:lvl2pPr>
            <a:lvl3pPr lvl="2" rtl="0">
              <a:spcBef>
                <a:spcPts val="0"/>
              </a:spcBef>
              <a:spcAft>
                <a:spcPts val="0"/>
              </a:spcAft>
              <a:buSzPts val="7200"/>
              <a:buNone/>
              <a:defRPr sz="7200"/>
            </a:lvl3pPr>
            <a:lvl4pPr lvl="3" rtl="0">
              <a:spcBef>
                <a:spcPts val="0"/>
              </a:spcBef>
              <a:spcAft>
                <a:spcPts val="0"/>
              </a:spcAft>
              <a:buSzPts val="7200"/>
              <a:buNone/>
              <a:defRPr sz="7200"/>
            </a:lvl4pPr>
            <a:lvl5pPr lvl="4" rtl="0">
              <a:spcBef>
                <a:spcPts val="0"/>
              </a:spcBef>
              <a:spcAft>
                <a:spcPts val="0"/>
              </a:spcAft>
              <a:buSzPts val="7200"/>
              <a:buNone/>
              <a:defRPr sz="7200"/>
            </a:lvl5pPr>
            <a:lvl6pPr lvl="5" rtl="0">
              <a:spcBef>
                <a:spcPts val="0"/>
              </a:spcBef>
              <a:spcAft>
                <a:spcPts val="0"/>
              </a:spcAft>
              <a:buSzPts val="7200"/>
              <a:buNone/>
              <a:defRPr sz="7200"/>
            </a:lvl6pPr>
            <a:lvl7pPr lvl="6" rtl="0">
              <a:spcBef>
                <a:spcPts val="0"/>
              </a:spcBef>
              <a:spcAft>
                <a:spcPts val="0"/>
              </a:spcAft>
              <a:buSzPts val="7200"/>
              <a:buNone/>
              <a:defRPr sz="7200"/>
            </a:lvl7pPr>
            <a:lvl8pPr lvl="7" rtl="0">
              <a:spcBef>
                <a:spcPts val="0"/>
              </a:spcBef>
              <a:spcAft>
                <a:spcPts val="0"/>
              </a:spcAft>
              <a:buSzPts val="7200"/>
              <a:buNone/>
              <a:defRPr sz="7200"/>
            </a:lvl8pPr>
            <a:lvl9pPr lvl="8" rtl="0">
              <a:spcBef>
                <a:spcPts val="0"/>
              </a:spcBef>
              <a:spcAft>
                <a:spcPts val="0"/>
              </a:spcAft>
              <a:buSzPts val="7200"/>
              <a:buNone/>
              <a:defRPr sz="7200"/>
            </a:lvl9pPr>
          </a:lstStyle>
          <a:p>
            <a:endParaRPr/>
          </a:p>
        </p:txBody>
      </p:sp>
      <p:sp>
        <p:nvSpPr>
          <p:cNvPr id="658" name="Google Shape;658;p51"/>
          <p:cNvSpPr/>
          <p:nvPr/>
        </p:nvSpPr>
        <p:spPr>
          <a:xfrm>
            <a:off x="22412037" y="536597"/>
            <a:ext cx="1515111" cy="1515111"/>
          </a:xfrm>
          <a:custGeom>
            <a:avLst/>
            <a:gdLst/>
            <a:ahLst/>
            <a:cxnLst/>
            <a:rect l="l" t="t" r="r" b="b"/>
            <a:pathLst>
              <a:path w="1137044" h="1137044" extrusionOk="0">
                <a:moveTo>
                  <a:pt x="0" y="0"/>
                </a:moveTo>
                <a:lnTo>
                  <a:pt x="1137044" y="0"/>
                </a:lnTo>
                <a:lnTo>
                  <a:pt x="1137044" y="1137044"/>
                </a:lnTo>
                <a:lnTo>
                  <a:pt x="0" y="1137044"/>
                </a:lnTo>
                <a:lnTo>
                  <a:pt x="0" y="0"/>
                </a:lnTo>
                <a:close/>
              </a:path>
            </a:pathLst>
          </a:custGeom>
          <a:blipFill rotWithShape="1">
            <a:blip r:embed="rId3">
              <a:alphaModFix/>
            </a:blip>
            <a:stretch>
              <a:fillRect/>
            </a:stretch>
          </a:blipFill>
          <a:ln>
            <a:noFill/>
          </a:ln>
        </p:spPr>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Icon Stats - 6">
  <p:cSld name="Icon Stats - 6">
    <p:spTree>
      <p:nvGrpSpPr>
        <p:cNvPr id="1" name="Shape 659"/>
        <p:cNvGrpSpPr/>
        <p:nvPr/>
      </p:nvGrpSpPr>
      <p:grpSpPr>
        <a:xfrm>
          <a:off x="0" y="0"/>
          <a:ext cx="0" cy="0"/>
          <a:chOff x="0" y="0"/>
          <a:chExt cx="0" cy="0"/>
        </a:xfrm>
      </p:grpSpPr>
      <p:sp>
        <p:nvSpPr>
          <p:cNvPr id="660" name="Google Shape;660;p52"/>
          <p:cNvSpPr txBox="1">
            <a:spLocks noGrp="1"/>
          </p:cNvSpPr>
          <p:nvPr>
            <p:ph type="sldNum" idx="12"/>
          </p:nvPr>
        </p:nvSpPr>
        <p:spPr>
          <a:xfrm>
            <a:off x="22587337" y="12435245"/>
            <a:ext cx="1462800" cy="1049700"/>
          </a:xfrm>
          <a:prstGeom prst="rect">
            <a:avLst/>
          </a:prstGeom>
        </p:spPr>
        <p:txBody>
          <a:bodyPr spcFirstLastPara="1" wrap="square" lIns="91425" tIns="45700" rIns="91425" bIns="4570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ctr" rtl="0">
              <a:spcBef>
                <a:spcPts val="0"/>
              </a:spcBef>
              <a:spcAft>
                <a:spcPts val="0"/>
              </a:spcAft>
              <a:buNone/>
            </a:pPr>
            <a:fld id="{00000000-1234-1234-1234-123412341234}" type="slidenum">
              <a:rPr lang="en-US"/>
              <a:t>‹#›</a:t>
            </a:fld>
            <a:endParaRPr/>
          </a:p>
        </p:txBody>
      </p:sp>
      <p:sp>
        <p:nvSpPr>
          <p:cNvPr id="661" name="Google Shape;661;p52"/>
          <p:cNvSpPr/>
          <p:nvPr/>
        </p:nvSpPr>
        <p:spPr>
          <a:xfrm>
            <a:off x="9259525" y="5166600"/>
            <a:ext cx="1776300" cy="1776300"/>
          </a:xfrm>
          <a:prstGeom prst="ellipse">
            <a:avLst/>
          </a:prstGeom>
          <a:solidFill>
            <a:srgbClr val="C1F400"/>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662" name="Google Shape;662;p52"/>
          <p:cNvSpPr/>
          <p:nvPr/>
        </p:nvSpPr>
        <p:spPr>
          <a:xfrm>
            <a:off x="9259525" y="9000675"/>
            <a:ext cx="1776300" cy="1776300"/>
          </a:xfrm>
          <a:prstGeom prst="ellipse">
            <a:avLst/>
          </a:prstGeom>
          <a:solidFill>
            <a:srgbClr val="C1F400"/>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663" name="Google Shape;663;p52"/>
          <p:cNvSpPr/>
          <p:nvPr/>
        </p:nvSpPr>
        <p:spPr>
          <a:xfrm>
            <a:off x="16017525" y="5166600"/>
            <a:ext cx="1776300" cy="1776300"/>
          </a:xfrm>
          <a:prstGeom prst="ellipse">
            <a:avLst/>
          </a:prstGeom>
          <a:solidFill>
            <a:srgbClr val="C1F400"/>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664" name="Google Shape;664;p52"/>
          <p:cNvSpPr/>
          <p:nvPr/>
        </p:nvSpPr>
        <p:spPr>
          <a:xfrm>
            <a:off x="16017525" y="9000675"/>
            <a:ext cx="1776300" cy="1776300"/>
          </a:xfrm>
          <a:prstGeom prst="ellipse">
            <a:avLst/>
          </a:prstGeom>
          <a:solidFill>
            <a:srgbClr val="C1F400"/>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665" name="Google Shape;665;p52"/>
          <p:cNvSpPr/>
          <p:nvPr/>
        </p:nvSpPr>
        <p:spPr>
          <a:xfrm>
            <a:off x="22412037" y="536597"/>
            <a:ext cx="1515111" cy="1515111"/>
          </a:xfrm>
          <a:custGeom>
            <a:avLst/>
            <a:gdLst/>
            <a:ahLst/>
            <a:cxnLst/>
            <a:rect l="l" t="t" r="r" b="b"/>
            <a:pathLst>
              <a:path w="1137044" h="1137044" extrusionOk="0">
                <a:moveTo>
                  <a:pt x="0" y="0"/>
                </a:moveTo>
                <a:lnTo>
                  <a:pt x="1137044" y="0"/>
                </a:lnTo>
                <a:lnTo>
                  <a:pt x="1137044" y="1137044"/>
                </a:lnTo>
                <a:lnTo>
                  <a:pt x="0" y="1137044"/>
                </a:lnTo>
                <a:lnTo>
                  <a:pt x="0" y="0"/>
                </a:lnTo>
                <a:close/>
              </a:path>
            </a:pathLst>
          </a:custGeom>
          <a:blipFill rotWithShape="1">
            <a:blip r:embed="rId2">
              <a:alphaModFix/>
            </a:blip>
            <a:stretch>
              <a:fillRect/>
            </a:stretch>
          </a:blipFill>
          <a:ln>
            <a:noFill/>
          </a:ln>
        </p:spPr>
      </p:sp>
      <p:sp>
        <p:nvSpPr>
          <p:cNvPr id="666" name="Google Shape;666;p52"/>
          <p:cNvSpPr/>
          <p:nvPr/>
        </p:nvSpPr>
        <p:spPr>
          <a:xfrm>
            <a:off x="2091950" y="5166600"/>
            <a:ext cx="1776300" cy="1776300"/>
          </a:xfrm>
          <a:prstGeom prst="ellipse">
            <a:avLst/>
          </a:prstGeom>
          <a:solidFill>
            <a:srgbClr val="C1F400"/>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667" name="Google Shape;667;p52"/>
          <p:cNvSpPr/>
          <p:nvPr/>
        </p:nvSpPr>
        <p:spPr>
          <a:xfrm>
            <a:off x="2091950" y="9000675"/>
            <a:ext cx="1776300" cy="1776300"/>
          </a:xfrm>
          <a:prstGeom prst="ellipse">
            <a:avLst/>
          </a:prstGeom>
          <a:solidFill>
            <a:srgbClr val="C1F400"/>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668" name="Google Shape;668;p52"/>
          <p:cNvSpPr>
            <a:spLocks noGrp="1"/>
          </p:cNvSpPr>
          <p:nvPr>
            <p:ph type="pic" idx="2"/>
          </p:nvPr>
        </p:nvSpPr>
        <p:spPr>
          <a:xfrm>
            <a:off x="2439273" y="5513900"/>
            <a:ext cx="1082100" cy="1081800"/>
          </a:xfrm>
          <a:prstGeom prst="ellipse">
            <a:avLst/>
          </a:prstGeom>
          <a:noFill/>
          <a:ln>
            <a:noFill/>
          </a:ln>
        </p:spPr>
      </p:sp>
      <p:sp>
        <p:nvSpPr>
          <p:cNvPr id="669" name="Google Shape;669;p52"/>
          <p:cNvSpPr txBox="1">
            <a:spLocks noGrp="1"/>
          </p:cNvSpPr>
          <p:nvPr>
            <p:ph type="title"/>
          </p:nvPr>
        </p:nvSpPr>
        <p:spPr>
          <a:xfrm>
            <a:off x="1939550" y="2872500"/>
            <a:ext cx="19375800" cy="14628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7200"/>
              <a:buFont typeface="Montserrat Black"/>
              <a:buNone/>
              <a:defRPr sz="7200">
                <a:solidFill>
                  <a:srgbClr val="002A44"/>
                </a:solidFill>
                <a:latin typeface="Montserrat Black"/>
                <a:ea typeface="Montserrat Black"/>
                <a:cs typeface="Montserrat Black"/>
                <a:sym typeface="Montserrat Black"/>
              </a:defRPr>
            </a:lvl1pPr>
            <a:lvl2pPr lvl="1" rtl="0">
              <a:spcBef>
                <a:spcPts val="0"/>
              </a:spcBef>
              <a:spcAft>
                <a:spcPts val="0"/>
              </a:spcAft>
              <a:buSzPts val="7200"/>
              <a:buNone/>
              <a:defRPr sz="7200"/>
            </a:lvl2pPr>
            <a:lvl3pPr lvl="2" rtl="0">
              <a:spcBef>
                <a:spcPts val="0"/>
              </a:spcBef>
              <a:spcAft>
                <a:spcPts val="0"/>
              </a:spcAft>
              <a:buSzPts val="7200"/>
              <a:buNone/>
              <a:defRPr sz="7200"/>
            </a:lvl3pPr>
            <a:lvl4pPr lvl="3" rtl="0">
              <a:spcBef>
                <a:spcPts val="0"/>
              </a:spcBef>
              <a:spcAft>
                <a:spcPts val="0"/>
              </a:spcAft>
              <a:buSzPts val="7200"/>
              <a:buNone/>
              <a:defRPr sz="7200"/>
            </a:lvl4pPr>
            <a:lvl5pPr lvl="4" rtl="0">
              <a:spcBef>
                <a:spcPts val="0"/>
              </a:spcBef>
              <a:spcAft>
                <a:spcPts val="0"/>
              </a:spcAft>
              <a:buSzPts val="7200"/>
              <a:buNone/>
              <a:defRPr sz="7200"/>
            </a:lvl5pPr>
            <a:lvl6pPr lvl="5" rtl="0">
              <a:spcBef>
                <a:spcPts val="0"/>
              </a:spcBef>
              <a:spcAft>
                <a:spcPts val="0"/>
              </a:spcAft>
              <a:buSzPts val="7200"/>
              <a:buNone/>
              <a:defRPr sz="7200"/>
            </a:lvl6pPr>
            <a:lvl7pPr lvl="6" rtl="0">
              <a:spcBef>
                <a:spcPts val="0"/>
              </a:spcBef>
              <a:spcAft>
                <a:spcPts val="0"/>
              </a:spcAft>
              <a:buSzPts val="7200"/>
              <a:buNone/>
              <a:defRPr sz="7200"/>
            </a:lvl7pPr>
            <a:lvl8pPr lvl="7" rtl="0">
              <a:spcBef>
                <a:spcPts val="0"/>
              </a:spcBef>
              <a:spcAft>
                <a:spcPts val="0"/>
              </a:spcAft>
              <a:buSzPts val="7200"/>
              <a:buNone/>
              <a:defRPr sz="7200"/>
            </a:lvl8pPr>
            <a:lvl9pPr lvl="8" rtl="0">
              <a:spcBef>
                <a:spcPts val="0"/>
              </a:spcBef>
              <a:spcAft>
                <a:spcPts val="0"/>
              </a:spcAft>
              <a:buSzPts val="7200"/>
              <a:buNone/>
              <a:defRPr sz="7200"/>
            </a:lvl9pPr>
          </a:lstStyle>
          <a:p>
            <a:endParaRPr/>
          </a:p>
        </p:txBody>
      </p:sp>
      <p:sp>
        <p:nvSpPr>
          <p:cNvPr id="670" name="Google Shape;670;p52"/>
          <p:cNvSpPr txBox="1">
            <a:spLocks noGrp="1"/>
          </p:cNvSpPr>
          <p:nvPr>
            <p:ph type="title" idx="3"/>
          </p:nvPr>
        </p:nvSpPr>
        <p:spPr>
          <a:xfrm>
            <a:off x="4143175" y="5166600"/>
            <a:ext cx="3922500" cy="737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3600"/>
              <a:buFont typeface="Montserrat Black"/>
              <a:buNone/>
              <a:defRPr sz="3600">
                <a:solidFill>
                  <a:srgbClr val="002A44"/>
                </a:solidFill>
                <a:latin typeface="Montserrat Black"/>
                <a:ea typeface="Montserrat Black"/>
                <a:cs typeface="Montserrat Black"/>
                <a:sym typeface="Montserrat Black"/>
              </a:defRPr>
            </a:lvl1pPr>
            <a:lvl2pPr lvl="1" rtl="0">
              <a:spcBef>
                <a:spcPts val="0"/>
              </a:spcBef>
              <a:spcAft>
                <a:spcPts val="0"/>
              </a:spcAft>
              <a:buSzPts val="3600"/>
              <a:buNone/>
              <a:defRPr sz="3600"/>
            </a:lvl2pPr>
            <a:lvl3pPr lvl="2" rtl="0">
              <a:spcBef>
                <a:spcPts val="0"/>
              </a:spcBef>
              <a:spcAft>
                <a:spcPts val="0"/>
              </a:spcAft>
              <a:buSzPts val="3600"/>
              <a:buNone/>
              <a:defRPr sz="3600"/>
            </a:lvl3pPr>
            <a:lvl4pPr lvl="3" rtl="0">
              <a:spcBef>
                <a:spcPts val="0"/>
              </a:spcBef>
              <a:spcAft>
                <a:spcPts val="0"/>
              </a:spcAft>
              <a:buSzPts val="3600"/>
              <a:buNone/>
              <a:defRPr sz="3600"/>
            </a:lvl4pPr>
            <a:lvl5pPr lvl="4" rtl="0">
              <a:spcBef>
                <a:spcPts val="0"/>
              </a:spcBef>
              <a:spcAft>
                <a:spcPts val="0"/>
              </a:spcAft>
              <a:buSzPts val="3600"/>
              <a:buNone/>
              <a:defRPr sz="3600"/>
            </a:lvl5pPr>
            <a:lvl6pPr lvl="5" rtl="0">
              <a:spcBef>
                <a:spcPts val="0"/>
              </a:spcBef>
              <a:spcAft>
                <a:spcPts val="0"/>
              </a:spcAft>
              <a:buSzPts val="3600"/>
              <a:buNone/>
              <a:defRPr sz="3600"/>
            </a:lvl6pPr>
            <a:lvl7pPr lvl="6" rtl="0">
              <a:spcBef>
                <a:spcPts val="0"/>
              </a:spcBef>
              <a:spcAft>
                <a:spcPts val="0"/>
              </a:spcAft>
              <a:buSzPts val="3600"/>
              <a:buNone/>
              <a:defRPr sz="3600"/>
            </a:lvl7pPr>
            <a:lvl8pPr lvl="7" rtl="0">
              <a:spcBef>
                <a:spcPts val="0"/>
              </a:spcBef>
              <a:spcAft>
                <a:spcPts val="0"/>
              </a:spcAft>
              <a:buSzPts val="3600"/>
              <a:buNone/>
              <a:defRPr sz="3600"/>
            </a:lvl8pPr>
            <a:lvl9pPr lvl="8" rtl="0">
              <a:spcBef>
                <a:spcPts val="0"/>
              </a:spcBef>
              <a:spcAft>
                <a:spcPts val="0"/>
              </a:spcAft>
              <a:buSzPts val="3600"/>
              <a:buNone/>
              <a:defRPr sz="3600"/>
            </a:lvl9pPr>
          </a:lstStyle>
          <a:p>
            <a:endParaRPr/>
          </a:p>
        </p:txBody>
      </p:sp>
      <p:sp>
        <p:nvSpPr>
          <p:cNvPr id="671" name="Google Shape;671;p52"/>
          <p:cNvSpPr txBox="1">
            <a:spLocks noGrp="1"/>
          </p:cNvSpPr>
          <p:nvPr>
            <p:ph type="subTitle" idx="1"/>
          </p:nvPr>
        </p:nvSpPr>
        <p:spPr>
          <a:xfrm>
            <a:off x="4162050" y="7019100"/>
            <a:ext cx="3541200" cy="1643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2400"/>
              <a:buFont typeface="Open Sans"/>
              <a:buNone/>
              <a:defRPr sz="2400">
                <a:solidFill>
                  <a:srgbClr val="002A44"/>
                </a:solidFill>
                <a:latin typeface="Open Sans"/>
                <a:ea typeface="Open Sans"/>
                <a:cs typeface="Open Sans"/>
                <a:sym typeface="Open Sans"/>
              </a:defRPr>
            </a:lvl1pPr>
            <a:lvl2pPr lvl="1" rtl="0">
              <a:spcBef>
                <a:spcPts val="0"/>
              </a:spcBef>
              <a:spcAft>
                <a:spcPts val="0"/>
              </a:spcAft>
              <a:buSzPts val="2400"/>
              <a:buFont typeface="Open Sans"/>
              <a:buNone/>
              <a:defRPr sz="2400">
                <a:latin typeface="Open Sans"/>
                <a:ea typeface="Open Sans"/>
                <a:cs typeface="Open Sans"/>
                <a:sym typeface="Open Sans"/>
              </a:defRPr>
            </a:lvl2pPr>
            <a:lvl3pPr lvl="2" rtl="0">
              <a:spcBef>
                <a:spcPts val="0"/>
              </a:spcBef>
              <a:spcAft>
                <a:spcPts val="0"/>
              </a:spcAft>
              <a:buSzPts val="2400"/>
              <a:buFont typeface="Open Sans"/>
              <a:buNone/>
              <a:defRPr sz="2400">
                <a:latin typeface="Open Sans"/>
                <a:ea typeface="Open Sans"/>
                <a:cs typeface="Open Sans"/>
                <a:sym typeface="Open Sans"/>
              </a:defRPr>
            </a:lvl3pPr>
            <a:lvl4pPr lvl="3" rtl="0">
              <a:spcBef>
                <a:spcPts val="0"/>
              </a:spcBef>
              <a:spcAft>
                <a:spcPts val="0"/>
              </a:spcAft>
              <a:buSzPts val="2400"/>
              <a:buFont typeface="Open Sans"/>
              <a:buNone/>
              <a:defRPr sz="2400">
                <a:latin typeface="Open Sans"/>
                <a:ea typeface="Open Sans"/>
                <a:cs typeface="Open Sans"/>
                <a:sym typeface="Open Sans"/>
              </a:defRPr>
            </a:lvl4pPr>
            <a:lvl5pPr lvl="4" rtl="0">
              <a:spcBef>
                <a:spcPts val="0"/>
              </a:spcBef>
              <a:spcAft>
                <a:spcPts val="0"/>
              </a:spcAft>
              <a:buSzPts val="2400"/>
              <a:buFont typeface="Open Sans"/>
              <a:buNone/>
              <a:defRPr sz="2400">
                <a:latin typeface="Open Sans"/>
                <a:ea typeface="Open Sans"/>
                <a:cs typeface="Open Sans"/>
                <a:sym typeface="Open Sans"/>
              </a:defRPr>
            </a:lvl5pPr>
            <a:lvl6pPr lvl="5" rtl="0">
              <a:spcBef>
                <a:spcPts val="0"/>
              </a:spcBef>
              <a:spcAft>
                <a:spcPts val="0"/>
              </a:spcAft>
              <a:buSzPts val="2400"/>
              <a:buFont typeface="Open Sans"/>
              <a:buNone/>
              <a:defRPr sz="2400">
                <a:latin typeface="Open Sans"/>
                <a:ea typeface="Open Sans"/>
                <a:cs typeface="Open Sans"/>
                <a:sym typeface="Open Sans"/>
              </a:defRPr>
            </a:lvl6pPr>
            <a:lvl7pPr lvl="6" rtl="0">
              <a:spcBef>
                <a:spcPts val="0"/>
              </a:spcBef>
              <a:spcAft>
                <a:spcPts val="0"/>
              </a:spcAft>
              <a:buSzPts val="2400"/>
              <a:buFont typeface="Open Sans"/>
              <a:buNone/>
              <a:defRPr sz="2400">
                <a:latin typeface="Open Sans"/>
                <a:ea typeface="Open Sans"/>
                <a:cs typeface="Open Sans"/>
                <a:sym typeface="Open Sans"/>
              </a:defRPr>
            </a:lvl7pPr>
            <a:lvl8pPr lvl="7" rtl="0">
              <a:spcBef>
                <a:spcPts val="0"/>
              </a:spcBef>
              <a:spcAft>
                <a:spcPts val="0"/>
              </a:spcAft>
              <a:buSzPts val="2400"/>
              <a:buFont typeface="Open Sans"/>
              <a:buNone/>
              <a:defRPr sz="2400">
                <a:latin typeface="Open Sans"/>
                <a:ea typeface="Open Sans"/>
                <a:cs typeface="Open Sans"/>
                <a:sym typeface="Open Sans"/>
              </a:defRPr>
            </a:lvl8pPr>
            <a:lvl9pPr lvl="8" rtl="0">
              <a:spcBef>
                <a:spcPts val="0"/>
              </a:spcBef>
              <a:spcAft>
                <a:spcPts val="0"/>
              </a:spcAft>
              <a:buSzPts val="2400"/>
              <a:buFont typeface="Open Sans"/>
              <a:buNone/>
              <a:defRPr sz="2400">
                <a:latin typeface="Open Sans"/>
                <a:ea typeface="Open Sans"/>
                <a:cs typeface="Open Sans"/>
                <a:sym typeface="Open Sans"/>
              </a:defRPr>
            </a:lvl9pPr>
          </a:lstStyle>
          <a:p>
            <a:endParaRPr/>
          </a:p>
        </p:txBody>
      </p:sp>
      <p:sp>
        <p:nvSpPr>
          <p:cNvPr id="672" name="Google Shape;672;p52"/>
          <p:cNvSpPr txBox="1">
            <a:spLocks noGrp="1"/>
          </p:cNvSpPr>
          <p:nvPr>
            <p:ph type="title" idx="4"/>
          </p:nvPr>
        </p:nvSpPr>
        <p:spPr>
          <a:xfrm>
            <a:off x="4143175" y="8939350"/>
            <a:ext cx="3922500" cy="737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3600"/>
              <a:buFont typeface="Montserrat Black"/>
              <a:buNone/>
              <a:defRPr sz="3600">
                <a:solidFill>
                  <a:srgbClr val="002A44"/>
                </a:solidFill>
                <a:latin typeface="Montserrat Black"/>
                <a:ea typeface="Montserrat Black"/>
                <a:cs typeface="Montserrat Black"/>
                <a:sym typeface="Montserrat Black"/>
              </a:defRPr>
            </a:lvl1pPr>
            <a:lvl2pPr lvl="1" rtl="0">
              <a:spcBef>
                <a:spcPts val="0"/>
              </a:spcBef>
              <a:spcAft>
                <a:spcPts val="0"/>
              </a:spcAft>
              <a:buSzPts val="3600"/>
              <a:buNone/>
              <a:defRPr sz="3600"/>
            </a:lvl2pPr>
            <a:lvl3pPr lvl="2" rtl="0">
              <a:spcBef>
                <a:spcPts val="0"/>
              </a:spcBef>
              <a:spcAft>
                <a:spcPts val="0"/>
              </a:spcAft>
              <a:buSzPts val="3600"/>
              <a:buNone/>
              <a:defRPr sz="3600"/>
            </a:lvl3pPr>
            <a:lvl4pPr lvl="3" rtl="0">
              <a:spcBef>
                <a:spcPts val="0"/>
              </a:spcBef>
              <a:spcAft>
                <a:spcPts val="0"/>
              </a:spcAft>
              <a:buSzPts val="3600"/>
              <a:buNone/>
              <a:defRPr sz="3600"/>
            </a:lvl4pPr>
            <a:lvl5pPr lvl="4" rtl="0">
              <a:spcBef>
                <a:spcPts val="0"/>
              </a:spcBef>
              <a:spcAft>
                <a:spcPts val="0"/>
              </a:spcAft>
              <a:buSzPts val="3600"/>
              <a:buNone/>
              <a:defRPr sz="3600"/>
            </a:lvl5pPr>
            <a:lvl6pPr lvl="5" rtl="0">
              <a:spcBef>
                <a:spcPts val="0"/>
              </a:spcBef>
              <a:spcAft>
                <a:spcPts val="0"/>
              </a:spcAft>
              <a:buSzPts val="3600"/>
              <a:buNone/>
              <a:defRPr sz="3600"/>
            </a:lvl6pPr>
            <a:lvl7pPr lvl="6" rtl="0">
              <a:spcBef>
                <a:spcPts val="0"/>
              </a:spcBef>
              <a:spcAft>
                <a:spcPts val="0"/>
              </a:spcAft>
              <a:buSzPts val="3600"/>
              <a:buNone/>
              <a:defRPr sz="3600"/>
            </a:lvl7pPr>
            <a:lvl8pPr lvl="7" rtl="0">
              <a:spcBef>
                <a:spcPts val="0"/>
              </a:spcBef>
              <a:spcAft>
                <a:spcPts val="0"/>
              </a:spcAft>
              <a:buSzPts val="3600"/>
              <a:buNone/>
              <a:defRPr sz="3600"/>
            </a:lvl8pPr>
            <a:lvl9pPr lvl="8" rtl="0">
              <a:spcBef>
                <a:spcPts val="0"/>
              </a:spcBef>
              <a:spcAft>
                <a:spcPts val="0"/>
              </a:spcAft>
              <a:buSzPts val="3600"/>
              <a:buNone/>
              <a:defRPr sz="3600"/>
            </a:lvl9pPr>
          </a:lstStyle>
          <a:p>
            <a:endParaRPr/>
          </a:p>
        </p:txBody>
      </p:sp>
      <p:sp>
        <p:nvSpPr>
          <p:cNvPr id="673" name="Google Shape;673;p52"/>
          <p:cNvSpPr txBox="1">
            <a:spLocks noGrp="1"/>
          </p:cNvSpPr>
          <p:nvPr>
            <p:ph type="subTitle" idx="5"/>
          </p:nvPr>
        </p:nvSpPr>
        <p:spPr>
          <a:xfrm>
            <a:off x="4162050" y="10791850"/>
            <a:ext cx="3541200" cy="1643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2400"/>
              <a:buFont typeface="Open Sans"/>
              <a:buNone/>
              <a:defRPr sz="2400">
                <a:solidFill>
                  <a:srgbClr val="002A44"/>
                </a:solidFill>
                <a:latin typeface="Open Sans"/>
                <a:ea typeface="Open Sans"/>
                <a:cs typeface="Open Sans"/>
                <a:sym typeface="Open Sans"/>
              </a:defRPr>
            </a:lvl1pPr>
            <a:lvl2pPr lvl="1" rtl="0">
              <a:spcBef>
                <a:spcPts val="0"/>
              </a:spcBef>
              <a:spcAft>
                <a:spcPts val="0"/>
              </a:spcAft>
              <a:buSzPts val="2400"/>
              <a:buFont typeface="Open Sans"/>
              <a:buNone/>
              <a:defRPr sz="2400">
                <a:latin typeface="Open Sans"/>
                <a:ea typeface="Open Sans"/>
                <a:cs typeface="Open Sans"/>
                <a:sym typeface="Open Sans"/>
              </a:defRPr>
            </a:lvl2pPr>
            <a:lvl3pPr lvl="2" rtl="0">
              <a:spcBef>
                <a:spcPts val="0"/>
              </a:spcBef>
              <a:spcAft>
                <a:spcPts val="0"/>
              </a:spcAft>
              <a:buSzPts val="2400"/>
              <a:buFont typeface="Open Sans"/>
              <a:buNone/>
              <a:defRPr sz="2400">
                <a:latin typeface="Open Sans"/>
                <a:ea typeface="Open Sans"/>
                <a:cs typeface="Open Sans"/>
                <a:sym typeface="Open Sans"/>
              </a:defRPr>
            </a:lvl3pPr>
            <a:lvl4pPr lvl="3" rtl="0">
              <a:spcBef>
                <a:spcPts val="0"/>
              </a:spcBef>
              <a:spcAft>
                <a:spcPts val="0"/>
              </a:spcAft>
              <a:buSzPts val="2400"/>
              <a:buFont typeface="Open Sans"/>
              <a:buNone/>
              <a:defRPr sz="2400">
                <a:latin typeface="Open Sans"/>
                <a:ea typeface="Open Sans"/>
                <a:cs typeface="Open Sans"/>
                <a:sym typeface="Open Sans"/>
              </a:defRPr>
            </a:lvl4pPr>
            <a:lvl5pPr lvl="4" rtl="0">
              <a:spcBef>
                <a:spcPts val="0"/>
              </a:spcBef>
              <a:spcAft>
                <a:spcPts val="0"/>
              </a:spcAft>
              <a:buSzPts val="2400"/>
              <a:buFont typeface="Open Sans"/>
              <a:buNone/>
              <a:defRPr sz="2400">
                <a:latin typeface="Open Sans"/>
                <a:ea typeface="Open Sans"/>
                <a:cs typeface="Open Sans"/>
                <a:sym typeface="Open Sans"/>
              </a:defRPr>
            </a:lvl5pPr>
            <a:lvl6pPr lvl="5" rtl="0">
              <a:spcBef>
                <a:spcPts val="0"/>
              </a:spcBef>
              <a:spcAft>
                <a:spcPts val="0"/>
              </a:spcAft>
              <a:buSzPts val="2400"/>
              <a:buFont typeface="Open Sans"/>
              <a:buNone/>
              <a:defRPr sz="2400">
                <a:latin typeface="Open Sans"/>
                <a:ea typeface="Open Sans"/>
                <a:cs typeface="Open Sans"/>
                <a:sym typeface="Open Sans"/>
              </a:defRPr>
            </a:lvl6pPr>
            <a:lvl7pPr lvl="6" rtl="0">
              <a:spcBef>
                <a:spcPts val="0"/>
              </a:spcBef>
              <a:spcAft>
                <a:spcPts val="0"/>
              </a:spcAft>
              <a:buSzPts val="2400"/>
              <a:buFont typeface="Open Sans"/>
              <a:buNone/>
              <a:defRPr sz="2400">
                <a:latin typeface="Open Sans"/>
                <a:ea typeface="Open Sans"/>
                <a:cs typeface="Open Sans"/>
                <a:sym typeface="Open Sans"/>
              </a:defRPr>
            </a:lvl7pPr>
            <a:lvl8pPr lvl="7" rtl="0">
              <a:spcBef>
                <a:spcPts val="0"/>
              </a:spcBef>
              <a:spcAft>
                <a:spcPts val="0"/>
              </a:spcAft>
              <a:buSzPts val="2400"/>
              <a:buFont typeface="Open Sans"/>
              <a:buNone/>
              <a:defRPr sz="2400">
                <a:latin typeface="Open Sans"/>
                <a:ea typeface="Open Sans"/>
                <a:cs typeface="Open Sans"/>
                <a:sym typeface="Open Sans"/>
              </a:defRPr>
            </a:lvl8pPr>
            <a:lvl9pPr lvl="8" rtl="0">
              <a:spcBef>
                <a:spcPts val="0"/>
              </a:spcBef>
              <a:spcAft>
                <a:spcPts val="0"/>
              </a:spcAft>
              <a:buSzPts val="2400"/>
              <a:buFont typeface="Open Sans"/>
              <a:buNone/>
              <a:defRPr sz="2400">
                <a:latin typeface="Open Sans"/>
                <a:ea typeface="Open Sans"/>
                <a:cs typeface="Open Sans"/>
                <a:sym typeface="Open Sans"/>
              </a:defRPr>
            </a:lvl9pPr>
          </a:lstStyle>
          <a:p>
            <a:endParaRPr/>
          </a:p>
        </p:txBody>
      </p:sp>
      <p:sp>
        <p:nvSpPr>
          <p:cNvPr id="674" name="Google Shape;674;p52"/>
          <p:cNvSpPr txBox="1">
            <a:spLocks noGrp="1"/>
          </p:cNvSpPr>
          <p:nvPr>
            <p:ph type="title" idx="6"/>
          </p:nvPr>
        </p:nvSpPr>
        <p:spPr>
          <a:xfrm>
            <a:off x="11342738" y="5166600"/>
            <a:ext cx="3922500" cy="737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3600"/>
              <a:buFont typeface="Montserrat Black"/>
              <a:buNone/>
              <a:defRPr sz="3600">
                <a:solidFill>
                  <a:srgbClr val="002A44"/>
                </a:solidFill>
                <a:latin typeface="Montserrat Black"/>
                <a:ea typeface="Montserrat Black"/>
                <a:cs typeface="Montserrat Black"/>
                <a:sym typeface="Montserrat Black"/>
              </a:defRPr>
            </a:lvl1pPr>
            <a:lvl2pPr lvl="1" rtl="0">
              <a:spcBef>
                <a:spcPts val="0"/>
              </a:spcBef>
              <a:spcAft>
                <a:spcPts val="0"/>
              </a:spcAft>
              <a:buSzPts val="3600"/>
              <a:buNone/>
              <a:defRPr sz="3600"/>
            </a:lvl2pPr>
            <a:lvl3pPr lvl="2" rtl="0">
              <a:spcBef>
                <a:spcPts val="0"/>
              </a:spcBef>
              <a:spcAft>
                <a:spcPts val="0"/>
              </a:spcAft>
              <a:buSzPts val="3600"/>
              <a:buNone/>
              <a:defRPr sz="3600"/>
            </a:lvl3pPr>
            <a:lvl4pPr lvl="3" rtl="0">
              <a:spcBef>
                <a:spcPts val="0"/>
              </a:spcBef>
              <a:spcAft>
                <a:spcPts val="0"/>
              </a:spcAft>
              <a:buSzPts val="3600"/>
              <a:buNone/>
              <a:defRPr sz="3600"/>
            </a:lvl4pPr>
            <a:lvl5pPr lvl="4" rtl="0">
              <a:spcBef>
                <a:spcPts val="0"/>
              </a:spcBef>
              <a:spcAft>
                <a:spcPts val="0"/>
              </a:spcAft>
              <a:buSzPts val="3600"/>
              <a:buNone/>
              <a:defRPr sz="3600"/>
            </a:lvl5pPr>
            <a:lvl6pPr lvl="5" rtl="0">
              <a:spcBef>
                <a:spcPts val="0"/>
              </a:spcBef>
              <a:spcAft>
                <a:spcPts val="0"/>
              </a:spcAft>
              <a:buSzPts val="3600"/>
              <a:buNone/>
              <a:defRPr sz="3600"/>
            </a:lvl6pPr>
            <a:lvl7pPr lvl="6" rtl="0">
              <a:spcBef>
                <a:spcPts val="0"/>
              </a:spcBef>
              <a:spcAft>
                <a:spcPts val="0"/>
              </a:spcAft>
              <a:buSzPts val="3600"/>
              <a:buNone/>
              <a:defRPr sz="3600"/>
            </a:lvl7pPr>
            <a:lvl8pPr lvl="7" rtl="0">
              <a:spcBef>
                <a:spcPts val="0"/>
              </a:spcBef>
              <a:spcAft>
                <a:spcPts val="0"/>
              </a:spcAft>
              <a:buSzPts val="3600"/>
              <a:buNone/>
              <a:defRPr sz="3600"/>
            </a:lvl8pPr>
            <a:lvl9pPr lvl="8" rtl="0">
              <a:spcBef>
                <a:spcPts val="0"/>
              </a:spcBef>
              <a:spcAft>
                <a:spcPts val="0"/>
              </a:spcAft>
              <a:buSzPts val="3600"/>
              <a:buNone/>
              <a:defRPr sz="3600"/>
            </a:lvl9pPr>
          </a:lstStyle>
          <a:p>
            <a:endParaRPr/>
          </a:p>
        </p:txBody>
      </p:sp>
      <p:sp>
        <p:nvSpPr>
          <p:cNvPr id="675" name="Google Shape;675;p52"/>
          <p:cNvSpPr txBox="1">
            <a:spLocks noGrp="1"/>
          </p:cNvSpPr>
          <p:nvPr>
            <p:ph type="subTitle" idx="7"/>
          </p:nvPr>
        </p:nvSpPr>
        <p:spPr>
          <a:xfrm>
            <a:off x="11361613" y="7019100"/>
            <a:ext cx="3541200" cy="1643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2400"/>
              <a:buFont typeface="Open Sans"/>
              <a:buNone/>
              <a:defRPr sz="2400">
                <a:solidFill>
                  <a:srgbClr val="002A44"/>
                </a:solidFill>
                <a:latin typeface="Open Sans"/>
                <a:ea typeface="Open Sans"/>
                <a:cs typeface="Open Sans"/>
                <a:sym typeface="Open Sans"/>
              </a:defRPr>
            </a:lvl1pPr>
            <a:lvl2pPr lvl="1" rtl="0">
              <a:spcBef>
                <a:spcPts val="0"/>
              </a:spcBef>
              <a:spcAft>
                <a:spcPts val="0"/>
              </a:spcAft>
              <a:buSzPts val="2400"/>
              <a:buFont typeface="Open Sans"/>
              <a:buNone/>
              <a:defRPr sz="2400">
                <a:latin typeface="Open Sans"/>
                <a:ea typeface="Open Sans"/>
                <a:cs typeface="Open Sans"/>
                <a:sym typeface="Open Sans"/>
              </a:defRPr>
            </a:lvl2pPr>
            <a:lvl3pPr lvl="2" rtl="0">
              <a:spcBef>
                <a:spcPts val="0"/>
              </a:spcBef>
              <a:spcAft>
                <a:spcPts val="0"/>
              </a:spcAft>
              <a:buSzPts val="2400"/>
              <a:buFont typeface="Open Sans"/>
              <a:buNone/>
              <a:defRPr sz="2400">
                <a:latin typeface="Open Sans"/>
                <a:ea typeface="Open Sans"/>
                <a:cs typeface="Open Sans"/>
                <a:sym typeface="Open Sans"/>
              </a:defRPr>
            </a:lvl3pPr>
            <a:lvl4pPr lvl="3" rtl="0">
              <a:spcBef>
                <a:spcPts val="0"/>
              </a:spcBef>
              <a:spcAft>
                <a:spcPts val="0"/>
              </a:spcAft>
              <a:buSzPts val="2400"/>
              <a:buFont typeface="Open Sans"/>
              <a:buNone/>
              <a:defRPr sz="2400">
                <a:latin typeface="Open Sans"/>
                <a:ea typeface="Open Sans"/>
                <a:cs typeface="Open Sans"/>
                <a:sym typeface="Open Sans"/>
              </a:defRPr>
            </a:lvl4pPr>
            <a:lvl5pPr lvl="4" rtl="0">
              <a:spcBef>
                <a:spcPts val="0"/>
              </a:spcBef>
              <a:spcAft>
                <a:spcPts val="0"/>
              </a:spcAft>
              <a:buSzPts val="2400"/>
              <a:buFont typeface="Open Sans"/>
              <a:buNone/>
              <a:defRPr sz="2400">
                <a:latin typeface="Open Sans"/>
                <a:ea typeface="Open Sans"/>
                <a:cs typeface="Open Sans"/>
                <a:sym typeface="Open Sans"/>
              </a:defRPr>
            </a:lvl5pPr>
            <a:lvl6pPr lvl="5" rtl="0">
              <a:spcBef>
                <a:spcPts val="0"/>
              </a:spcBef>
              <a:spcAft>
                <a:spcPts val="0"/>
              </a:spcAft>
              <a:buSzPts val="2400"/>
              <a:buFont typeface="Open Sans"/>
              <a:buNone/>
              <a:defRPr sz="2400">
                <a:latin typeface="Open Sans"/>
                <a:ea typeface="Open Sans"/>
                <a:cs typeface="Open Sans"/>
                <a:sym typeface="Open Sans"/>
              </a:defRPr>
            </a:lvl6pPr>
            <a:lvl7pPr lvl="6" rtl="0">
              <a:spcBef>
                <a:spcPts val="0"/>
              </a:spcBef>
              <a:spcAft>
                <a:spcPts val="0"/>
              </a:spcAft>
              <a:buSzPts val="2400"/>
              <a:buFont typeface="Open Sans"/>
              <a:buNone/>
              <a:defRPr sz="2400">
                <a:latin typeface="Open Sans"/>
                <a:ea typeface="Open Sans"/>
                <a:cs typeface="Open Sans"/>
                <a:sym typeface="Open Sans"/>
              </a:defRPr>
            </a:lvl7pPr>
            <a:lvl8pPr lvl="7" rtl="0">
              <a:spcBef>
                <a:spcPts val="0"/>
              </a:spcBef>
              <a:spcAft>
                <a:spcPts val="0"/>
              </a:spcAft>
              <a:buSzPts val="2400"/>
              <a:buFont typeface="Open Sans"/>
              <a:buNone/>
              <a:defRPr sz="2400">
                <a:latin typeface="Open Sans"/>
                <a:ea typeface="Open Sans"/>
                <a:cs typeface="Open Sans"/>
                <a:sym typeface="Open Sans"/>
              </a:defRPr>
            </a:lvl8pPr>
            <a:lvl9pPr lvl="8" rtl="0">
              <a:spcBef>
                <a:spcPts val="0"/>
              </a:spcBef>
              <a:spcAft>
                <a:spcPts val="0"/>
              </a:spcAft>
              <a:buSzPts val="2400"/>
              <a:buFont typeface="Open Sans"/>
              <a:buNone/>
              <a:defRPr sz="2400">
                <a:latin typeface="Open Sans"/>
                <a:ea typeface="Open Sans"/>
                <a:cs typeface="Open Sans"/>
                <a:sym typeface="Open Sans"/>
              </a:defRPr>
            </a:lvl9pPr>
          </a:lstStyle>
          <a:p>
            <a:endParaRPr/>
          </a:p>
        </p:txBody>
      </p:sp>
      <p:sp>
        <p:nvSpPr>
          <p:cNvPr id="676" name="Google Shape;676;p52"/>
          <p:cNvSpPr txBox="1">
            <a:spLocks noGrp="1"/>
          </p:cNvSpPr>
          <p:nvPr>
            <p:ph type="title" idx="8"/>
          </p:nvPr>
        </p:nvSpPr>
        <p:spPr>
          <a:xfrm>
            <a:off x="11342738" y="8939350"/>
            <a:ext cx="3922500" cy="737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3600"/>
              <a:buFont typeface="Montserrat Black"/>
              <a:buNone/>
              <a:defRPr sz="3600">
                <a:solidFill>
                  <a:srgbClr val="002A44"/>
                </a:solidFill>
                <a:latin typeface="Montserrat Black"/>
                <a:ea typeface="Montserrat Black"/>
                <a:cs typeface="Montserrat Black"/>
                <a:sym typeface="Montserrat Black"/>
              </a:defRPr>
            </a:lvl1pPr>
            <a:lvl2pPr lvl="1" rtl="0">
              <a:spcBef>
                <a:spcPts val="0"/>
              </a:spcBef>
              <a:spcAft>
                <a:spcPts val="0"/>
              </a:spcAft>
              <a:buSzPts val="3600"/>
              <a:buNone/>
              <a:defRPr sz="3600"/>
            </a:lvl2pPr>
            <a:lvl3pPr lvl="2" rtl="0">
              <a:spcBef>
                <a:spcPts val="0"/>
              </a:spcBef>
              <a:spcAft>
                <a:spcPts val="0"/>
              </a:spcAft>
              <a:buSzPts val="3600"/>
              <a:buNone/>
              <a:defRPr sz="3600"/>
            </a:lvl3pPr>
            <a:lvl4pPr lvl="3" rtl="0">
              <a:spcBef>
                <a:spcPts val="0"/>
              </a:spcBef>
              <a:spcAft>
                <a:spcPts val="0"/>
              </a:spcAft>
              <a:buSzPts val="3600"/>
              <a:buNone/>
              <a:defRPr sz="3600"/>
            </a:lvl4pPr>
            <a:lvl5pPr lvl="4" rtl="0">
              <a:spcBef>
                <a:spcPts val="0"/>
              </a:spcBef>
              <a:spcAft>
                <a:spcPts val="0"/>
              </a:spcAft>
              <a:buSzPts val="3600"/>
              <a:buNone/>
              <a:defRPr sz="3600"/>
            </a:lvl5pPr>
            <a:lvl6pPr lvl="5" rtl="0">
              <a:spcBef>
                <a:spcPts val="0"/>
              </a:spcBef>
              <a:spcAft>
                <a:spcPts val="0"/>
              </a:spcAft>
              <a:buSzPts val="3600"/>
              <a:buNone/>
              <a:defRPr sz="3600"/>
            </a:lvl6pPr>
            <a:lvl7pPr lvl="6" rtl="0">
              <a:spcBef>
                <a:spcPts val="0"/>
              </a:spcBef>
              <a:spcAft>
                <a:spcPts val="0"/>
              </a:spcAft>
              <a:buSzPts val="3600"/>
              <a:buNone/>
              <a:defRPr sz="3600"/>
            </a:lvl7pPr>
            <a:lvl8pPr lvl="7" rtl="0">
              <a:spcBef>
                <a:spcPts val="0"/>
              </a:spcBef>
              <a:spcAft>
                <a:spcPts val="0"/>
              </a:spcAft>
              <a:buSzPts val="3600"/>
              <a:buNone/>
              <a:defRPr sz="3600"/>
            </a:lvl8pPr>
            <a:lvl9pPr lvl="8" rtl="0">
              <a:spcBef>
                <a:spcPts val="0"/>
              </a:spcBef>
              <a:spcAft>
                <a:spcPts val="0"/>
              </a:spcAft>
              <a:buSzPts val="3600"/>
              <a:buNone/>
              <a:defRPr sz="3600"/>
            </a:lvl9pPr>
          </a:lstStyle>
          <a:p>
            <a:endParaRPr/>
          </a:p>
        </p:txBody>
      </p:sp>
      <p:sp>
        <p:nvSpPr>
          <p:cNvPr id="677" name="Google Shape;677;p52"/>
          <p:cNvSpPr txBox="1">
            <a:spLocks noGrp="1"/>
          </p:cNvSpPr>
          <p:nvPr>
            <p:ph type="subTitle" idx="9"/>
          </p:nvPr>
        </p:nvSpPr>
        <p:spPr>
          <a:xfrm>
            <a:off x="11361613" y="10791850"/>
            <a:ext cx="3541200" cy="1643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2400"/>
              <a:buFont typeface="Open Sans"/>
              <a:buNone/>
              <a:defRPr sz="2400">
                <a:solidFill>
                  <a:srgbClr val="002A44"/>
                </a:solidFill>
                <a:latin typeface="Open Sans"/>
                <a:ea typeface="Open Sans"/>
                <a:cs typeface="Open Sans"/>
                <a:sym typeface="Open Sans"/>
              </a:defRPr>
            </a:lvl1pPr>
            <a:lvl2pPr lvl="1" rtl="0">
              <a:spcBef>
                <a:spcPts val="0"/>
              </a:spcBef>
              <a:spcAft>
                <a:spcPts val="0"/>
              </a:spcAft>
              <a:buSzPts val="2400"/>
              <a:buFont typeface="Open Sans"/>
              <a:buNone/>
              <a:defRPr sz="2400">
                <a:latin typeface="Open Sans"/>
                <a:ea typeface="Open Sans"/>
                <a:cs typeface="Open Sans"/>
                <a:sym typeface="Open Sans"/>
              </a:defRPr>
            </a:lvl2pPr>
            <a:lvl3pPr lvl="2" rtl="0">
              <a:spcBef>
                <a:spcPts val="0"/>
              </a:spcBef>
              <a:spcAft>
                <a:spcPts val="0"/>
              </a:spcAft>
              <a:buSzPts val="2400"/>
              <a:buFont typeface="Open Sans"/>
              <a:buNone/>
              <a:defRPr sz="2400">
                <a:latin typeface="Open Sans"/>
                <a:ea typeface="Open Sans"/>
                <a:cs typeface="Open Sans"/>
                <a:sym typeface="Open Sans"/>
              </a:defRPr>
            </a:lvl3pPr>
            <a:lvl4pPr lvl="3" rtl="0">
              <a:spcBef>
                <a:spcPts val="0"/>
              </a:spcBef>
              <a:spcAft>
                <a:spcPts val="0"/>
              </a:spcAft>
              <a:buSzPts val="2400"/>
              <a:buFont typeface="Open Sans"/>
              <a:buNone/>
              <a:defRPr sz="2400">
                <a:latin typeface="Open Sans"/>
                <a:ea typeface="Open Sans"/>
                <a:cs typeface="Open Sans"/>
                <a:sym typeface="Open Sans"/>
              </a:defRPr>
            </a:lvl4pPr>
            <a:lvl5pPr lvl="4" rtl="0">
              <a:spcBef>
                <a:spcPts val="0"/>
              </a:spcBef>
              <a:spcAft>
                <a:spcPts val="0"/>
              </a:spcAft>
              <a:buSzPts val="2400"/>
              <a:buFont typeface="Open Sans"/>
              <a:buNone/>
              <a:defRPr sz="2400">
                <a:latin typeface="Open Sans"/>
                <a:ea typeface="Open Sans"/>
                <a:cs typeface="Open Sans"/>
                <a:sym typeface="Open Sans"/>
              </a:defRPr>
            </a:lvl5pPr>
            <a:lvl6pPr lvl="5" rtl="0">
              <a:spcBef>
                <a:spcPts val="0"/>
              </a:spcBef>
              <a:spcAft>
                <a:spcPts val="0"/>
              </a:spcAft>
              <a:buSzPts val="2400"/>
              <a:buFont typeface="Open Sans"/>
              <a:buNone/>
              <a:defRPr sz="2400">
                <a:latin typeface="Open Sans"/>
                <a:ea typeface="Open Sans"/>
                <a:cs typeface="Open Sans"/>
                <a:sym typeface="Open Sans"/>
              </a:defRPr>
            </a:lvl6pPr>
            <a:lvl7pPr lvl="6" rtl="0">
              <a:spcBef>
                <a:spcPts val="0"/>
              </a:spcBef>
              <a:spcAft>
                <a:spcPts val="0"/>
              </a:spcAft>
              <a:buSzPts val="2400"/>
              <a:buFont typeface="Open Sans"/>
              <a:buNone/>
              <a:defRPr sz="2400">
                <a:latin typeface="Open Sans"/>
                <a:ea typeface="Open Sans"/>
                <a:cs typeface="Open Sans"/>
                <a:sym typeface="Open Sans"/>
              </a:defRPr>
            </a:lvl7pPr>
            <a:lvl8pPr lvl="7" rtl="0">
              <a:spcBef>
                <a:spcPts val="0"/>
              </a:spcBef>
              <a:spcAft>
                <a:spcPts val="0"/>
              </a:spcAft>
              <a:buSzPts val="2400"/>
              <a:buFont typeface="Open Sans"/>
              <a:buNone/>
              <a:defRPr sz="2400">
                <a:latin typeface="Open Sans"/>
                <a:ea typeface="Open Sans"/>
                <a:cs typeface="Open Sans"/>
                <a:sym typeface="Open Sans"/>
              </a:defRPr>
            </a:lvl8pPr>
            <a:lvl9pPr lvl="8" rtl="0">
              <a:spcBef>
                <a:spcPts val="0"/>
              </a:spcBef>
              <a:spcAft>
                <a:spcPts val="0"/>
              </a:spcAft>
              <a:buSzPts val="2400"/>
              <a:buFont typeface="Open Sans"/>
              <a:buNone/>
              <a:defRPr sz="2400">
                <a:latin typeface="Open Sans"/>
                <a:ea typeface="Open Sans"/>
                <a:cs typeface="Open Sans"/>
                <a:sym typeface="Open Sans"/>
              </a:defRPr>
            </a:lvl9pPr>
          </a:lstStyle>
          <a:p>
            <a:endParaRPr/>
          </a:p>
        </p:txBody>
      </p:sp>
      <p:sp>
        <p:nvSpPr>
          <p:cNvPr id="678" name="Google Shape;678;p52"/>
          <p:cNvSpPr txBox="1">
            <a:spLocks noGrp="1"/>
          </p:cNvSpPr>
          <p:nvPr>
            <p:ph type="title" idx="13"/>
          </p:nvPr>
        </p:nvSpPr>
        <p:spPr>
          <a:xfrm>
            <a:off x="18076913" y="5166600"/>
            <a:ext cx="3922500" cy="737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3600"/>
              <a:buFont typeface="Montserrat Black"/>
              <a:buNone/>
              <a:defRPr sz="3600">
                <a:solidFill>
                  <a:srgbClr val="002A44"/>
                </a:solidFill>
                <a:latin typeface="Montserrat Black"/>
                <a:ea typeface="Montserrat Black"/>
                <a:cs typeface="Montserrat Black"/>
                <a:sym typeface="Montserrat Black"/>
              </a:defRPr>
            </a:lvl1pPr>
            <a:lvl2pPr lvl="1" rtl="0">
              <a:spcBef>
                <a:spcPts val="0"/>
              </a:spcBef>
              <a:spcAft>
                <a:spcPts val="0"/>
              </a:spcAft>
              <a:buSzPts val="3600"/>
              <a:buNone/>
              <a:defRPr sz="3600"/>
            </a:lvl2pPr>
            <a:lvl3pPr lvl="2" rtl="0">
              <a:spcBef>
                <a:spcPts val="0"/>
              </a:spcBef>
              <a:spcAft>
                <a:spcPts val="0"/>
              </a:spcAft>
              <a:buSzPts val="3600"/>
              <a:buNone/>
              <a:defRPr sz="3600"/>
            </a:lvl3pPr>
            <a:lvl4pPr lvl="3" rtl="0">
              <a:spcBef>
                <a:spcPts val="0"/>
              </a:spcBef>
              <a:spcAft>
                <a:spcPts val="0"/>
              </a:spcAft>
              <a:buSzPts val="3600"/>
              <a:buNone/>
              <a:defRPr sz="3600"/>
            </a:lvl4pPr>
            <a:lvl5pPr lvl="4" rtl="0">
              <a:spcBef>
                <a:spcPts val="0"/>
              </a:spcBef>
              <a:spcAft>
                <a:spcPts val="0"/>
              </a:spcAft>
              <a:buSzPts val="3600"/>
              <a:buNone/>
              <a:defRPr sz="3600"/>
            </a:lvl5pPr>
            <a:lvl6pPr lvl="5" rtl="0">
              <a:spcBef>
                <a:spcPts val="0"/>
              </a:spcBef>
              <a:spcAft>
                <a:spcPts val="0"/>
              </a:spcAft>
              <a:buSzPts val="3600"/>
              <a:buNone/>
              <a:defRPr sz="3600"/>
            </a:lvl6pPr>
            <a:lvl7pPr lvl="6" rtl="0">
              <a:spcBef>
                <a:spcPts val="0"/>
              </a:spcBef>
              <a:spcAft>
                <a:spcPts val="0"/>
              </a:spcAft>
              <a:buSzPts val="3600"/>
              <a:buNone/>
              <a:defRPr sz="3600"/>
            </a:lvl7pPr>
            <a:lvl8pPr lvl="7" rtl="0">
              <a:spcBef>
                <a:spcPts val="0"/>
              </a:spcBef>
              <a:spcAft>
                <a:spcPts val="0"/>
              </a:spcAft>
              <a:buSzPts val="3600"/>
              <a:buNone/>
              <a:defRPr sz="3600"/>
            </a:lvl8pPr>
            <a:lvl9pPr lvl="8" rtl="0">
              <a:spcBef>
                <a:spcPts val="0"/>
              </a:spcBef>
              <a:spcAft>
                <a:spcPts val="0"/>
              </a:spcAft>
              <a:buSzPts val="3600"/>
              <a:buNone/>
              <a:defRPr sz="3600"/>
            </a:lvl9pPr>
          </a:lstStyle>
          <a:p>
            <a:endParaRPr/>
          </a:p>
        </p:txBody>
      </p:sp>
      <p:sp>
        <p:nvSpPr>
          <p:cNvPr id="679" name="Google Shape;679;p52"/>
          <p:cNvSpPr txBox="1">
            <a:spLocks noGrp="1"/>
          </p:cNvSpPr>
          <p:nvPr>
            <p:ph type="subTitle" idx="14"/>
          </p:nvPr>
        </p:nvSpPr>
        <p:spPr>
          <a:xfrm>
            <a:off x="18095788" y="7019100"/>
            <a:ext cx="3541200" cy="1643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2400"/>
              <a:buFont typeface="Open Sans"/>
              <a:buNone/>
              <a:defRPr sz="2400">
                <a:solidFill>
                  <a:srgbClr val="002A44"/>
                </a:solidFill>
                <a:latin typeface="Open Sans"/>
                <a:ea typeface="Open Sans"/>
                <a:cs typeface="Open Sans"/>
                <a:sym typeface="Open Sans"/>
              </a:defRPr>
            </a:lvl1pPr>
            <a:lvl2pPr lvl="1" rtl="0">
              <a:spcBef>
                <a:spcPts val="0"/>
              </a:spcBef>
              <a:spcAft>
                <a:spcPts val="0"/>
              </a:spcAft>
              <a:buSzPts val="2400"/>
              <a:buFont typeface="Open Sans"/>
              <a:buNone/>
              <a:defRPr sz="2400">
                <a:latin typeface="Open Sans"/>
                <a:ea typeface="Open Sans"/>
                <a:cs typeface="Open Sans"/>
                <a:sym typeface="Open Sans"/>
              </a:defRPr>
            </a:lvl2pPr>
            <a:lvl3pPr lvl="2" rtl="0">
              <a:spcBef>
                <a:spcPts val="0"/>
              </a:spcBef>
              <a:spcAft>
                <a:spcPts val="0"/>
              </a:spcAft>
              <a:buSzPts val="2400"/>
              <a:buFont typeface="Open Sans"/>
              <a:buNone/>
              <a:defRPr sz="2400">
                <a:latin typeface="Open Sans"/>
                <a:ea typeface="Open Sans"/>
                <a:cs typeface="Open Sans"/>
                <a:sym typeface="Open Sans"/>
              </a:defRPr>
            </a:lvl3pPr>
            <a:lvl4pPr lvl="3" rtl="0">
              <a:spcBef>
                <a:spcPts val="0"/>
              </a:spcBef>
              <a:spcAft>
                <a:spcPts val="0"/>
              </a:spcAft>
              <a:buSzPts val="2400"/>
              <a:buFont typeface="Open Sans"/>
              <a:buNone/>
              <a:defRPr sz="2400">
                <a:latin typeface="Open Sans"/>
                <a:ea typeface="Open Sans"/>
                <a:cs typeface="Open Sans"/>
                <a:sym typeface="Open Sans"/>
              </a:defRPr>
            </a:lvl4pPr>
            <a:lvl5pPr lvl="4" rtl="0">
              <a:spcBef>
                <a:spcPts val="0"/>
              </a:spcBef>
              <a:spcAft>
                <a:spcPts val="0"/>
              </a:spcAft>
              <a:buSzPts val="2400"/>
              <a:buFont typeface="Open Sans"/>
              <a:buNone/>
              <a:defRPr sz="2400">
                <a:latin typeface="Open Sans"/>
                <a:ea typeface="Open Sans"/>
                <a:cs typeface="Open Sans"/>
                <a:sym typeface="Open Sans"/>
              </a:defRPr>
            </a:lvl5pPr>
            <a:lvl6pPr lvl="5" rtl="0">
              <a:spcBef>
                <a:spcPts val="0"/>
              </a:spcBef>
              <a:spcAft>
                <a:spcPts val="0"/>
              </a:spcAft>
              <a:buSzPts val="2400"/>
              <a:buFont typeface="Open Sans"/>
              <a:buNone/>
              <a:defRPr sz="2400">
                <a:latin typeface="Open Sans"/>
                <a:ea typeface="Open Sans"/>
                <a:cs typeface="Open Sans"/>
                <a:sym typeface="Open Sans"/>
              </a:defRPr>
            </a:lvl6pPr>
            <a:lvl7pPr lvl="6" rtl="0">
              <a:spcBef>
                <a:spcPts val="0"/>
              </a:spcBef>
              <a:spcAft>
                <a:spcPts val="0"/>
              </a:spcAft>
              <a:buSzPts val="2400"/>
              <a:buFont typeface="Open Sans"/>
              <a:buNone/>
              <a:defRPr sz="2400">
                <a:latin typeface="Open Sans"/>
                <a:ea typeface="Open Sans"/>
                <a:cs typeface="Open Sans"/>
                <a:sym typeface="Open Sans"/>
              </a:defRPr>
            </a:lvl7pPr>
            <a:lvl8pPr lvl="7" rtl="0">
              <a:spcBef>
                <a:spcPts val="0"/>
              </a:spcBef>
              <a:spcAft>
                <a:spcPts val="0"/>
              </a:spcAft>
              <a:buSzPts val="2400"/>
              <a:buFont typeface="Open Sans"/>
              <a:buNone/>
              <a:defRPr sz="2400">
                <a:latin typeface="Open Sans"/>
                <a:ea typeface="Open Sans"/>
                <a:cs typeface="Open Sans"/>
                <a:sym typeface="Open Sans"/>
              </a:defRPr>
            </a:lvl8pPr>
            <a:lvl9pPr lvl="8" rtl="0">
              <a:spcBef>
                <a:spcPts val="0"/>
              </a:spcBef>
              <a:spcAft>
                <a:spcPts val="0"/>
              </a:spcAft>
              <a:buSzPts val="2400"/>
              <a:buFont typeface="Open Sans"/>
              <a:buNone/>
              <a:defRPr sz="2400">
                <a:latin typeface="Open Sans"/>
                <a:ea typeface="Open Sans"/>
                <a:cs typeface="Open Sans"/>
                <a:sym typeface="Open Sans"/>
              </a:defRPr>
            </a:lvl9pPr>
          </a:lstStyle>
          <a:p>
            <a:endParaRPr/>
          </a:p>
        </p:txBody>
      </p:sp>
      <p:sp>
        <p:nvSpPr>
          <p:cNvPr id="680" name="Google Shape;680;p52"/>
          <p:cNvSpPr txBox="1">
            <a:spLocks noGrp="1"/>
          </p:cNvSpPr>
          <p:nvPr>
            <p:ph type="title" idx="15"/>
          </p:nvPr>
        </p:nvSpPr>
        <p:spPr>
          <a:xfrm>
            <a:off x="18076913" y="8939350"/>
            <a:ext cx="3922500" cy="737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3600"/>
              <a:buFont typeface="Montserrat Black"/>
              <a:buNone/>
              <a:defRPr sz="3600">
                <a:solidFill>
                  <a:srgbClr val="002A44"/>
                </a:solidFill>
                <a:latin typeface="Montserrat Black"/>
                <a:ea typeface="Montserrat Black"/>
                <a:cs typeface="Montserrat Black"/>
                <a:sym typeface="Montserrat Black"/>
              </a:defRPr>
            </a:lvl1pPr>
            <a:lvl2pPr lvl="1" rtl="0">
              <a:spcBef>
                <a:spcPts val="0"/>
              </a:spcBef>
              <a:spcAft>
                <a:spcPts val="0"/>
              </a:spcAft>
              <a:buSzPts val="3600"/>
              <a:buNone/>
              <a:defRPr sz="3600"/>
            </a:lvl2pPr>
            <a:lvl3pPr lvl="2" rtl="0">
              <a:spcBef>
                <a:spcPts val="0"/>
              </a:spcBef>
              <a:spcAft>
                <a:spcPts val="0"/>
              </a:spcAft>
              <a:buSzPts val="3600"/>
              <a:buNone/>
              <a:defRPr sz="3600"/>
            </a:lvl3pPr>
            <a:lvl4pPr lvl="3" rtl="0">
              <a:spcBef>
                <a:spcPts val="0"/>
              </a:spcBef>
              <a:spcAft>
                <a:spcPts val="0"/>
              </a:spcAft>
              <a:buSzPts val="3600"/>
              <a:buNone/>
              <a:defRPr sz="3600"/>
            </a:lvl4pPr>
            <a:lvl5pPr lvl="4" rtl="0">
              <a:spcBef>
                <a:spcPts val="0"/>
              </a:spcBef>
              <a:spcAft>
                <a:spcPts val="0"/>
              </a:spcAft>
              <a:buSzPts val="3600"/>
              <a:buNone/>
              <a:defRPr sz="3600"/>
            </a:lvl5pPr>
            <a:lvl6pPr lvl="5" rtl="0">
              <a:spcBef>
                <a:spcPts val="0"/>
              </a:spcBef>
              <a:spcAft>
                <a:spcPts val="0"/>
              </a:spcAft>
              <a:buSzPts val="3600"/>
              <a:buNone/>
              <a:defRPr sz="3600"/>
            </a:lvl6pPr>
            <a:lvl7pPr lvl="6" rtl="0">
              <a:spcBef>
                <a:spcPts val="0"/>
              </a:spcBef>
              <a:spcAft>
                <a:spcPts val="0"/>
              </a:spcAft>
              <a:buSzPts val="3600"/>
              <a:buNone/>
              <a:defRPr sz="3600"/>
            </a:lvl7pPr>
            <a:lvl8pPr lvl="7" rtl="0">
              <a:spcBef>
                <a:spcPts val="0"/>
              </a:spcBef>
              <a:spcAft>
                <a:spcPts val="0"/>
              </a:spcAft>
              <a:buSzPts val="3600"/>
              <a:buNone/>
              <a:defRPr sz="3600"/>
            </a:lvl8pPr>
            <a:lvl9pPr lvl="8" rtl="0">
              <a:spcBef>
                <a:spcPts val="0"/>
              </a:spcBef>
              <a:spcAft>
                <a:spcPts val="0"/>
              </a:spcAft>
              <a:buSzPts val="3600"/>
              <a:buNone/>
              <a:defRPr sz="3600"/>
            </a:lvl9pPr>
          </a:lstStyle>
          <a:p>
            <a:endParaRPr/>
          </a:p>
        </p:txBody>
      </p:sp>
      <p:sp>
        <p:nvSpPr>
          <p:cNvPr id="681" name="Google Shape;681;p52"/>
          <p:cNvSpPr txBox="1">
            <a:spLocks noGrp="1"/>
          </p:cNvSpPr>
          <p:nvPr>
            <p:ph type="subTitle" idx="16"/>
          </p:nvPr>
        </p:nvSpPr>
        <p:spPr>
          <a:xfrm>
            <a:off x="18095788" y="10791850"/>
            <a:ext cx="3541200" cy="1643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2400"/>
              <a:buFont typeface="Open Sans"/>
              <a:buNone/>
              <a:defRPr sz="2400">
                <a:solidFill>
                  <a:srgbClr val="002A44"/>
                </a:solidFill>
                <a:latin typeface="Open Sans"/>
                <a:ea typeface="Open Sans"/>
                <a:cs typeface="Open Sans"/>
                <a:sym typeface="Open Sans"/>
              </a:defRPr>
            </a:lvl1pPr>
            <a:lvl2pPr lvl="1" rtl="0">
              <a:spcBef>
                <a:spcPts val="0"/>
              </a:spcBef>
              <a:spcAft>
                <a:spcPts val="0"/>
              </a:spcAft>
              <a:buSzPts val="2400"/>
              <a:buFont typeface="Open Sans"/>
              <a:buNone/>
              <a:defRPr sz="2400">
                <a:latin typeface="Open Sans"/>
                <a:ea typeface="Open Sans"/>
                <a:cs typeface="Open Sans"/>
                <a:sym typeface="Open Sans"/>
              </a:defRPr>
            </a:lvl2pPr>
            <a:lvl3pPr lvl="2" rtl="0">
              <a:spcBef>
                <a:spcPts val="0"/>
              </a:spcBef>
              <a:spcAft>
                <a:spcPts val="0"/>
              </a:spcAft>
              <a:buSzPts val="2400"/>
              <a:buFont typeface="Open Sans"/>
              <a:buNone/>
              <a:defRPr sz="2400">
                <a:latin typeface="Open Sans"/>
                <a:ea typeface="Open Sans"/>
                <a:cs typeface="Open Sans"/>
                <a:sym typeface="Open Sans"/>
              </a:defRPr>
            </a:lvl3pPr>
            <a:lvl4pPr lvl="3" rtl="0">
              <a:spcBef>
                <a:spcPts val="0"/>
              </a:spcBef>
              <a:spcAft>
                <a:spcPts val="0"/>
              </a:spcAft>
              <a:buSzPts val="2400"/>
              <a:buFont typeface="Open Sans"/>
              <a:buNone/>
              <a:defRPr sz="2400">
                <a:latin typeface="Open Sans"/>
                <a:ea typeface="Open Sans"/>
                <a:cs typeface="Open Sans"/>
                <a:sym typeface="Open Sans"/>
              </a:defRPr>
            </a:lvl4pPr>
            <a:lvl5pPr lvl="4" rtl="0">
              <a:spcBef>
                <a:spcPts val="0"/>
              </a:spcBef>
              <a:spcAft>
                <a:spcPts val="0"/>
              </a:spcAft>
              <a:buSzPts val="2400"/>
              <a:buFont typeface="Open Sans"/>
              <a:buNone/>
              <a:defRPr sz="2400">
                <a:latin typeface="Open Sans"/>
                <a:ea typeface="Open Sans"/>
                <a:cs typeface="Open Sans"/>
                <a:sym typeface="Open Sans"/>
              </a:defRPr>
            </a:lvl5pPr>
            <a:lvl6pPr lvl="5" rtl="0">
              <a:spcBef>
                <a:spcPts val="0"/>
              </a:spcBef>
              <a:spcAft>
                <a:spcPts val="0"/>
              </a:spcAft>
              <a:buSzPts val="2400"/>
              <a:buFont typeface="Open Sans"/>
              <a:buNone/>
              <a:defRPr sz="2400">
                <a:latin typeface="Open Sans"/>
                <a:ea typeface="Open Sans"/>
                <a:cs typeface="Open Sans"/>
                <a:sym typeface="Open Sans"/>
              </a:defRPr>
            </a:lvl6pPr>
            <a:lvl7pPr lvl="6" rtl="0">
              <a:spcBef>
                <a:spcPts val="0"/>
              </a:spcBef>
              <a:spcAft>
                <a:spcPts val="0"/>
              </a:spcAft>
              <a:buSzPts val="2400"/>
              <a:buFont typeface="Open Sans"/>
              <a:buNone/>
              <a:defRPr sz="2400">
                <a:latin typeface="Open Sans"/>
                <a:ea typeface="Open Sans"/>
                <a:cs typeface="Open Sans"/>
                <a:sym typeface="Open Sans"/>
              </a:defRPr>
            </a:lvl7pPr>
            <a:lvl8pPr lvl="7" rtl="0">
              <a:spcBef>
                <a:spcPts val="0"/>
              </a:spcBef>
              <a:spcAft>
                <a:spcPts val="0"/>
              </a:spcAft>
              <a:buSzPts val="2400"/>
              <a:buFont typeface="Open Sans"/>
              <a:buNone/>
              <a:defRPr sz="2400">
                <a:latin typeface="Open Sans"/>
                <a:ea typeface="Open Sans"/>
                <a:cs typeface="Open Sans"/>
                <a:sym typeface="Open Sans"/>
              </a:defRPr>
            </a:lvl8pPr>
            <a:lvl9pPr lvl="8" rtl="0">
              <a:spcBef>
                <a:spcPts val="0"/>
              </a:spcBef>
              <a:spcAft>
                <a:spcPts val="0"/>
              </a:spcAft>
              <a:buSzPts val="2400"/>
              <a:buFont typeface="Open Sans"/>
              <a:buNone/>
              <a:defRPr sz="2400">
                <a:latin typeface="Open Sans"/>
                <a:ea typeface="Open Sans"/>
                <a:cs typeface="Open Sans"/>
                <a:sym typeface="Open Sans"/>
              </a:defRPr>
            </a:lvl9pPr>
          </a:lstStyle>
          <a:p>
            <a:endParaRPr/>
          </a:p>
        </p:txBody>
      </p:sp>
      <p:sp>
        <p:nvSpPr>
          <p:cNvPr id="682" name="Google Shape;682;p52"/>
          <p:cNvSpPr>
            <a:spLocks noGrp="1"/>
          </p:cNvSpPr>
          <p:nvPr>
            <p:ph type="pic" idx="17"/>
          </p:nvPr>
        </p:nvSpPr>
        <p:spPr>
          <a:xfrm>
            <a:off x="2439273" y="9347925"/>
            <a:ext cx="1082100" cy="1081800"/>
          </a:xfrm>
          <a:prstGeom prst="ellipse">
            <a:avLst/>
          </a:prstGeom>
          <a:noFill/>
          <a:ln>
            <a:noFill/>
          </a:ln>
        </p:spPr>
      </p:sp>
      <p:sp>
        <p:nvSpPr>
          <p:cNvPr id="683" name="Google Shape;683;p52"/>
          <p:cNvSpPr>
            <a:spLocks noGrp="1"/>
          </p:cNvSpPr>
          <p:nvPr>
            <p:ph type="pic" idx="18"/>
          </p:nvPr>
        </p:nvSpPr>
        <p:spPr>
          <a:xfrm>
            <a:off x="9606623" y="5513900"/>
            <a:ext cx="1082100" cy="1081800"/>
          </a:xfrm>
          <a:prstGeom prst="ellipse">
            <a:avLst/>
          </a:prstGeom>
          <a:noFill/>
          <a:ln>
            <a:noFill/>
          </a:ln>
        </p:spPr>
      </p:sp>
      <p:sp>
        <p:nvSpPr>
          <p:cNvPr id="684" name="Google Shape;684;p52"/>
          <p:cNvSpPr>
            <a:spLocks noGrp="1"/>
          </p:cNvSpPr>
          <p:nvPr>
            <p:ph type="pic" idx="19"/>
          </p:nvPr>
        </p:nvSpPr>
        <p:spPr>
          <a:xfrm>
            <a:off x="9606623" y="9347925"/>
            <a:ext cx="1082100" cy="1081800"/>
          </a:xfrm>
          <a:prstGeom prst="ellipse">
            <a:avLst/>
          </a:prstGeom>
          <a:noFill/>
          <a:ln>
            <a:noFill/>
          </a:ln>
        </p:spPr>
      </p:sp>
      <p:sp>
        <p:nvSpPr>
          <p:cNvPr id="685" name="Google Shape;685;p52"/>
          <p:cNvSpPr>
            <a:spLocks noGrp="1"/>
          </p:cNvSpPr>
          <p:nvPr>
            <p:ph type="pic" idx="20"/>
          </p:nvPr>
        </p:nvSpPr>
        <p:spPr>
          <a:xfrm>
            <a:off x="16350898" y="5513900"/>
            <a:ext cx="1082100" cy="1081800"/>
          </a:xfrm>
          <a:prstGeom prst="ellipse">
            <a:avLst/>
          </a:prstGeom>
          <a:noFill/>
          <a:ln>
            <a:noFill/>
          </a:ln>
        </p:spPr>
      </p:sp>
      <p:sp>
        <p:nvSpPr>
          <p:cNvPr id="686" name="Google Shape;686;p52"/>
          <p:cNvSpPr>
            <a:spLocks noGrp="1"/>
          </p:cNvSpPr>
          <p:nvPr>
            <p:ph type="pic" idx="21"/>
          </p:nvPr>
        </p:nvSpPr>
        <p:spPr>
          <a:xfrm>
            <a:off x="16350898" y="9347925"/>
            <a:ext cx="1082100" cy="1081800"/>
          </a:xfrm>
          <a:prstGeom prst="ellipse">
            <a:avLst/>
          </a:prstGeom>
          <a:noFill/>
          <a:ln>
            <a:noFill/>
          </a:ln>
        </p:spPr>
      </p:sp>
      <p:pic>
        <p:nvPicPr>
          <p:cNvPr id="687" name="Google Shape;687;p52"/>
          <p:cNvPicPr preferRelativeResize="0"/>
          <p:nvPr/>
        </p:nvPicPr>
        <p:blipFill rotWithShape="1">
          <a:blip r:embed="rId3">
            <a:alphaModFix/>
          </a:blip>
          <a:srcRect t="83846"/>
          <a:stretch/>
        </p:blipFill>
        <p:spPr>
          <a:xfrm>
            <a:off x="-2992950" y="-451525"/>
            <a:ext cx="24377651" cy="1515099"/>
          </a:xfrm>
          <a:prstGeom prst="rect">
            <a:avLst/>
          </a:prstGeom>
          <a:noFill/>
          <a:ln>
            <a:noFill/>
          </a:ln>
        </p:spPr>
      </p:pic>
      <p:pic>
        <p:nvPicPr>
          <p:cNvPr id="688" name="Google Shape;688;p52"/>
          <p:cNvPicPr preferRelativeResize="0"/>
          <p:nvPr/>
        </p:nvPicPr>
        <p:blipFill rotWithShape="1">
          <a:blip r:embed="rId3">
            <a:alphaModFix/>
          </a:blip>
          <a:srcRect b="93557"/>
          <a:stretch/>
        </p:blipFill>
        <p:spPr>
          <a:xfrm>
            <a:off x="0" y="13111675"/>
            <a:ext cx="24377651" cy="604325"/>
          </a:xfrm>
          <a:prstGeom prst="rect">
            <a:avLst/>
          </a:prstGeom>
          <a:noFill/>
          <a:ln>
            <a:noFill/>
          </a:ln>
        </p:spPr>
      </p:pic>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Numerical Stats - 6">
  <p:cSld name="Numerical Stats - 6">
    <p:bg>
      <p:bgPr>
        <a:solidFill>
          <a:srgbClr val="002A44"/>
        </a:solidFill>
        <a:effectLst/>
      </p:bgPr>
    </p:bg>
    <p:spTree>
      <p:nvGrpSpPr>
        <p:cNvPr id="1" name="Shape 689"/>
        <p:cNvGrpSpPr/>
        <p:nvPr/>
      </p:nvGrpSpPr>
      <p:grpSpPr>
        <a:xfrm>
          <a:off x="0" y="0"/>
          <a:ext cx="0" cy="0"/>
          <a:chOff x="0" y="0"/>
          <a:chExt cx="0" cy="0"/>
        </a:xfrm>
      </p:grpSpPr>
      <p:sp>
        <p:nvSpPr>
          <p:cNvPr id="690" name="Google Shape;690;p53"/>
          <p:cNvSpPr/>
          <p:nvPr/>
        </p:nvSpPr>
        <p:spPr>
          <a:xfrm>
            <a:off x="22412037" y="536597"/>
            <a:ext cx="1515111" cy="1515111"/>
          </a:xfrm>
          <a:custGeom>
            <a:avLst/>
            <a:gdLst/>
            <a:ahLst/>
            <a:cxnLst/>
            <a:rect l="l" t="t" r="r" b="b"/>
            <a:pathLst>
              <a:path w="1137044" h="1137044" extrusionOk="0">
                <a:moveTo>
                  <a:pt x="0" y="0"/>
                </a:moveTo>
                <a:lnTo>
                  <a:pt x="1137044" y="0"/>
                </a:lnTo>
                <a:lnTo>
                  <a:pt x="1137044" y="1137044"/>
                </a:lnTo>
                <a:lnTo>
                  <a:pt x="0" y="1137044"/>
                </a:lnTo>
                <a:lnTo>
                  <a:pt x="0" y="0"/>
                </a:lnTo>
                <a:close/>
              </a:path>
            </a:pathLst>
          </a:custGeom>
          <a:blipFill rotWithShape="1">
            <a:blip r:embed="rId2">
              <a:alphaModFix/>
            </a:blip>
            <a:stretch>
              <a:fillRect/>
            </a:stretch>
          </a:blipFill>
          <a:ln>
            <a:noFill/>
          </a:ln>
        </p:spPr>
      </p:sp>
      <p:sp>
        <p:nvSpPr>
          <p:cNvPr id="691" name="Google Shape;691;p53"/>
          <p:cNvSpPr txBox="1">
            <a:spLocks noGrp="1"/>
          </p:cNvSpPr>
          <p:nvPr>
            <p:ph type="title"/>
          </p:nvPr>
        </p:nvSpPr>
        <p:spPr>
          <a:xfrm>
            <a:off x="1939550" y="2872500"/>
            <a:ext cx="19375800" cy="14628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7200"/>
              <a:buFont typeface="Montserrat Black"/>
              <a:buNone/>
              <a:defRPr sz="7200">
                <a:solidFill>
                  <a:schemeClr val="lt1"/>
                </a:solidFill>
                <a:latin typeface="Montserrat Black"/>
                <a:ea typeface="Montserrat Black"/>
                <a:cs typeface="Montserrat Black"/>
                <a:sym typeface="Montserrat Black"/>
              </a:defRPr>
            </a:lvl1pPr>
            <a:lvl2pPr lvl="1" rtl="0">
              <a:spcBef>
                <a:spcPts val="0"/>
              </a:spcBef>
              <a:spcAft>
                <a:spcPts val="0"/>
              </a:spcAft>
              <a:buSzPts val="7200"/>
              <a:buNone/>
              <a:defRPr sz="7200"/>
            </a:lvl2pPr>
            <a:lvl3pPr lvl="2" rtl="0">
              <a:spcBef>
                <a:spcPts val="0"/>
              </a:spcBef>
              <a:spcAft>
                <a:spcPts val="0"/>
              </a:spcAft>
              <a:buSzPts val="7200"/>
              <a:buNone/>
              <a:defRPr sz="7200"/>
            </a:lvl3pPr>
            <a:lvl4pPr lvl="3" rtl="0">
              <a:spcBef>
                <a:spcPts val="0"/>
              </a:spcBef>
              <a:spcAft>
                <a:spcPts val="0"/>
              </a:spcAft>
              <a:buSzPts val="7200"/>
              <a:buNone/>
              <a:defRPr sz="7200"/>
            </a:lvl4pPr>
            <a:lvl5pPr lvl="4" rtl="0">
              <a:spcBef>
                <a:spcPts val="0"/>
              </a:spcBef>
              <a:spcAft>
                <a:spcPts val="0"/>
              </a:spcAft>
              <a:buSzPts val="7200"/>
              <a:buNone/>
              <a:defRPr sz="7200"/>
            </a:lvl5pPr>
            <a:lvl6pPr lvl="5" rtl="0">
              <a:spcBef>
                <a:spcPts val="0"/>
              </a:spcBef>
              <a:spcAft>
                <a:spcPts val="0"/>
              </a:spcAft>
              <a:buSzPts val="7200"/>
              <a:buNone/>
              <a:defRPr sz="7200"/>
            </a:lvl6pPr>
            <a:lvl7pPr lvl="6" rtl="0">
              <a:spcBef>
                <a:spcPts val="0"/>
              </a:spcBef>
              <a:spcAft>
                <a:spcPts val="0"/>
              </a:spcAft>
              <a:buSzPts val="7200"/>
              <a:buNone/>
              <a:defRPr sz="7200"/>
            </a:lvl7pPr>
            <a:lvl8pPr lvl="7" rtl="0">
              <a:spcBef>
                <a:spcPts val="0"/>
              </a:spcBef>
              <a:spcAft>
                <a:spcPts val="0"/>
              </a:spcAft>
              <a:buSzPts val="7200"/>
              <a:buNone/>
              <a:defRPr sz="7200"/>
            </a:lvl8pPr>
            <a:lvl9pPr lvl="8" rtl="0">
              <a:spcBef>
                <a:spcPts val="0"/>
              </a:spcBef>
              <a:spcAft>
                <a:spcPts val="0"/>
              </a:spcAft>
              <a:buSzPts val="7200"/>
              <a:buNone/>
              <a:defRPr sz="7200"/>
            </a:lvl9pPr>
          </a:lstStyle>
          <a:p>
            <a:endParaRPr/>
          </a:p>
        </p:txBody>
      </p:sp>
      <p:sp>
        <p:nvSpPr>
          <p:cNvPr id="692" name="Google Shape;692;p53"/>
          <p:cNvSpPr txBox="1">
            <a:spLocks noGrp="1"/>
          </p:cNvSpPr>
          <p:nvPr>
            <p:ph type="title" idx="2"/>
          </p:nvPr>
        </p:nvSpPr>
        <p:spPr>
          <a:xfrm>
            <a:off x="2028450" y="4720350"/>
            <a:ext cx="6106800" cy="14628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10800"/>
              <a:buFont typeface="Montserrat Black"/>
              <a:buNone/>
              <a:defRPr sz="10800">
                <a:solidFill>
                  <a:srgbClr val="C1F400"/>
                </a:solidFill>
                <a:latin typeface="Montserrat Black"/>
                <a:ea typeface="Montserrat Black"/>
                <a:cs typeface="Montserrat Black"/>
                <a:sym typeface="Montserrat Black"/>
              </a:defRPr>
            </a:lvl1pPr>
            <a:lvl2pPr lvl="1" rtl="0">
              <a:spcBef>
                <a:spcPts val="0"/>
              </a:spcBef>
              <a:spcAft>
                <a:spcPts val="0"/>
              </a:spcAft>
              <a:buClr>
                <a:srgbClr val="C1F400"/>
              </a:buClr>
              <a:buSzPts val="10800"/>
              <a:buNone/>
              <a:defRPr sz="10800">
                <a:solidFill>
                  <a:srgbClr val="C1F400"/>
                </a:solidFill>
              </a:defRPr>
            </a:lvl2pPr>
            <a:lvl3pPr lvl="2" rtl="0">
              <a:spcBef>
                <a:spcPts val="0"/>
              </a:spcBef>
              <a:spcAft>
                <a:spcPts val="0"/>
              </a:spcAft>
              <a:buClr>
                <a:srgbClr val="C1F400"/>
              </a:buClr>
              <a:buSzPts val="10800"/>
              <a:buNone/>
              <a:defRPr sz="10800">
                <a:solidFill>
                  <a:srgbClr val="C1F400"/>
                </a:solidFill>
              </a:defRPr>
            </a:lvl3pPr>
            <a:lvl4pPr lvl="3" rtl="0">
              <a:spcBef>
                <a:spcPts val="0"/>
              </a:spcBef>
              <a:spcAft>
                <a:spcPts val="0"/>
              </a:spcAft>
              <a:buClr>
                <a:srgbClr val="C1F400"/>
              </a:buClr>
              <a:buSzPts val="10800"/>
              <a:buNone/>
              <a:defRPr sz="10800">
                <a:solidFill>
                  <a:srgbClr val="C1F400"/>
                </a:solidFill>
              </a:defRPr>
            </a:lvl4pPr>
            <a:lvl5pPr lvl="4" rtl="0">
              <a:spcBef>
                <a:spcPts val="0"/>
              </a:spcBef>
              <a:spcAft>
                <a:spcPts val="0"/>
              </a:spcAft>
              <a:buClr>
                <a:srgbClr val="C1F400"/>
              </a:buClr>
              <a:buSzPts val="10800"/>
              <a:buNone/>
              <a:defRPr sz="10800">
                <a:solidFill>
                  <a:srgbClr val="C1F400"/>
                </a:solidFill>
              </a:defRPr>
            </a:lvl5pPr>
            <a:lvl6pPr lvl="5" rtl="0">
              <a:spcBef>
                <a:spcPts val="0"/>
              </a:spcBef>
              <a:spcAft>
                <a:spcPts val="0"/>
              </a:spcAft>
              <a:buClr>
                <a:srgbClr val="C1F400"/>
              </a:buClr>
              <a:buSzPts val="10800"/>
              <a:buNone/>
              <a:defRPr sz="10800">
                <a:solidFill>
                  <a:srgbClr val="C1F400"/>
                </a:solidFill>
              </a:defRPr>
            </a:lvl6pPr>
            <a:lvl7pPr lvl="6" rtl="0">
              <a:spcBef>
                <a:spcPts val="0"/>
              </a:spcBef>
              <a:spcAft>
                <a:spcPts val="0"/>
              </a:spcAft>
              <a:buClr>
                <a:srgbClr val="C1F400"/>
              </a:buClr>
              <a:buSzPts val="10800"/>
              <a:buNone/>
              <a:defRPr sz="10800">
                <a:solidFill>
                  <a:srgbClr val="C1F400"/>
                </a:solidFill>
              </a:defRPr>
            </a:lvl7pPr>
            <a:lvl8pPr lvl="7" rtl="0">
              <a:spcBef>
                <a:spcPts val="0"/>
              </a:spcBef>
              <a:spcAft>
                <a:spcPts val="0"/>
              </a:spcAft>
              <a:buClr>
                <a:srgbClr val="C1F400"/>
              </a:buClr>
              <a:buSzPts val="10800"/>
              <a:buNone/>
              <a:defRPr sz="10800">
                <a:solidFill>
                  <a:srgbClr val="C1F400"/>
                </a:solidFill>
              </a:defRPr>
            </a:lvl8pPr>
            <a:lvl9pPr lvl="8" rtl="0">
              <a:spcBef>
                <a:spcPts val="0"/>
              </a:spcBef>
              <a:spcAft>
                <a:spcPts val="0"/>
              </a:spcAft>
              <a:buClr>
                <a:srgbClr val="C1F400"/>
              </a:buClr>
              <a:buSzPts val="10800"/>
              <a:buNone/>
              <a:defRPr sz="10800">
                <a:solidFill>
                  <a:srgbClr val="C1F400"/>
                </a:solidFill>
              </a:defRPr>
            </a:lvl9pPr>
          </a:lstStyle>
          <a:p>
            <a:endParaRPr/>
          </a:p>
        </p:txBody>
      </p:sp>
      <p:sp>
        <p:nvSpPr>
          <p:cNvPr id="693" name="Google Shape;693;p53"/>
          <p:cNvSpPr txBox="1">
            <a:spLocks noGrp="1"/>
          </p:cNvSpPr>
          <p:nvPr>
            <p:ph type="title" idx="3"/>
          </p:nvPr>
        </p:nvSpPr>
        <p:spPr>
          <a:xfrm>
            <a:off x="9505575" y="4720350"/>
            <a:ext cx="6106800" cy="14628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10800"/>
              <a:buFont typeface="Montserrat Black"/>
              <a:buNone/>
              <a:defRPr sz="10800">
                <a:solidFill>
                  <a:srgbClr val="C1F400"/>
                </a:solidFill>
                <a:latin typeface="Montserrat Black"/>
                <a:ea typeface="Montserrat Black"/>
                <a:cs typeface="Montserrat Black"/>
                <a:sym typeface="Montserrat Black"/>
              </a:defRPr>
            </a:lvl1pPr>
            <a:lvl2pPr lvl="1" rtl="0">
              <a:spcBef>
                <a:spcPts val="0"/>
              </a:spcBef>
              <a:spcAft>
                <a:spcPts val="0"/>
              </a:spcAft>
              <a:buClr>
                <a:srgbClr val="C1F400"/>
              </a:buClr>
              <a:buSzPts val="10800"/>
              <a:buNone/>
              <a:defRPr sz="10800">
                <a:solidFill>
                  <a:srgbClr val="C1F400"/>
                </a:solidFill>
              </a:defRPr>
            </a:lvl2pPr>
            <a:lvl3pPr lvl="2" rtl="0">
              <a:spcBef>
                <a:spcPts val="0"/>
              </a:spcBef>
              <a:spcAft>
                <a:spcPts val="0"/>
              </a:spcAft>
              <a:buClr>
                <a:srgbClr val="C1F400"/>
              </a:buClr>
              <a:buSzPts val="10800"/>
              <a:buNone/>
              <a:defRPr sz="10800">
                <a:solidFill>
                  <a:srgbClr val="C1F400"/>
                </a:solidFill>
              </a:defRPr>
            </a:lvl3pPr>
            <a:lvl4pPr lvl="3" rtl="0">
              <a:spcBef>
                <a:spcPts val="0"/>
              </a:spcBef>
              <a:spcAft>
                <a:spcPts val="0"/>
              </a:spcAft>
              <a:buClr>
                <a:srgbClr val="C1F400"/>
              </a:buClr>
              <a:buSzPts val="10800"/>
              <a:buNone/>
              <a:defRPr sz="10800">
                <a:solidFill>
                  <a:srgbClr val="C1F400"/>
                </a:solidFill>
              </a:defRPr>
            </a:lvl4pPr>
            <a:lvl5pPr lvl="4" rtl="0">
              <a:spcBef>
                <a:spcPts val="0"/>
              </a:spcBef>
              <a:spcAft>
                <a:spcPts val="0"/>
              </a:spcAft>
              <a:buClr>
                <a:srgbClr val="C1F400"/>
              </a:buClr>
              <a:buSzPts val="10800"/>
              <a:buNone/>
              <a:defRPr sz="10800">
                <a:solidFill>
                  <a:srgbClr val="C1F400"/>
                </a:solidFill>
              </a:defRPr>
            </a:lvl5pPr>
            <a:lvl6pPr lvl="5" rtl="0">
              <a:spcBef>
                <a:spcPts val="0"/>
              </a:spcBef>
              <a:spcAft>
                <a:spcPts val="0"/>
              </a:spcAft>
              <a:buClr>
                <a:srgbClr val="C1F400"/>
              </a:buClr>
              <a:buSzPts val="10800"/>
              <a:buNone/>
              <a:defRPr sz="10800">
                <a:solidFill>
                  <a:srgbClr val="C1F400"/>
                </a:solidFill>
              </a:defRPr>
            </a:lvl6pPr>
            <a:lvl7pPr lvl="6" rtl="0">
              <a:spcBef>
                <a:spcPts val="0"/>
              </a:spcBef>
              <a:spcAft>
                <a:spcPts val="0"/>
              </a:spcAft>
              <a:buClr>
                <a:srgbClr val="C1F400"/>
              </a:buClr>
              <a:buSzPts val="10800"/>
              <a:buNone/>
              <a:defRPr sz="10800">
                <a:solidFill>
                  <a:srgbClr val="C1F400"/>
                </a:solidFill>
              </a:defRPr>
            </a:lvl7pPr>
            <a:lvl8pPr lvl="7" rtl="0">
              <a:spcBef>
                <a:spcPts val="0"/>
              </a:spcBef>
              <a:spcAft>
                <a:spcPts val="0"/>
              </a:spcAft>
              <a:buClr>
                <a:srgbClr val="C1F400"/>
              </a:buClr>
              <a:buSzPts val="10800"/>
              <a:buNone/>
              <a:defRPr sz="10800">
                <a:solidFill>
                  <a:srgbClr val="C1F400"/>
                </a:solidFill>
              </a:defRPr>
            </a:lvl8pPr>
            <a:lvl9pPr lvl="8" rtl="0">
              <a:spcBef>
                <a:spcPts val="0"/>
              </a:spcBef>
              <a:spcAft>
                <a:spcPts val="0"/>
              </a:spcAft>
              <a:buClr>
                <a:srgbClr val="C1F400"/>
              </a:buClr>
              <a:buSzPts val="10800"/>
              <a:buNone/>
              <a:defRPr sz="10800">
                <a:solidFill>
                  <a:srgbClr val="C1F400"/>
                </a:solidFill>
              </a:defRPr>
            </a:lvl9pPr>
          </a:lstStyle>
          <a:p>
            <a:endParaRPr/>
          </a:p>
        </p:txBody>
      </p:sp>
      <p:sp>
        <p:nvSpPr>
          <p:cNvPr id="694" name="Google Shape;694;p53"/>
          <p:cNvSpPr txBox="1">
            <a:spLocks noGrp="1"/>
          </p:cNvSpPr>
          <p:nvPr>
            <p:ph type="title" idx="4"/>
          </p:nvPr>
        </p:nvSpPr>
        <p:spPr>
          <a:xfrm>
            <a:off x="16982700" y="4720350"/>
            <a:ext cx="6106800" cy="14628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10800"/>
              <a:buFont typeface="Montserrat Black"/>
              <a:buNone/>
              <a:defRPr sz="10800">
                <a:solidFill>
                  <a:srgbClr val="C1F400"/>
                </a:solidFill>
                <a:latin typeface="Montserrat Black"/>
                <a:ea typeface="Montserrat Black"/>
                <a:cs typeface="Montserrat Black"/>
                <a:sym typeface="Montserrat Black"/>
              </a:defRPr>
            </a:lvl1pPr>
            <a:lvl2pPr lvl="1" rtl="0">
              <a:spcBef>
                <a:spcPts val="0"/>
              </a:spcBef>
              <a:spcAft>
                <a:spcPts val="0"/>
              </a:spcAft>
              <a:buClr>
                <a:srgbClr val="C1F400"/>
              </a:buClr>
              <a:buSzPts val="10800"/>
              <a:buNone/>
              <a:defRPr sz="10800">
                <a:solidFill>
                  <a:srgbClr val="C1F400"/>
                </a:solidFill>
              </a:defRPr>
            </a:lvl2pPr>
            <a:lvl3pPr lvl="2" rtl="0">
              <a:spcBef>
                <a:spcPts val="0"/>
              </a:spcBef>
              <a:spcAft>
                <a:spcPts val="0"/>
              </a:spcAft>
              <a:buClr>
                <a:srgbClr val="C1F400"/>
              </a:buClr>
              <a:buSzPts val="10800"/>
              <a:buNone/>
              <a:defRPr sz="10800">
                <a:solidFill>
                  <a:srgbClr val="C1F400"/>
                </a:solidFill>
              </a:defRPr>
            </a:lvl3pPr>
            <a:lvl4pPr lvl="3" rtl="0">
              <a:spcBef>
                <a:spcPts val="0"/>
              </a:spcBef>
              <a:spcAft>
                <a:spcPts val="0"/>
              </a:spcAft>
              <a:buClr>
                <a:srgbClr val="C1F400"/>
              </a:buClr>
              <a:buSzPts val="10800"/>
              <a:buNone/>
              <a:defRPr sz="10800">
                <a:solidFill>
                  <a:srgbClr val="C1F400"/>
                </a:solidFill>
              </a:defRPr>
            </a:lvl4pPr>
            <a:lvl5pPr lvl="4" rtl="0">
              <a:spcBef>
                <a:spcPts val="0"/>
              </a:spcBef>
              <a:spcAft>
                <a:spcPts val="0"/>
              </a:spcAft>
              <a:buClr>
                <a:srgbClr val="C1F400"/>
              </a:buClr>
              <a:buSzPts val="10800"/>
              <a:buNone/>
              <a:defRPr sz="10800">
                <a:solidFill>
                  <a:srgbClr val="C1F400"/>
                </a:solidFill>
              </a:defRPr>
            </a:lvl5pPr>
            <a:lvl6pPr lvl="5" rtl="0">
              <a:spcBef>
                <a:spcPts val="0"/>
              </a:spcBef>
              <a:spcAft>
                <a:spcPts val="0"/>
              </a:spcAft>
              <a:buClr>
                <a:srgbClr val="C1F400"/>
              </a:buClr>
              <a:buSzPts val="10800"/>
              <a:buNone/>
              <a:defRPr sz="10800">
                <a:solidFill>
                  <a:srgbClr val="C1F400"/>
                </a:solidFill>
              </a:defRPr>
            </a:lvl6pPr>
            <a:lvl7pPr lvl="6" rtl="0">
              <a:spcBef>
                <a:spcPts val="0"/>
              </a:spcBef>
              <a:spcAft>
                <a:spcPts val="0"/>
              </a:spcAft>
              <a:buClr>
                <a:srgbClr val="C1F400"/>
              </a:buClr>
              <a:buSzPts val="10800"/>
              <a:buNone/>
              <a:defRPr sz="10800">
                <a:solidFill>
                  <a:srgbClr val="C1F400"/>
                </a:solidFill>
              </a:defRPr>
            </a:lvl7pPr>
            <a:lvl8pPr lvl="7" rtl="0">
              <a:spcBef>
                <a:spcPts val="0"/>
              </a:spcBef>
              <a:spcAft>
                <a:spcPts val="0"/>
              </a:spcAft>
              <a:buClr>
                <a:srgbClr val="C1F400"/>
              </a:buClr>
              <a:buSzPts val="10800"/>
              <a:buNone/>
              <a:defRPr sz="10800">
                <a:solidFill>
                  <a:srgbClr val="C1F400"/>
                </a:solidFill>
              </a:defRPr>
            </a:lvl8pPr>
            <a:lvl9pPr lvl="8" rtl="0">
              <a:spcBef>
                <a:spcPts val="0"/>
              </a:spcBef>
              <a:spcAft>
                <a:spcPts val="0"/>
              </a:spcAft>
              <a:buClr>
                <a:srgbClr val="C1F400"/>
              </a:buClr>
              <a:buSzPts val="10800"/>
              <a:buNone/>
              <a:defRPr sz="10800">
                <a:solidFill>
                  <a:srgbClr val="C1F400"/>
                </a:solidFill>
              </a:defRPr>
            </a:lvl9pPr>
          </a:lstStyle>
          <a:p>
            <a:endParaRPr/>
          </a:p>
        </p:txBody>
      </p:sp>
      <p:sp>
        <p:nvSpPr>
          <p:cNvPr id="695" name="Google Shape;695;p53"/>
          <p:cNvSpPr txBox="1">
            <a:spLocks noGrp="1"/>
          </p:cNvSpPr>
          <p:nvPr>
            <p:ph type="title" idx="5"/>
          </p:nvPr>
        </p:nvSpPr>
        <p:spPr>
          <a:xfrm>
            <a:off x="2085775" y="6652400"/>
            <a:ext cx="3922500" cy="737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3600"/>
              <a:buFont typeface="Montserrat Black"/>
              <a:buNone/>
              <a:defRPr sz="3600">
                <a:solidFill>
                  <a:schemeClr val="lt1"/>
                </a:solidFill>
                <a:latin typeface="Montserrat Black"/>
                <a:ea typeface="Montserrat Black"/>
                <a:cs typeface="Montserrat Black"/>
                <a:sym typeface="Montserrat Black"/>
              </a:defRPr>
            </a:lvl1pPr>
            <a:lvl2pPr lvl="1" rtl="0">
              <a:spcBef>
                <a:spcPts val="0"/>
              </a:spcBef>
              <a:spcAft>
                <a:spcPts val="0"/>
              </a:spcAft>
              <a:buClr>
                <a:schemeClr val="lt1"/>
              </a:buClr>
              <a:buSzPts val="3600"/>
              <a:buNone/>
              <a:defRPr sz="3600">
                <a:solidFill>
                  <a:schemeClr val="lt1"/>
                </a:solidFill>
              </a:defRPr>
            </a:lvl2pPr>
            <a:lvl3pPr lvl="2" rtl="0">
              <a:spcBef>
                <a:spcPts val="0"/>
              </a:spcBef>
              <a:spcAft>
                <a:spcPts val="0"/>
              </a:spcAft>
              <a:buClr>
                <a:schemeClr val="lt1"/>
              </a:buClr>
              <a:buSzPts val="3600"/>
              <a:buNone/>
              <a:defRPr sz="3600">
                <a:solidFill>
                  <a:schemeClr val="lt1"/>
                </a:solidFill>
              </a:defRPr>
            </a:lvl3pPr>
            <a:lvl4pPr lvl="3" rtl="0">
              <a:spcBef>
                <a:spcPts val="0"/>
              </a:spcBef>
              <a:spcAft>
                <a:spcPts val="0"/>
              </a:spcAft>
              <a:buClr>
                <a:schemeClr val="lt1"/>
              </a:buClr>
              <a:buSzPts val="3600"/>
              <a:buNone/>
              <a:defRPr sz="3600">
                <a:solidFill>
                  <a:schemeClr val="lt1"/>
                </a:solidFill>
              </a:defRPr>
            </a:lvl4pPr>
            <a:lvl5pPr lvl="4" rtl="0">
              <a:spcBef>
                <a:spcPts val="0"/>
              </a:spcBef>
              <a:spcAft>
                <a:spcPts val="0"/>
              </a:spcAft>
              <a:buClr>
                <a:schemeClr val="lt1"/>
              </a:buClr>
              <a:buSzPts val="3600"/>
              <a:buNone/>
              <a:defRPr sz="3600">
                <a:solidFill>
                  <a:schemeClr val="lt1"/>
                </a:solidFill>
              </a:defRPr>
            </a:lvl5pPr>
            <a:lvl6pPr lvl="5" rtl="0">
              <a:spcBef>
                <a:spcPts val="0"/>
              </a:spcBef>
              <a:spcAft>
                <a:spcPts val="0"/>
              </a:spcAft>
              <a:buClr>
                <a:schemeClr val="lt1"/>
              </a:buClr>
              <a:buSzPts val="3600"/>
              <a:buNone/>
              <a:defRPr sz="3600">
                <a:solidFill>
                  <a:schemeClr val="lt1"/>
                </a:solidFill>
              </a:defRPr>
            </a:lvl6pPr>
            <a:lvl7pPr lvl="6" rtl="0">
              <a:spcBef>
                <a:spcPts val="0"/>
              </a:spcBef>
              <a:spcAft>
                <a:spcPts val="0"/>
              </a:spcAft>
              <a:buClr>
                <a:schemeClr val="lt1"/>
              </a:buClr>
              <a:buSzPts val="3600"/>
              <a:buNone/>
              <a:defRPr sz="3600">
                <a:solidFill>
                  <a:schemeClr val="lt1"/>
                </a:solidFill>
              </a:defRPr>
            </a:lvl7pPr>
            <a:lvl8pPr lvl="7" rtl="0">
              <a:spcBef>
                <a:spcPts val="0"/>
              </a:spcBef>
              <a:spcAft>
                <a:spcPts val="0"/>
              </a:spcAft>
              <a:buClr>
                <a:schemeClr val="lt1"/>
              </a:buClr>
              <a:buSzPts val="3600"/>
              <a:buNone/>
              <a:defRPr sz="3600">
                <a:solidFill>
                  <a:schemeClr val="lt1"/>
                </a:solidFill>
              </a:defRPr>
            </a:lvl8pPr>
            <a:lvl9pPr lvl="8" rtl="0">
              <a:spcBef>
                <a:spcPts val="0"/>
              </a:spcBef>
              <a:spcAft>
                <a:spcPts val="0"/>
              </a:spcAft>
              <a:buClr>
                <a:schemeClr val="lt1"/>
              </a:buClr>
              <a:buSzPts val="3600"/>
              <a:buNone/>
              <a:defRPr sz="3600">
                <a:solidFill>
                  <a:schemeClr val="lt1"/>
                </a:solidFill>
              </a:defRPr>
            </a:lvl9pPr>
          </a:lstStyle>
          <a:p>
            <a:endParaRPr/>
          </a:p>
        </p:txBody>
      </p:sp>
      <p:sp>
        <p:nvSpPr>
          <p:cNvPr id="696" name="Google Shape;696;p53"/>
          <p:cNvSpPr txBox="1">
            <a:spLocks noGrp="1"/>
          </p:cNvSpPr>
          <p:nvPr>
            <p:ph type="subTitle" idx="1"/>
          </p:nvPr>
        </p:nvSpPr>
        <p:spPr>
          <a:xfrm>
            <a:off x="2104650" y="8504900"/>
            <a:ext cx="3541200" cy="1643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1pPr>
            <a:lvl2pPr lvl="1"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2pPr>
            <a:lvl3pPr lvl="2"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3pPr>
            <a:lvl4pPr lvl="3"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4pPr>
            <a:lvl5pPr lvl="4"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5pPr>
            <a:lvl6pPr lvl="5"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6pPr>
            <a:lvl7pPr lvl="6"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7pPr>
            <a:lvl8pPr lvl="7"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8pPr>
            <a:lvl9pPr lvl="8"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9pPr>
          </a:lstStyle>
          <a:p>
            <a:endParaRPr/>
          </a:p>
        </p:txBody>
      </p:sp>
      <p:sp>
        <p:nvSpPr>
          <p:cNvPr id="697" name="Google Shape;697;p53"/>
          <p:cNvSpPr txBox="1">
            <a:spLocks noGrp="1"/>
          </p:cNvSpPr>
          <p:nvPr>
            <p:ph type="title" idx="6"/>
          </p:nvPr>
        </p:nvSpPr>
        <p:spPr>
          <a:xfrm>
            <a:off x="9590000" y="6652400"/>
            <a:ext cx="3922500" cy="737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3600"/>
              <a:buFont typeface="Montserrat Black"/>
              <a:buNone/>
              <a:defRPr sz="3600">
                <a:solidFill>
                  <a:schemeClr val="lt1"/>
                </a:solidFill>
                <a:latin typeface="Montserrat Black"/>
                <a:ea typeface="Montserrat Black"/>
                <a:cs typeface="Montserrat Black"/>
                <a:sym typeface="Montserrat Black"/>
              </a:defRPr>
            </a:lvl1pPr>
            <a:lvl2pPr lvl="1" rtl="0">
              <a:spcBef>
                <a:spcPts val="0"/>
              </a:spcBef>
              <a:spcAft>
                <a:spcPts val="0"/>
              </a:spcAft>
              <a:buClr>
                <a:schemeClr val="lt1"/>
              </a:buClr>
              <a:buSzPts val="3600"/>
              <a:buNone/>
              <a:defRPr sz="3600">
                <a:solidFill>
                  <a:schemeClr val="lt1"/>
                </a:solidFill>
              </a:defRPr>
            </a:lvl2pPr>
            <a:lvl3pPr lvl="2" rtl="0">
              <a:spcBef>
                <a:spcPts val="0"/>
              </a:spcBef>
              <a:spcAft>
                <a:spcPts val="0"/>
              </a:spcAft>
              <a:buClr>
                <a:schemeClr val="lt1"/>
              </a:buClr>
              <a:buSzPts val="3600"/>
              <a:buNone/>
              <a:defRPr sz="3600">
                <a:solidFill>
                  <a:schemeClr val="lt1"/>
                </a:solidFill>
              </a:defRPr>
            </a:lvl3pPr>
            <a:lvl4pPr lvl="3" rtl="0">
              <a:spcBef>
                <a:spcPts val="0"/>
              </a:spcBef>
              <a:spcAft>
                <a:spcPts val="0"/>
              </a:spcAft>
              <a:buClr>
                <a:schemeClr val="lt1"/>
              </a:buClr>
              <a:buSzPts val="3600"/>
              <a:buNone/>
              <a:defRPr sz="3600">
                <a:solidFill>
                  <a:schemeClr val="lt1"/>
                </a:solidFill>
              </a:defRPr>
            </a:lvl4pPr>
            <a:lvl5pPr lvl="4" rtl="0">
              <a:spcBef>
                <a:spcPts val="0"/>
              </a:spcBef>
              <a:spcAft>
                <a:spcPts val="0"/>
              </a:spcAft>
              <a:buClr>
                <a:schemeClr val="lt1"/>
              </a:buClr>
              <a:buSzPts val="3600"/>
              <a:buNone/>
              <a:defRPr sz="3600">
                <a:solidFill>
                  <a:schemeClr val="lt1"/>
                </a:solidFill>
              </a:defRPr>
            </a:lvl5pPr>
            <a:lvl6pPr lvl="5" rtl="0">
              <a:spcBef>
                <a:spcPts val="0"/>
              </a:spcBef>
              <a:spcAft>
                <a:spcPts val="0"/>
              </a:spcAft>
              <a:buClr>
                <a:schemeClr val="lt1"/>
              </a:buClr>
              <a:buSzPts val="3600"/>
              <a:buNone/>
              <a:defRPr sz="3600">
                <a:solidFill>
                  <a:schemeClr val="lt1"/>
                </a:solidFill>
              </a:defRPr>
            </a:lvl6pPr>
            <a:lvl7pPr lvl="6" rtl="0">
              <a:spcBef>
                <a:spcPts val="0"/>
              </a:spcBef>
              <a:spcAft>
                <a:spcPts val="0"/>
              </a:spcAft>
              <a:buClr>
                <a:schemeClr val="lt1"/>
              </a:buClr>
              <a:buSzPts val="3600"/>
              <a:buNone/>
              <a:defRPr sz="3600">
                <a:solidFill>
                  <a:schemeClr val="lt1"/>
                </a:solidFill>
              </a:defRPr>
            </a:lvl7pPr>
            <a:lvl8pPr lvl="7" rtl="0">
              <a:spcBef>
                <a:spcPts val="0"/>
              </a:spcBef>
              <a:spcAft>
                <a:spcPts val="0"/>
              </a:spcAft>
              <a:buClr>
                <a:schemeClr val="lt1"/>
              </a:buClr>
              <a:buSzPts val="3600"/>
              <a:buNone/>
              <a:defRPr sz="3600">
                <a:solidFill>
                  <a:schemeClr val="lt1"/>
                </a:solidFill>
              </a:defRPr>
            </a:lvl8pPr>
            <a:lvl9pPr lvl="8" rtl="0">
              <a:spcBef>
                <a:spcPts val="0"/>
              </a:spcBef>
              <a:spcAft>
                <a:spcPts val="0"/>
              </a:spcAft>
              <a:buClr>
                <a:schemeClr val="lt1"/>
              </a:buClr>
              <a:buSzPts val="3600"/>
              <a:buNone/>
              <a:defRPr sz="3600">
                <a:solidFill>
                  <a:schemeClr val="lt1"/>
                </a:solidFill>
              </a:defRPr>
            </a:lvl9pPr>
          </a:lstStyle>
          <a:p>
            <a:endParaRPr/>
          </a:p>
        </p:txBody>
      </p:sp>
      <p:sp>
        <p:nvSpPr>
          <p:cNvPr id="698" name="Google Shape;698;p53"/>
          <p:cNvSpPr txBox="1">
            <a:spLocks noGrp="1"/>
          </p:cNvSpPr>
          <p:nvPr>
            <p:ph type="subTitle" idx="7"/>
          </p:nvPr>
        </p:nvSpPr>
        <p:spPr>
          <a:xfrm>
            <a:off x="9685075" y="8504900"/>
            <a:ext cx="3541200" cy="1643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1pPr>
            <a:lvl2pPr lvl="1"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2pPr>
            <a:lvl3pPr lvl="2"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3pPr>
            <a:lvl4pPr lvl="3"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4pPr>
            <a:lvl5pPr lvl="4"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5pPr>
            <a:lvl6pPr lvl="5"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6pPr>
            <a:lvl7pPr lvl="6"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7pPr>
            <a:lvl8pPr lvl="7"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8pPr>
            <a:lvl9pPr lvl="8"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9pPr>
          </a:lstStyle>
          <a:p>
            <a:endParaRPr/>
          </a:p>
        </p:txBody>
      </p:sp>
      <p:sp>
        <p:nvSpPr>
          <p:cNvPr id="699" name="Google Shape;699;p53"/>
          <p:cNvSpPr txBox="1">
            <a:spLocks noGrp="1"/>
          </p:cNvSpPr>
          <p:nvPr>
            <p:ph type="title" idx="8"/>
          </p:nvPr>
        </p:nvSpPr>
        <p:spPr>
          <a:xfrm>
            <a:off x="17018025" y="6652400"/>
            <a:ext cx="3922500" cy="737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3600"/>
              <a:buFont typeface="Montserrat Black"/>
              <a:buNone/>
              <a:defRPr sz="3600">
                <a:solidFill>
                  <a:schemeClr val="lt1"/>
                </a:solidFill>
                <a:latin typeface="Montserrat Black"/>
                <a:ea typeface="Montserrat Black"/>
                <a:cs typeface="Montserrat Black"/>
                <a:sym typeface="Montserrat Black"/>
              </a:defRPr>
            </a:lvl1pPr>
            <a:lvl2pPr lvl="1" rtl="0">
              <a:spcBef>
                <a:spcPts val="0"/>
              </a:spcBef>
              <a:spcAft>
                <a:spcPts val="0"/>
              </a:spcAft>
              <a:buClr>
                <a:schemeClr val="lt1"/>
              </a:buClr>
              <a:buSzPts val="3600"/>
              <a:buNone/>
              <a:defRPr sz="3600">
                <a:solidFill>
                  <a:schemeClr val="lt1"/>
                </a:solidFill>
              </a:defRPr>
            </a:lvl2pPr>
            <a:lvl3pPr lvl="2" rtl="0">
              <a:spcBef>
                <a:spcPts val="0"/>
              </a:spcBef>
              <a:spcAft>
                <a:spcPts val="0"/>
              </a:spcAft>
              <a:buClr>
                <a:schemeClr val="lt1"/>
              </a:buClr>
              <a:buSzPts val="3600"/>
              <a:buNone/>
              <a:defRPr sz="3600">
                <a:solidFill>
                  <a:schemeClr val="lt1"/>
                </a:solidFill>
              </a:defRPr>
            </a:lvl3pPr>
            <a:lvl4pPr lvl="3" rtl="0">
              <a:spcBef>
                <a:spcPts val="0"/>
              </a:spcBef>
              <a:spcAft>
                <a:spcPts val="0"/>
              </a:spcAft>
              <a:buClr>
                <a:schemeClr val="lt1"/>
              </a:buClr>
              <a:buSzPts val="3600"/>
              <a:buNone/>
              <a:defRPr sz="3600">
                <a:solidFill>
                  <a:schemeClr val="lt1"/>
                </a:solidFill>
              </a:defRPr>
            </a:lvl4pPr>
            <a:lvl5pPr lvl="4" rtl="0">
              <a:spcBef>
                <a:spcPts val="0"/>
              </a:spcBef>
              <a:spcAft>
                <a:spcPts val="0"/>
              </a:spcAft>
              <a:buClr>
                <a:schemeClr val="lt1"/>
              </a:buClr>
              <a:buSzPts val="3600"/>
              <a:buNone/>
              <a:defRPr sz="3600">
                <a:solidFill>
                  <a:schemeClr val="lt1"/>
                </a:solidFill>
              </a:defRPr>
            </a:lvl5pPr>
            <a:lvl6pPr lvl="5" rtl="0">
              <a:spcBef>
                <a:spcPts val="0"/>
              </a:spcBef>
              <a:spcAft>
                <a:spcPts val="0"/>
              </a:spcAft>
              <a:buClr>
                <a:schemeClr val="lt1"/>
              </a:buClr>
              <a:buSzPts val="3600"/>
              <a:buNone/>
              <a:defRPr sz="3600">
                <a:solidFill>
                  <a:schemeClr val="lt1"/>
                </a:solidFill>
              </a:defRPr>
            </a:lvl6pPr>
            <a:lvl7pPr lvl="6" rtl="0">
              <a:spcBef>
                <a:spcPts val="0"/>
              </a:spcBef>
              <a:spcAft>
                <a:spcPts val="0"/>
              </a:spcAft>
              <a:buClr>
                <a:schemeClr val="lt1"/>
              </a:buClr>
              <a:buSzPts val="3600"/>
              <a:buNone/>
              <a:defRPr sz="3600">
                <a:solidFill>
                  <a:schemeClr val="lt1"/>
                </a:solidFill>
              </a:defRPr>
            </a:lvl7pPr>
            <a:lvl8pPr lvl="7" rtl="0">
              <a:spcBef>
                <a:spcPts val="0"/>
              </a:spcBef>
              <a:spcAft>
                <a:spcPts val="0"/>
              </a:spcAft>
              <a:buClr>
                <a:schemeClr val="lt1"/>
              </a:buClr>
              <a:buSzPts val="3600"/>
              <a:buNone/>
              <a:defRPr sz="3600">
                <a:solidFill>
                  <a:schemeClr val="lt1"/>
                </a:solidFill>
              </a:defRPr>
            </a:lvl8pPr>
            <a:lvl9pPr lvl="8" rtl="0">
              <a:spcBef>
                <a:spcPts val="0"/>
              </a:spcBef>
              <a:spcAft>
                <a:spcPts val="0"/>
              </a:spcAft>
              <a:buClr>
                <a:schemeClr val="lt1"/>
              </a:buClr>
              <a:buSzPts val="3600"/>
              <a:buNone/>
              <a:defRPr sz="3600">
                <a:solidFill>
                  <a:schemeClr val="lt1"/>
                </a:solidFill>
              </a:defRPr>
            </a:lvl9pPr>
          </a:lstStyle>
          <a:p>
            <a:endParaRPr/>
          </a:p>
        </p:txBody>
      </p:sp>
      <p:sp>
        <p:nvSpPr>
          <p:cNvPr id="700" name="Google Shape;700;p53"/>
          <p:cNvSpPr txBox="1">
            <a:spLocks noGrp="1"/>
          </p:cNvSpPr>
          <p:nvPr>
            <p:ph type="subTitle" idx="9"/>
          </p:nvPr>
        </p:nvSpPr>
        <p:spPr>
          <a:xfrm>
            <a:off x="17036900" y="8504900"/>
            <a:ext cx="3541200" cy="1643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1pPr>
            <a:lvl2pPr lvl="1"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2pPr>
            <a:lvl3pPr lvl="2"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3pPr>
            <a:lvl4pPr lvl="3"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4pPr>
            <a:lvl5pPr lvl="4"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5pPr>
            <a:lvl6pPr lvl="5"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6pPr>
            <a:lvl7pPr lvl="6"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7pPr>
            <a:lvl8pPr lvl="7"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8pPr>
            <a:lvl9pPr lvl="8"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9pPr>
          </a:lstStyle>
          <a:p>
            <a:endParaRPr/>
          </a:p>
        </p:txBody>
      </p:sp>
      <p:pic>
        <p:nvPicPr>
          <p:cNvPr id="701" name="Google Shape;701;p53"/>
          <p:cNvPicPr preferRelativeResize="0"/>
          <p:nvPr/>
        </p:nvPicPr>
        <p:blipFill rotWithShape="1">
          <a:blip r:embed="rId3">
            <a:alphaModFix/>
          </a:blip>
          <a:srcRect t="83846"/>
          <a:stretch/>
        </p:blipFill>
        <p:spPr>
          <a:xfrm>
            <a:off x="-2992950" y="-451525"/>
            <a:ext cx="24377651" cy="1515099"/>
          </a:xfrm>
          <a:prstGeom prst="rect">
            <a:avLst/>
          </a:prstGeom>
          <a:noFill/>
          <a:ln>
            <a:noFill/>
          </a:ln>
        </p:spPr>
      </p:pic>
      <p:pic>
        <p:nvPicPr>
          <p:cNvPr id="702" name="Google Shape;702;p53"/>
          <p:cNvPicPr preferRelativeResize="0"/>
          <p:nvPr/>
        </p:nvPicPr>
        <p:blipFill rotWithShape="1">
          <a:blip r:embed="rId3">
            <a:alphaModFix/>
          </a:blip>
          <a:srcRect b="93557"/>
          <a:stretch/>
        </p:blipFill>
        <p:spPr>
          <a:xfrm>
            <a:off x="0" y="13111675"/>
            <a:ext cx="24377651" cy="604325"/>
          </a:xfrm>
          <a:prstGeom prst="rect">
            <a:avLst/>
          </a:prstGeom>
          <a:noFill/>
          <a:ln>
            <a:noFill/>
          </a:ln>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Agenda / Contents">
  <p:cSld name="Agenda / Contents">
    <p:bg>
      <p:bgPr>
        <a:solidFill>
          <a:srgbClr val="C1F400"/>
        </a:solidFill>
        <a:effectLst/>
      </p:bgPr>
    </p:bg>
    <p:spTree>
      <p:nvGrpSpPr>
        <p:cNvPr id="1" name="Shape 44"/>
        <p:cNvGrpSpPr/>
        <p:nvPr/>
      </p:nvGrpSpPr>
      <p:grpSpPr>
        <a:xfrm>
          <a:off x="0" y="0"/>
          <a:ext cx="0" cy="0"/>
          <a:chOff x="0" y="0"/>
          <a:chExt cx="0" cy="0"/>
        </a:xfrm>
      </p:grpSpPr>
      <p:sp>
        <p:nvSpPr>
          <p:cNvPr id="45" name="Google Shape;45;p6"/>
          <p:cNvSpPr/>
          <p:nvPr/>
        </p:nvSpPr>
        <p:spPr>
          <a:xfrm>
            <a:off x="2126500" y="5300700"/>
            <a:ext cx="9028200" cy="2407800"/>
          </a:xfrm>
          <a:prstGeom prst="rect">
            <a:avLst/>
          </a:prstGeom>
          <a:noFill/>
          <a:ln w="152400" cap="flat" cmpd="sng">
            <a:solidFill>
              <a:srgbClr val="002A44"/>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46" name="Google Shape;46;p6"/>
          <p:cNvPicPr preferRelativeResize="0"/>
          <p:nvPr/>
        </p:nvPicPr>
        <p:blipFill rotWithShape="1">
          <a:blip r:embed="rId2">
            <a:alphaModFix/>
          </a:blip>
          <a:srcRect t="65807"/>
          <a:stretch/>
        </p:blipFill>
        <p:spPr>
          <a:xfrm>
            <a:off x="0" y="0"/>
            <a:ext cx="24377651" cy="1994075"/>
          </a:xfrm>
          <a:prstGeom prst="rect">
            <a:avLst/>
          </a:prstGeom>
          <a:noFill/>
          <a:ln>
            <a:noFill/>
          </a:ln>
        </p:spPr>
      </p:pic>
      <p:pic>
        <p:nvPicPr>
          <p:cNvPr id="47" name="Google Shape;47;p6"/>
          <p:cNvPicPr preferRelativeResize="0"/>
          <p:nvPr/>
        </p:nvPicPr>
        <p:blipFill rotWithShape="1">
          <a:blip r:embed="rId2">
            <a:alphaModFix/>
          </a:blip>
          <a:srcRect b="84665"/>
          <a:stretch/>
        </p:blipFill>
        <p:spPr>
          <a:xfrm>
            <a:off x="0" y="12089300"/>
            <a:ext cx="24377651" cy="1626700"/>
          </a:xfrm>
          <a:prstGeom prst="rect">
            <a:avLst/>
          </a:prstGeom>
          <a:noFill/>
          <a:ln>
            <a:noFill/>
          </a:ln>
        </p:spPr>
      </p:pic>
      <p:sp>
        <p:nvSpPr>
          <p:cNvPr id="48" name="Google Shape;48;p6"/>
          <p:cNvSpPr txBox="1">
            <a:spLocks noGrp="1"/>
          </p:cNvSpPr>
          <p:nvPr>
            <p:ph type="title"/>
          </p:nvPr>
        </p:nvSpPr>
        <p:spPr>
          <a:xfrm>
            <a:off x="2388475" y="5764425"/>
            <a:ext cx="8382000" cy="35448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rgbClr val="002A44"/>
              </a:buClr>
              <a:buSzPts val="8400"/>
              <a:buFont typeface="Montserrat Black"/>
              <a:buNone/>
              <a:defRPr sz="8400">
                <a:solidFill>
                  <a:srgbClr val="002A44"/>
                </a:solidFill>
                <a:latin typeface="Montserrat Black"/>
                <a:ea typeface="Montserrat Black"/>
                <a:cs typeface="Montserrat Black"/>
                <a:sym typeface="Montserrat Black"/>
              </a:defRPr>
            </a:lvl1pPr>
            <a:lvl2pPr lvl="1" algn="ctr" rtl="0">
              <a:spcBef>
                <a:spcPts val="0"/>
              </a:spcBef>
              <a:spcAft>
                <a:spcPts val="0"/>
              </a:spcAft>
              <a:buSzPts val="8400"/>
              <a:buNone/>
              <a:defRPr sz="8400"/>
            </a:lvl2pPr>
            <a:lvl3pPr lvl="2" algn="ctr" rtl="0">
              <a:spcBef>
                <a:spcPts val="0"/>
              </a:spcBef>
              <a:spcAft>
                <a:spcPts val="0"/>
              </a:spcAft>
              <a:buSzPts val="8400"/>
              <a:buNone/>
              <a:defRPr sz="8400"/>
            </a:lvl3pPr>
            <a:lvl4pPr lvl="3" algn="ctr" rtl="0">
              <a:spcBef>
                <a:spcPts val="0"/>
              </a:spcBef>
              <a:spcAft>
                <a:spcPts val="0"/>
              </a:spcAft>
              <a:buSzPts val="8400"/>
              <a:buNone/>
              <a:defRPr sz="8400"/>
            </a:lvl4pPr>
            <a:lvl5pPr lvl="4" algn="ctr" rtl="0">
              <a:spcBef>
                <a:spcPts val="0"/>
              </a:spcBef>
              <a:spcAft>
                <a:spcPts val="0"/>
              </a:spcAft>
              <a:buSzPts val="8400"/>
              <a:buNone/>
              <a:defRPr sz="8400"/>
            </a:lvl5pPr>
            <a:lvl6pPr lvl="5" algn="ctr" rtl="0">
              <a:spcBef>
                <a:spcPts val="0"/>
              </a:spcBef>
              <a:spcAft>
                <a:spcPts val="0"/>
              </a:spcAft>
              <a:buSzPts val="8400"/>
              <a:buNone/>
              <a:defRPr sz="8400"/>
            </a:lvl6pPr>
            <a:lvl7pPr lvl="6" algn="ctr" rtl="0">
              <a:spcBef>
                <a:spcPts val="0"/>
              </a:spcBef>
              <a:spcAft>
                <a:spcPts val="0"/>
              </a:spcAft>
              <a:buSzPts val="8400"/>
              <a:buNone/>
              <a:defRPr sz="8400"/>
            </a:lvl7pPr>
            <a:lvl8pPr lvl="7" algn="ctr" rtl="0">
              <a:spcBef>
                <a:spcPts val="0"/>
              </a:spcBef>
              <a:spcAft>
                <a:spcPts val="0"/>
              </a:spcAft>
              <a:buSzPts val="8400"/>
              <a:buNone/>
              <a:defRPr sz="8400"/>
            </a:lvl8pPr>
            <a:lvl9pPr lvl="8" algn="ctr" rtl="0">
              <a:spcBef>
                <a:spcPts val="0"/>
              </a:spcBef>
              <a:spcAft>
                <a:spcPts val="0"/>
              </a:spcAft>
              <a:buSzPts val="8400"/>
              <a:buNone/>
              <a:defRPr sz="8400"/>
            </a:lvl9pPr>
          </a:lstStyle>
          <a:p>
            <a:endParaRPr/>
          </a:p>
        </p:txBody>
      </p:sp>
      <p:sp>
        <p:nvSpPr>
          <p:cNvPr id="49" name="Google Shape;49;p6">
            <a:hlinkClick r:id="rId3" action="ppaction://hlinksldjump"/>
          </p:cNvPr>
          <p:cNvSpPr txBox="1">
            <a:spLocks noGrp="1"/>
          </p:cNvSpPr>
          <p:nvPr>
            <p:ph type="subTitle" idx="1"/>
          </p:nvPr>
        </p:nvSpPr>
        <p:spPr>
          <a:xfrm>
            <a:off x="14524100" y="2809425"/>
            <a:ext cx="8485200" cy="552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2400"/>
              <a:buFont typeface="Montserrat SemiBold"/>
              <a:buNone/>
              <a:defRPr sz="2400" u="sng">
                <a:solidFill>
                  <a:srgbClr val="002A44"/>
                </a:solidFill>
                <a:latin typeface="Montserrat SemiBold"/>
                <a:ea typeface="Montserrat SemiBold"/>
                <a:cs typeface="Montserrat SemiBold"/>
                <a:sym typeface="Montserrat SemiBold"/>
              </a:defRPr>
            </a:lvl1pPr>
            <a:lvl2pPr lvl="1"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2pPr>
            <a:lvl3pPr lvl="2"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3pPr>
            <a:lvl4pPr lvl="3"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4pPr>
            <a:lvl5pPr lvl="4"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5pPr>
            <a:lvl6pPr lvl="5"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6pPr>
            <a:lvl7pPr lvl="6"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7pPr>
            <a:lvl8pPr lvl="7"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8pPr>
            <a:lvl9pPr lvl="8"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9pPr>
          </a:lstStyle>
          <a:p>
            <a:endParaRPr/>
          </a:p>
        </p:txBody>
      </p:sp>
      <p:sp>
        <p:nvSpPr>
          <p:cNvPr id="50" name="Google Shape;50;p6"/>
          <p:cNvSpPr txBox="1">
            <a:spLocks noGrp="1"/>
          </p:cNvSpPr>
          <p:nvPr>
            <p:ph type="subTitle" idx="2"/>
          </p:nvPr>
        </p:nvSpPr>
        <p:spPr>
          <a:xfrm>
            <a:off x="14524100" y="3361725"/>
            <a:ext cx="8485200" cy="552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1800"/>
              <a:buFont typeface="Open Sans"/>
              <a:buNone/>
              <a:defRPr sz="1800">
                <a:solidFill>
                  <a:srgbClr val="002A44"/>
                </a:solidFill>
                <a:latin typeface="Open Sans"/>
                <a:ea typeface="Open Sans"/>
                <a:cs typeface="Open Sans"/>
                <a:sym typeface="Open Sans"/>
              </a:defRPr>
            </a:lvl1pPr>
            <a:lvl2pPr lvl="1"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2pPr>
            <a:lvl3pPr lvl="2"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3pPr>
            <a:lvl4pPr lvl="3"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4pPr>
            <a:lvl5pPr lvl="4"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5pPr>
            <a:lvl6pPr lvl="5"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6pPr>
            <a:lvl7pPr lvl="6"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7pPr>
            <a:lvl8pPr lvl="7"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8pPr>
            <a:lvl9pPr lvl="8"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9pPr>
          </a:lstStyle>
          <a:p>
            <a:endParaRPr/>
          </a:p>
        </p:txBody>
      </p:sp>
      <p:sp>
        <p:nvSpPr>
          <p:cNvPr id="51" name="Google Shape;51;p6">
            <a:hlinkClick r:id="rId3" action="ppaction://hlinksldjump"/>
          </p:cNvPr>
          <p:cNvSpPr txBox="1">
            <a:spLocks noGrp="1"/>
          </p:cNvSpPr>
          <p:nvPr>
            <p:ph type="subTitle" idx="3"/>
          </p:nvPr>
        </p:nvSpPr>
        <p:spPr>
          <a:xfrm>
            <a:off x="14524100" y="4219125"/>
            <a:ext cx="8485200" cy="552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2400"/>
              <a:buFont typeface="Montserrat SemiBold"/>
              <a:buNone/>
              <a:defRPr sz="2400" u="sng">
                <a:solidFill>
                  <a:srgbClr val="002A44"/>
                </a:solidFill>
                <a:latin typeface="Montserrat SemiBold"/>
                <a:ea typeface="Montserrat SemiBold"/>
                <a:cs typeface="Montserrat SemiBold"/>
                <a:sym typeface="Montserrat SemiBold"/>
              </a:defRPr>
            </a:lvl1pPr>
            <a:lvl2pPr lvl="1"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2pPr>
            <a:lvl3pPr lvl="2"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3pPr>
            <a:lvl4pPr lvl="3"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4pPr>
            <a:lvl5pPr lvl="4"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5pPr>
            <a:lvl6pPr lvl="5"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6pPr>
            <a:lvl7pPr lvl="6"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7pPr>
            <a:lvl8pPr lvl="7"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8pPr>
            <a:lvl9pPr lvl="8"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9pPr>
          </a:lstStyle>
          <a:p>
            <a:endParaRPr/>
          </a:p>
        </p:txBody>
      </p:sp>
      <p:sp>
        <p:nvSpPr>
          <p:cNvPr id="52" name="Google Shape;52;p6"/>
          <p:cNvSpPr txBox="1">
            <a:spLocks noGrp="1"/>
          </p:cNvSpPr>
          <p:nvPr>
            <p:ph type="subTitle" idx="4"/>
          </p:nvPr>
        </p:nvSpPr>
        <p:spPr>
          <a:xfrm>
            <a:off x="14524100" y="4771425"/>
            <a:ext cx="8485200" cy="552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1800"/>
              <a:buFont typeface="Open Sans"/>
              <a:buNone/>
              <a:defRPr sz="1800">
                <a:solidFill>
                  <a:srgbClr val="002A44"/>
                </a:solidFill>
                <a:latin typeface="Open Sans"/>
                <a:ea typeface="Open Sans"/>
                <a:cs typeface="Open Sans"/>
                <a:sym typeface="Open Sans"/>
              </a:defRPr>
            </a:lvl1pPr>
            <a:lvl2pPr lvl="1"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2pPr>
            <a:lvl3pPr lvl="2"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3pPr>
            <a:lvl4pPr lvl="3"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4pPr>
            <a:lvl5pPr lvl="4"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5pPr>
            <a:lvl6pPr lvl="5"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6pPr>
            <a:lvl7pPr lvl="6"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7pPr>
            <a:lvl8pPr lvl="7"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8pPr>
            <a:lvl9pPr lvl="8"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9pPr>
          </a:lstStyle>
          <a:p>
            <a:endParaRPr/>
          </a:p>
        </p:txBody>
      </p:sp>
      <p:sp>
        <p:nvSpPr>
          <p:cNvPr id="53" name="Google Shape;53;p6">
            <a:hlinkClick r:id="rId3" action="ppaction://hlinksldjump"/>
          </p:cNvPr>
          <p:cNvSpPr txBox="1">
            <a:spLocks noGrp="1"/>
          </p:cNvSpPr>
          <p:nvPr>
            <p:ph type="subTitle" idx="5"/>
          </p:nvPr>
        </p:nvSpPr>
        <p:spPr>
          <a:xfrm>
            <a:off x="14524100" y="5705025"/>
            <a:ext cx="8485200" cy="552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2400"/>
              <a:buFont typeface="Montserrat SemiBold"/>
              <a:buNone/>
              <a:defRPr sz="2400" u="sng">
                <a:solidFill>
                  <a:srgbClr val="002A44"/>
                </a:solidFill>
                <a:latin typeface="Montserrat SemiBold"/>
                <a:ea typeface="Montserrat SemiBold"/>
                <a:cs typeface="Montserrat SemiBold"/>
                <a:sym typeface="Montserrat SemiBold"/>
              </a:defRPr>
            </a:lvl1pPr>
            <a:lvl2pPr lvl="1"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2pPr>
            <a:lvl3pPr lvl="2"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3pPr>
            <a:lvl4pPr lvl="3"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4pPr>
            <a:lvl5pPr lvl="4"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5pPr>
            <a:lvl6pPr lvl="5"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6pPr>
            <a:lvl7pPr lvl="6"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7pPr>
            <a:lvl8pPr lvl="7"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8pPr>
            <a:lvl9pPr lvl="8"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9pPr>
          </a:lstStyle>
          <a:p>
            <a:endParaRPr/>
          </a:p>
        </p:txBody>
      </p:sp>
      <p:sp>
        <p:nvSpPr>
          <p:cNvPr id="54" name="Google Shape;54;p6"/>
          <p:cNvSpPr txBox="1">
            <a:spLocks noGrp="1"/>
          </p:cNvSpPr>
          <p:nvPr>
            <p:ph type="subTitle" idx="6"/>
          </p:nvPr>
        </p:nvSpPr>
        <p:spPr>
          <a:xfrm>
            <a:off x="14524100" y="6257325"/>
            <a:ext cx="8485200" cy="552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1800"/>
              <a:buFont typeface="Open Sans"/>
              <a:buNone/>
              <a:defRPr sz="1800">
                <a:solidFill>
                  <a:srgbClr val="002A44"/>
                </a:solidFill>
                <a:latin typeface="Open Sans"/>
                <a:ea typeface="Open Sans"/>
                <a:cs typeface="Open Sans"/>
                <a:sym typeface="Open Sans"/>
              </a:defRPr>
            </a:lvl1pPr>
            <a:lvl2pPr lvl="1"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2pPr>
            <a:lvl3pPr lvl="2"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3pPr>
            <a:lvl4pPr lvl="3"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4pPr>
            <a:lvl5pPr lvl="4"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5pPr>
            <a:lvl6pPr lvl="5"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6pPr>
            <a:lvl7pPr lvl="6"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7pPr>
            <a:lvl8pPr lvl="7"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8pPr>
            <a:lvl9pPr lvl="8"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9pPr>
          </a:lstStyle>
          <a:p>
            <a:endParaRPr/>
          </a:p>
        </p:txBody>
      </p:sp>
      <p:sp>
        <p:nvSpPr>
          <p:cNvPr id="55" name="Google Shape;55;p6">
            <a:hlinkClick r:id="rId3" action="ppaction://hlinksldjump"/>
          </p:cNvPr>
          <p:cNvSpPr txBox="1">
            <a:spLocks noGrp="1"/>
          </p:cNvSpPr>
          <p:nvPr>
            <p:ph type="subTitle" idx="7"/>
          </p:nvPr>
        </p:nvSpPr>
        <p:spPr>
          <a:xfrm>
            <a:off x="14524100" y="7186463"/>
            <a:ext cx="8485200" cy="552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2400"/>
              <a:buFont typeface="Montserrat SemiBold"/>
              <a:buNone/>
              <a:defRPr sz="2400" u="sng">
                <a:solidFill>
                  <a:srgbClr val="002A44"/>
                </a:solidFill>
                <a:latin typeface="Montserrat SemiBold"/>
                <a:ea typeface="Montserrat SemiBold"/>
                <a:cs typeface="Montserrat SemiBold"/>
                <a:sym typeface="Montserrat SemiBold"/>
              </a:defRPr>
            </a:lvl1pPr>
            <a:lvl2pPr lvl="1"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2pPr>
            <a:lvl3pPr lvl="2"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3pPr>
            <a:lvl4pPr lvl="3"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4pPr>
            <a:lvl5pPr lvl="4"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5pPr>
            <a:lvl6pPr lvl="5"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6pPr>
            <a:lvl7pPr lvl="6"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7pPr>
            <a:lvl8pPr lvl="7"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8pPr>
            <a:lvl9pPr lvl="8"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9pPr>
          </a:lstStyle>
          <a:p>
            <a:endParaRPr/>
          </a:p>
        </p:txBody>
      </p:sp>
      <p:sp>
        <p:nvSpPr>
          <p:cNvPr id="56" name="Google Shape;56;p6"/>
          <p:cNvSpPr txBox="1">
            <a:spLocks noGrp="1"/>
          </p:cNvSpPr>
          <p:nvPr>
            <p:ph type="subTitle" idx="8"/>
          </p:nvPr>
        </p:nvSpPr>
        <p:spPr>
          <a:xfrm>
            <a:off x="14524100" y="7738763"/>
            <a:ext cx="8485200" cy="552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1800"/>
              <a:buFont typeface="Open Sans"/>
              <a:buNone/>
              <a:defRPr sz="1800">
                <a:solidFill>
                  <a:srgbClr val="002A44"/>
                </a:solidFill>
                <a:latin typeface="Open Sans"/>
                <a:ea typeface="Open Sans"/>
                <a:cs typeface="Open Sans"/>
                <a:sym typeface="Open Sans"/>
              </a:defRPr>
            </a:lvl1pPr>
            <a:lvl2pPr lvl="1"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2pPr>
            <a:lvl3pPr lvl="2"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3pPr>
            <a:lvl4pPr lvl="3"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4pPr>
            <a:lvl5pPr lvl="4"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5pPr>
            <a:lvl6pPr lvl="5"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6pPr>
            <a:lvl7pPr lvl="6"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7pPr>
            <a:lvl8pPr lvl="7"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8pPr>
            <a:lvl9pPr lvl="8"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9pPr>
          </a:lstStyle>
          <a:p>
            <a:endParaRPr/>
          </a:p>
        </p:txBody>
      </p:sp>
      <p:sp>
        <p:nvSpPr>
          <p:cNvPr id="57" name="Google Shape;57;p6">
            <a:hlinkClick r:id="rId3" action="ppaction://hlinksldjump"/>
          </p:cNvPr>
          <p:cNvSpPr txBox="1">
            <a:spLocks noGrp="1"/>
          </p:cNvSpPr>
          <p:nvPr>
            <p:ph type="subTitle" idx="9"/>
          </p:nvPr>
        </p:nvSpPr>
        <p:spPr>
          <a:xfrm>
            <a:off x="14524100" y="8558050"/>
            <a:ext cx="8485200" cy="552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2400"/>
              <a:buFont typeface="Montserrat SemiBold"/>
              <a:buNone/>
              <a:defRPr sz="2400" u="sng">
                <a:solidFill>
                  <a:srgbClr val="002A44"/>
                </a:solidFill>
                <a:latin typeface="Montserrat SemiBold"/>
                <a:ea typeface="Montserrat SemiBold"/>
                <a:cs typeface="Montserrat SemiBold"/>
                <a:sym typeface="Montserrat SemiBold"/>
              </a:defRPr>
            </a:lvl1pPr>
            <a:lvl2pPr lvl="1"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2pPr>
            <a:lvl3pPr lvl="2"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3pPr>
            <a:lvl4pPr lvl="3"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4pPr>
            <a:lvl5pPr lvl="4"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5pPr>
            <a:lvl6pPr lvl="5"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6pPr>
            <a:lvl7pPr lvl="6"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7pPr>
            <a:lvl8pPr lvl="7"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8pPr>
            <a:lvl9pPr lvl="8"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9pPr>
          </a:lstStyle>
          <a:p>
            <a:endParaRPr/>
          </a:p>
        </p:txBody>
      </p:sp>
      <p:sp>
        <p:nvSpPr>
          <p:cNvPr id="58" name="Google Shape;58;p6"/>
          <p:cNvSpPr txBox="1">
            <a:spLocks noGrp="1"/>
          </p:cNvSpPr>
          <p:nvPr>
            <p:ph type="subTitle" idx="13"/>
          </p:nvPr>
        </p:nvSpPr>
        <p:spPr>
          <a:xfrm>
            <a:off x="14524100" y="9110350"/>
            <a:ext cx="8485200" cy="552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1800"/>
              <a:buFont typeface="Open Sans"/>
              <a:buNone/>
              <a:defRPr sz="1800">
                <a:solidFill>
                  <a:srgbClr val="002A44"/>
                </a:solidFill>
                <a:latin typeface="Open Sans"/>
                <a:ea typeface="Open Sans"/>
                <a:cs typeface="Open Sans"/>
                <a:sym typeface="Open Sans"/>
              </a:defRPr>
            </a:lvl1pPr>
            <a:lvl2pPr lvl="1"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2pPr>
            <a:lvl3pPr lvl="2"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3pPr>
            <a:lvl4pPr lvl="3"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4pPr>
            <a:lvl5pPr lvl="4"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5pPr>
            <a:lvl6pPr lvl="5"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6pPr>
            <a:lvl7pPr lvl="6"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7pPr>
            <a:lvl8pPr lvl="7"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8pPr>
            <a:lvl9pPr lvl="8"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9pPr>
          </a:lstStyle>
          <a:p>
            <a:endParaRPr/>
          </a:p>
        </p:txBody>
      </p:sp>
      <p:sp>
        <p:nvSpPr>
          <p:cNvPr id="59" name="Google Shape;59;p6">
            <a:hlinkClick r:id="rId3" action="ppaction://hlinksldjump"/>
          </p:cNvPr>
          <p:cNvSpPr txBox="1">
            <a:spLocks noGrp="1"/>
          </p:cNvSpPr>
          <p:nvPr>
            <p:ph type="subTitle" idx="14"/>
          </p:nvPr>
        </p:nvSpPr>
        <p:spPr>
          <a:xfrm>
            <a:off x="14524100" y="10077625"/>
            <a:ext cx="8485200" cy="552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2400"/>
              <a:buFont typeface="Montserrat SemiBold"/>
              <a:buNone/>
              <a:defRPr sz="2400" u="sng">
                <a:solidFill>
                  <a:srgbClr val="002A44"/>
                </a:solidFill>
                <a:latin typeface="Montserrat SemiBold"/>
                <a:ea typeface="Montserrat SemiBold"/>
                <a:cs typeface="Montserrat SemiBold"/>
                <a:sym typeface="Montserrat SemiBold"/>
              </a:defRPr>
            </a:lvl1pPr>
            <a:lvl2pPr lvl="1"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2pPr>
            <a:lvl3pPr lvl="2"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3pPr>
            <a:lvl4pPr lvl="3"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4pPr>
            <a:lvl5pPr lvl="4"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5pPr>
            <a:lvl6pPr lvl="5"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6pPr>
            <a:lvl7pPr lvl="6"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7pPr>
            <a:lvl8pPr lvl="7"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8pPr>
            <a:lvl9pPr lvl="8"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9pPr>
          </a:lstStyle>
          <a:p>
            <a:endParaRPr/>
          </a:p>
        </p:txBody>
      </p:sp>
      <p:sp>
        <p:nvSpPr>
          <p:cNvPr id="60" name="Google Shape;60;p6"/>
          <p:cNvSpPr txBox="1">
            <a:spLocks noGrp="1"/>
          </p:cNvSpPr>
          <p:nvPr>
            <p:ph type="subTitle" idx="15"/>
          </p:nvPr>
        </p:nvSpPr>
        <p:spPr>
          <a:xfrm>
            <a:off x="14524100" y="10629925"/>
            <a:ext cx="8485200" cy="552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1800"/>
              <a:buFont typeface="Open Sans"/>
              <a:buNone/>
              <a:defRPr sz="1800">
                <a:solidFill>
                  <a:srgbClr val="002A44"/>
                </a:solidFill>
                <a:latin typeface="Open Sans"/>
                <a:ea typeface="Open Sans"/>
                <a:cs typeface="Open Sans"/>
                <a:sym typeface="Open Sans"/>
              </a:defRPr>
            </a:lvl1pPr>
            <a:lvl2pPr lvl="1"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2pPr>
            <a:lvl3pPr lvl="2"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3pPr>
            <a:lvl4pPr lvl="3"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4pPr>
            <a:lvl5pPr lvl="4"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5pPr>
            <a:lvl6pPr lvl="5"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6pPr>
            <a:lvl7pPr lvl="6"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7pPr>
            <a:lvl8pPr lvl="7"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8pPr>
            <a:lvl9pPr lvl="8" rtl="0">
              <a:spcBef>
                <a:spcPts val="0"/>
              </a:spcBef>
              <a:spcAft>
                <a:spcPts val="0"/>
              </a:spcAft>
              <a:buClr>
                <a:srgbClr val="002A44"/>
              </a:buClr>
              <a:buSzPts val="2400"/>
              <a:buFont typeface="Open Sans SemiBold"/>
              <a:buNone/>
              <a:defRPr sz="2400">
                <a:solidFill>
                  <a:srgbClr val="002A44"/>
                </a:solidFill>
                <a:latin typeface="Open Sans SemiBold"/>
                <a:ea typeface="Open Sans SemiBold"/>
                <a:cs typeface="Open Sans SemiBold"/>
                <a:sym typeface="Open Sans SemiBold"/>
              </a:defRPr>
            </a:lvl9pPr>
          </a:lstStyle>
          <a:p>
            <a:endParaRPr/>
          </a:p>
        </p:txBody>
      </p:sp>
      <p:sp>
        <p:nvSpPr>
          <p:cNvPr id="61" name="Google Shape;61;p6"/>
          <p:cNvSpPr txBox="1">
            <a:spLocks noGrp="1"/>
          </p:cNvSpPr>
          <p:nvPr>
            <p:ph type="title" idx="16"/>
          </p:nvPr>
        </p:nvSpPr>
        <p:spPr>
          <a:xfrm>
            <a:off x="11936150" y="2623700"/>
            <a:ext cx="4148400" cy="14091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rgbClr val="002A44"/>
              </a:buClr>
              <a:buSzPts val="8400"/>
              <a:buFont typeface="Montserrat Black"/>
              <a:buNone/>
              <a:defRPr sz="8400">
                <a:solidFill>
                  <a:srgbClr val="002A44"/>
                </a:solidFill>
                <a:latin typeface="Montserrat Black"/>
                <a:ea typeface="Montserrat Black"/>
                <a:cs typeface="Montserrat Black"/>
                <a:sym typeface="Montserrat Black"/>
              </a:defRPr>
            </a:lvl1pPr>
            <a:lvl2pPr lvl="1" algn="ctr" rtl="0">
              <a:spcBef>
                <a:spcPts val="0"/>
              </a:spcBef>
              <a:spcAft>
                <a:spcPts val="0"/>
              </a:spcAft>
              <a:buSzPts val="8400"/>
              <a:buNone/>
              <a:defRPr sz="8400"/>
            </a:lvl2pPr>
            <a:lvl3pPr lvl="2" algn="ctr" rtl="0">
              <a:spcBef>
                <a:spcPts val="0"/>
              </a:spcBef>
              <a:spcAft>
                <a:spcPts val="0"/>
              </a:spcAft>
              <a:buSzPts val="8400"/>
              <a:buNone/>
              <a:defRPr sz="8400"/>
            </a:lvl3pPr>
            <a:lvl4pPr lvl="3" algn="ctr" rtl="0">
              <a:spcBef>
                <a:spcPts val="0"/>
              </a:spcBef>
              <a:spcAft>
                <a:spcPts val="0"/>
              </a:spcAft>
              <a:buSzPts val="8400"/>
              <a:buNone/>
              <a:defRPr sz="8400"/>
            </a:lvl4pPr>
            <a:lvl5pPr lvl="4" algn="ctr" rtl="0">
              <a:spcBef>
                <a:spcPts val="0"/>
              </a:spcBef>
              <a:spcAft>
                <a:spcPts val="0"/>
              </a:spcAft>
              <a:buSzPts val="8400"/>
              <a:buNone/>
              <a:defRPr sz="8400"/>
            </a:lvl5pPr>
            <a:lvl6pPr lvl="5" algn="ctr" rtl="0">
              <a:spcBef>
                <a:spcPts val="0"/>
              </a:spcBef>
              <a:spcAft>
                <a:spcPts val="0"/>
              </a:spcAft>
              <a:buSzPts val="8400"/>
              <a:buNone/>
              <a:defRPr sz="8400"/>
            </a:lvl6pPr>
            <a:lvl7pPr lvl="6" algn="ctr" rtl="0">
              <a:spcBef>
                <a:spcPts val="0"/>
              </a:spcBef>
              <a:spcAft>
                <a:spcPts val="0"/>
              </a:spcAft>
              <a:buSzPts val="8400"/>
              <a:buNone/>
              <a:defRPr sz="8400"/>
            </a:lvl7pPr>
            <a:lvl8pPr lvl="7" algn="ctr" rtl="0">
              <a:spcBef>
                <a:spcPts val="0"/>
              </a:spcBef>
              <a:spcAft>
                <a:spcPts val="0"/>
              </a:spcAft>
              <a:buSzPts val="8400"/>
              <a:buNone/>
              <a:defRPr sz="8400"/>
            </a:lvl8pPr>
            <a:lvl9pPr lvl="8" algn="ctr" rtl="0">
              <a:spcBef>
                <a:spcPts val="0"/>
              </a:spcBef>
              <a:spcAft>
                <a:spcPts val="0"/>
              </a:spcAft>
              <a:buSzPts val="8400"/>
              <a:buNone/>
              <a:defRPr sz="8400"/>
            </a:lvl9pPr>
          </a:lstStyle>
          <a:p>
            <a:endParaRPr/>
          </a:p>
        </p:txBody>
      </p:sp>
      <p:sp>
        <p:nvSpPr>
          <p:cNvPr id="62" name="Google Shape;62;p6"/>
          <p:cNvSpPr txBox="1">
            <a:spLocks noGrp="1"/>
          </p:cNvSpPr>
          <p:nvPr>
            <p:ph type="title" idx="17"/>
          </p:nvPr>
        </p:nvSpPr>
        <p:spPr>
          <a:xfrm>
            <a:off x="11936150" y="4012275"/>
            <a:ext cx="4148400" cy="14091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rgbClr val="002A44"/>
              </a:buClr>
              <a:buSzPts val="8400"/>
              <a:buFont typeface="Montserrat Black"/>
              <a:buNone/>
              <a:defRPr sz="8400">
                <a:solidFill>
                  <a:srgbClr val="002A44"/>
                </a:solidFill>
                <a:latin typeface="Montserrat Black"/>
                <a:ea typeface="Montserrat Black"/>
                <a:cs typeface="Montserrat Black"/>
                <a:sym typeface="Montserrat Black"/>
              </a:defRPr>
            </a:lvl1pPr>
            <a:lvl2pPr lvl="1" algn="ctr" rtl="0">
              <a:spcBef>
                <a:spcPts val="0"/>
              </a:spcBef>
              <a:spcAft>
                <a:spcPts val="0"/>
              </a:spcAft>
              <a:buSzPts val="8400"/>
              <a:buNone/>
              <a:defRPr sz="8400"/>
            </a:lvl2pPr>
            <a:lvl3pPr lvl="2" algn="ctr" rtl="0">
              <a:spcBef>
                <a:spcPts val="0"/>
              </a:spcBef>
              <a:spcAft>
                <a:spcPts val="0"/>
              </a:spcAft>
              <a:buSzPts val="8400"/>
              <a:buNone/>
              <a:defRPr sz="8400"/>
            </a:lvl3pPr>
            <a:lvl4pPr lvl="3" algn="ctr" rtl="0">
              <a:spcBef>
                <a:spcPts val="0"/>
              </a:spcBef>
              <a:spcAft>
                <a:spcPts val="0"/>
              </a:spcAft>
              <a:buSzPts val="8400"/>
              <a:buNone/>
              <a:defRPr sz="8400"/>
            </a:lvl4pPr>
            <a:lvl5pPr lvl="4" algn="ctr" rtl="0">
              <a:spcBef>
                <a:spcPts val="0"/>
              </a:spcBef>
              <a:spcAft>
                <a:spcPts val="0"/>
              </a:spcAft>
              <a:buSzPts val="8400"/>
              <a:buNone/>
              <a:defRPr sz="8400"/>
            </a:lvl5pPr>
            <a:lvl6pPr lvl="5" algn="ctr" rtl="0">
              <a:spcBef>
                <a:spcPts val="0"/>
              </a:spcBef>
              <a:spcAft>
                <a:spcPts val="0"/>
              </a:spcAft>
              <a:buSzPts val="8400"/>
              <a:buNone/>
              <a:defRPr sz="8400"/>
            </a:lvl6pPr>
            <a:lvl7pPr lvl="6" algn="ctr" rtl="0">
              <a:spcBef>
                <a:spcPts val="0"/>
              </a:spcBef>
              <a:spcAft>
                <a:spcPts val="0"/>
              </a:spcAft>
              <a:buSzPts val="8400"/>
              <a:buNone/>
              <a:defRPr sz="8400"/>
            </a:lvl7pPr>
            <a:lvl8pPr lvl="7" algn="ctr" rtl="0">
              <a:spcBef>
                <a:spcPts val="0"/>
              </a:spcBef>
              <a:spcAft>
                <a:spcPts val="0"/>
              </a:spcAft>
              <a:buSzPts val="8400"/>
              <a:buNone/>
              <a:defRPr sz="8400"/>
            </a:lvl8pPr>
            <a:lvl9pPr lvl="8" algn="ctr" rtl="0">
              <a:spcBef>
                <a:spcPts val="0"/>
              </a:spcBef>
              <a:spcAft>
                <a:spcPts val="0"/>
              </a:spcAft>
              <a:buSzPts val="8400"/>
              <a:buNone/>
              <a:defRPr sz="8400"/>
            </a:lvl9pPr>
          </a:lstStyle>
          <a:p>
            <a:endParaRPr/>
          </a:p>
        </p:txBody>
      </p:sp>
      <p:sp>
        <p:nvSpPr>
          <p:cNvPr id="63" name="Google Shape;63;p6"/>
          <p:cNvSpPr txBox="1">
            <a:spLocks noGrp="1"/>
          </p:cNvSpPr>
          <p:nvPr>
            <p:ph type="title" idx="18"/>
          </p:nvPr>
        </p:nvSpPr>
        <p:spPr>
          <a:xfrm>
            <a:off x="11936150" y="5494425"/>
            <a:ext cx="4148400" cy="14091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rgbClr val="002A44"/>
              </a:buClr>
              <a:buSzPts val="8400"/>
              <a:buFont typeface="Montserrat Black"/>
              <a:buNone/>
              <a:defRPr sz="8400">
                <a:solidFill>
                  <a:srgbClr val="002A44"/>
                </a:solidFill>
                <a:latin typeface="Montserrat Black"/>
                <a:ea typeface="Montserrat Black"/>
                <a:cs typeface="Montserrat Black"/>
                <a:sym typeface="Montserrat Black"/>
              </a:defRPr>
            </a:lvl1pPr>
            <a:lvl2pPr lvl="1" algn="ctr" rtl="0">
              <a:spcBef>
                <a:spcPts val="0"/>
              </a:spcBef>
              <a:spcAft>
                <a:spcPts val="0"/>
              </a:spcAft>
              <a:buSzPts val="8400"/>
              <a:buNone/>
              <a:defRPr sz="8400"/>
            </a:lvl2pPr>
            <a:lvl3pPr lvl="2" algn="ctr" rtl="0">
              <a:spcBef>
                <a:spcPts val="0"/>
              </a:spcBef>
              <a:spcAft>
                <a:spcPts val="0"/>
              </a:spcAft>
              <a:buSzPts val="8400"/>
              <a:buNone/>
              <a:defRPr sz="8400"/>
            </a:lvl3pPr>
            <a:lvl4pPr lvl="3" algn="ctr" rtl="0">
              <a:spcBef>
                <a:spcPts val="0"/>
              </a:spcBef>
              <a:spcAft>
                <a:spcPts val="0"/>
              </a:spcAft>
              <a:buSzPts val="8400"/>
              <a:buNone/>
              <a:defRPr sz="8400"/>
            </a:lvl4pPr>
            <a:lvl5pPr lvl="4" algn="ctr" rtl="0">
              <a:spcBef>
                <a:spcPts val="0"/>
              </a:spcBef>
              <a:spcAft>
                <a:spcPts val="0"/>
              </a:spcAft>
              <a:buSzPts val="8400"/>
              <a:buNone/>
              <a:defRPr sz="8400"/>
            </a:lvl5pPr>
            <a:lvl6pPr lvl="5" algn="ctr" rtl="0">
              <a:spcBef>
                <a:spcPts val="0"/>
              </a:spcBef>
              <a:spcAft>
                <a:spcPts val="0"/>
              </a:spcAft>
              <a:buSzPts val="8400"/>
              <a:buNone/>
              <a:defRPr sz="8400"/>
            </a:lvl6pPr>
            <a:lvl7pPr lvl="6" algn="ctr" rtl="0">
              <a:spcBef>
                <a:spcPts val="0"/>
              </a:spcBef>
              <a:spcAft>
                <a:spcPts val="0"/>
              </a:spcAft>
              <a:buSzPts val="8400"/>
              <a:buNone/>
              <a:defRPr sz="8400"/>
            </a:lvl7pPr>
            <a:lvl8pPr lvl="7" algn="ctr" rtl="0">
              <a:spcBef>
                <a:spcPts val="0"/>
              </a:spcBef>
              <a:spcAft>
                <a:spcPts val="0"/>
              </a:spcAft>
              <a:buSzPts val="8400"/>
              <a:buNone/>
              <a:defRPr sz="8400"/>
            </a:lvl8pPr>
            <a:lvl9pPr lvl="8" algn="ctr" rtl="0">
              <a:spcBef>
                <a:spcPts val="0"/>
              </a:spcBef>
              <a:spcAft>
                <a:spcPts val="0"/>
              </a:spcAft>
              <a:buSzPts val="8400"/>
              <a:buNone/>
              <a:defRPr sz="8400"/>
            </a:lvl9pPr>
          </a:lstStyle>
          <a:p>
            <a:endParaRPr/>
          </a:p>
        </p:txBody>
      </p:sp>
      <p:sp>
        <p:nvSpPr>
          <p:cNvPr id="64" name="Google Shape;64;p6"/>
          <p:cNvSpPr txBox="1">
            <a:spLocks noGrp="1"/>
          </p:cNvSpPr>
          <p:nvPr>
            <p:ph type="title" idx="19"/>
          </p:nvPr>
        </p:nvSpPr>
        <p:spPr>
          <a:xfrm>
            <a:off x="11936150" y="6976575"/>
            <a:ext cx="4148400" cy="14091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rgbClr val="002A44"/>
              </a:buClr>
              <a:buSzPts val="8400"/>
              <a:buFont typeface="Montserrat Black"/>
              <a:buNone/>
              <a:defRPr sz="8400">
                <a:solidFill>
                  <a:srgbClr val="002A44"/>
                </a:solidFill>
                <a:latin typeface="Montserrat Black"/>
                <a:ea typeface="Montserrat Black"/>
                <a:cs typeface="Montserrat Black"/>
                <a:sym typeface="Montserrat Black"/>
              </a:defRPr>
            </a:lvl1pPr>
            <a:lvl2pPr lvl="1" algn="ctr" rtl="0">
              <a:spcBef>
                <a:spcPts val="0"/>
              </a:spcBef>
              <a:spcAft>
                <a:spcPts val="0"/>
              </a:spcAft>
              <a:buSzPts val="8400"/>
              <a:buNone/>
              <a:defRPr sz="8400"/>
            </a:lvl2pPr>
            <a:lvl3pPr lvl="2" algn="ctr" rtl="0">
              <a:spcBef>
                <a:spcPts val="0"/>
              </a:spcBef>
              <a:spcAft>
                <a:spcPts val="0"/>
              </a:spcAft>
              <a:buSzPts val="8400"/>
              <a:buNone/>
              <a:defRPr sz="8400"/>
            </a:lvl3pPr>
            <a:lvl4pPr lvl="3" algn="ctr" rtl="0">
              <a:spcBef>
                <a:spcPts val="0"/>
              </a:spcBef>
              <a:spcAft>
                <a:spcPts val="0"/>
              </a:spcAft>
              <a:buSzPts val="8400"/>
              <a:buNone/>
              <a:defRPr sz="8400"/>
            </a:lvl4pPr>
            <a:lvl5pPr lvl="4" algn="ctr" rtl="0">
              <a:spcBef>
                <a:spcPts val="0"/>
              </a:spcBef>
              <a:spcAft>
                <a:spcPts val="0"/>
              </a:spcAft>
              <a:buSzPts val="8400"/>
              <a:buNone/>
              <a:defRPr sz="8400"/>
            </a:lvl5pPr>
            <a:lvl6pPr lvl="5" algn="ctr" rtl="0">
              <a:spcBef>
                <a:spcPts val="0"/>
              </a:spcBef>
              <a:spcAft>
                <a:spcPts val="0"/>
              </a:spcAft>
              <a:buSzPts val="8400"/>
              <a:buNone/>
              <a:defRPr sz="8400"/>
            </a:lvl6pPr>
            <a:lvl7pPr lvl="6" algn="ctr" rtl="0">
              <a:spcBef>
                <a:spcPts val="0"/>
              </a:spcBef>
              <a:spcAft>
                <a:spcPts val="0"/>
              </a:spcAft>
              <a:buSzPts val="8400"/>
              <a:buNone/>
              <a:defRPr sz="8400"/>
            </a:lvl7pPr>
            <a:lvl8pPr lvl="7" algn="ctr" rtl="0">
              <a:spcBef>
                <a:spcPts val="0"/>
              </a:spcBef>
              <a:spcAft>
                <a:spcPts val="0"/>
              </a:spcAft>
              <a:buSzPts val="8400"/>
              <a:buNone/>
              <a:defRPr sz="8400"/>
            </a:lvl8pPr>
            <a:lvl9pPr lvl="8" algn="ctr" rtl="0">
              <a:spcBef>
                <a:spcPts val="0"/>
              </a:spcBef>
              <a:spcAft>
                <a:spcPts val="0"/>
              </a:spcAft>
              <a:buSzPts val="8400"/>
              <a:buNone/>
              <a:defRPr sz="8400"/>
            </a:lvl9pPr>
          </a:lstStyle>
          <a:p>
            <a:endParaRPr/>
          </a:p>
        </p:txBody>
      </p:sp>
      <p:sp>
        <p:nvSpPr>
          <p:cNvPr id="65" name="Google Shape;65;p6"/>
          <p:cNvSpPr txBox="1">
            <a:spLocks noGrp="1"/>
          </p:cNvSpPr>
          <p:nvPr>
            <p:ph type="title" idx="20"/>
          </p:nvPr>
        </p:nvSpPr>
        <p:spPr>
          <a:xfrm>
            <a:off x="11936150" y="8344225"/>
            <a:ext cx="4148400" cy="14091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rgbClr val="002A44"/>
              </a:buClr>
              <a:buSzPts val="8400"/>
              <a:buFont typeface="Montserrat Black"/>
              <a:buNone/>
              <a:defRPr sz="8400">
                <a:solidFill>
                  <a:srgbClr val="002A44"/>
                </a:solidFill>
                <a:latin typeface="Montserrat Black"/>
                <a:ea typeface="Montserrat Black"/>
                <a:cs typeface="Montserrat Black"/>
                <a:sym typeface="Montserrat Black"/>
              </a:defRPr>
            </a:lvl1pPr>
            <a:lvl2pPr lvl="1" algn="ctr" rtl="0">
              <a:spcBef>
                <a:spcPts val="0"/>
              </a:spcBef>
              <a:spcAft>
                <a:spcPts val="0"/>
              </a:spcAft>
              <a:buSzPts val="8400"/>
              <a:buNone/>
              <a:defRPr sz="8400"/>
            </a:lvl2pPr>
            <a:lvl3pPr lvl="2" algn="ctr" rtl="0">
              <a:spcBef>
                <a:spcPts val="0"/>
              </a:spcBef>
              <a:spcAft>
                <a:spcPts val="0"/>
              </a:spcAft>
              <a:buSzPts val="8400"/>
              <a:buNone/>
              <a:defRPr sz="8400"/>
            </a:lvl3pPr>
            <a:lvl4pPr lvl="3" algn="ctr" rtl="0">
              <a:spcBef>
                <a:spcPts val="0"/>
              </a:spcBef>
              <a:spcAft>
                <a:spcPts val="0"/>
              </a:spcAft>
              <a:buSzPts val="8400"/>
              <a:buNone/>
              <a:defRPr sz="8400"/>
            </a:lvl4pPr>
            <a:lvl5pPr lvl="4" algn="ctr" rtl="0">
              <a:spcBef>
                <a:spcPts val="0"/>
              </a:spcBef>
              <a:spcAft>
                <a:spcPts val="0"/>
              </a:spcAft>
              <a:buSzPts val="8400"/>
              <a:buNone/>
              <a:defRPr sz="8400"/>
            </a:lvl5pPr>
            <a:lvl6pPr lvl="5" algn="ctr" rtl="0">
              <a:spcBef>
                <a:spcPts val="0"/>
              </a:spcBef>
              <a:spcAft>
                <a:spcPts val="0"/>
              </a:spcAft>
              <a:buSzPts val="8400"/>
              <a:buNone/>
              <a:defRPr sz="8400"/>
            </a:lvl6pPr>
            <a:lvl7pPr lvl="6" algn="ctr" rtl="0">
              <a:spcBef>
                <a:spcPts val="0"/>
              </a:spcBef>
              <a:spcAft>
                <a:spcPts val="0"/>
              </a:spcAft>
              <a:buSzPts val="8400"/>
              <a:buNone/>
              <a:defRPr sz="8400"/>
            </a:lvl7pPr>
            <a:lvl8pPr lvl="7" algn="ctr" rtl="0">
              <a:spcBef>
                <a:spcPts val="0"/>
              </a:spcBef>
              <a:spcAft>
                <a:spcPts val="0"/>
              </a:spcAft>
              <a:buSzPts val="8400"/>
              <a:buNone/>
              <a:defRPr sz="8400"/>
            </a:lvl8pPr>
            <a:lvl9pPr lvl="8" algn="ctr" rtl="0">
              <a:spcBef>
                <a:spcPts val="0"/>
              </a:spcBef>
              <a:spcAft>
                <a:spcPts val="0"/>
              </a:spcAft>
              <a:buSzPts val="8400"/>
              <a:buNone/>
              <a:defRPr sz="8400"/>
            </a:lvl9pPr>
          </a:lstStyle>
          <a:p>
            <a:endParaRPr/>
          </a:p>
        </p:txBody>
      </p:sp>
      <p:sp>
        <p:nvSpPr>
          <p:cNvPr id="66" name="Google Shape;66;p6"/>
          <p:cNvSpPr txBox="1">
            <a:spLocks noGrp="1"/>
          </p:cNvSpPr>
          <p:nvPr>
            <p:ph type="title" idx="21"/>
          </p:nvPr>
        </p:nvSpPr>
        <p:spPr>
          <a:xfrm>
            <a:off x="11936150" y="9849025"/>
            <a:ext cx="4148400" cy="14091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rgbClr val="002A44"/>
              </a:buClr>
              <a:buSzPts val="8400"/>
              <a:buFont typeface="Montserrat Black"/>
              <a:buNone/>
              <a:defRPr sz="8400">
                <a:solidFill>
                  <a:srgbClr val="002A44"/>
                </a:solidFill>
                <a:latin typeface="Montserrat Black"/>
                <a:ea typeface="Montserrat Black"/>
                <a:cs typeface="Montserrat Black"/>
                <a:sym typeface="Montserrat Black"/>
              </a:defRPr>
            </a:lvl1pPr>
            <a:lvl2pPr lvl="1" algn="ctr" rtl="0">
              <a:spcBef>
                <a:spcPts val="0"/>
              </a:spcBef>
              <a:spcAft>
                <a:spcPts val="0"/>
              </a:spcAft>
              <a:buSzPts val="8400"/>
              <a:buNone/>
              <a:defRPr sz="8400"/>
            </a:lvl2pPr>
            <a:lvl3pPr lvl="2" algn="ctr" rtl="0">
              <a:spcBef>
                <a:spcPts val="0"/>
              </a:spcBef>
              <a:spcAft>
                <a:spcPts val="0"/>
              </a:spcAft>
              <a:buSzPts val="8400"/>
              <a:buNone/>
              <a:defRPr sz="8400"/>
            </a:lvl3pPr>
            <a:lvl4pPr lvl="3" algn="ctr" rtl="0">
              <a:spcBef>
                <a:spcPts val="0"/>
              </a:spcBef>
              <a:spcAft>
                <a:spcPts val="0"/>
              </a:spcAft>
              <a:buSzPts val="8400"/>
              <a:buNone/>
              <a:defRPr sz="8400"/>
            </a:lvl4pPr>
            <a:lvl5pPr lvl="4" algn="ctr" rtl="0">
              <a:spcBef>
                <a:spcPts val="0"/>
              </a:spcBef>
              <a:spcAft>
                <a:spcPts val="0"/>
              </a:spcAft>
              <a:buSzPts val="8400"/>
              <a:buNone/>
              <a:defRPr sz="8400"/>
            </a:lvl5pPr>
            <a:lvl6pPr lvl="5" algn="ctr" rtl="0">
              <a:spcBef>
                <a:spcPts val="0"/>
              </a:spcBef>
              <a:spcAft>
                <a:spcPts val="0"/>
              </a:spcAft>
              <a:buSzPts val="8400"/>
              <a:buNone/>
              <a:defRPr sz="8400"/>
            </a:lvl6pPr>
            <a:lvl7pPr lvl="6" algn="ctr" rtl="0">
              <a:spcBef>
                <a:spcPts val="0"/>
              </a:spcBef>
              <a:spcAft>
                <a:spcPts val="0"/>
              </a:spcAft>
              <a:buSzPts val="8400"/>
              <a:buNone/>
              <a:defRPr sz="8400"/>
            </a:lvl7pPr>
            <a:lvl8pPr lvl="7" algn="ctr" rtl="0">
              <a:spcBef>
                <a:spcPts val="0"/>
              </a:spcBef>
              <a:spcAft>
                <a:spcPts val="0"/>
              </a:spcAft>
              <a:buSzPts val="8400"/>
              <a:buNone/>
              <a:defRPr sz="8400"/>
            </a:lvl8pPr>
            <a:lvl9pPr lvl="8" algn="ctr" rtl="0">
              <a:spcBef>
                <a:spcPts val="0"/>
              </a:spcBef>
              <a:spcAft>
                <a:spcPts val="0"/>
              </a:spcAft>
              <a:buSzPts val="8400"/>
              <a:buNone/>
              <a:defRPr sz="8400"/>
            </a:lvl9pPr>
          </a:lstStyle>
          <a:p>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Numerical Stats.- 4">
  <p:cSld name="Numerical Stats.- 4">
    <p:bg>
      <p:bgPr>
        <a:solidFill>
          <a:srgbClr val="002A44"/>
        </a:solidFill>
        <a:effectLst/>
      </p:bgPr>
    </p:bg>
    <p:spTree>
      <p:nvGrpSpPr>
        <p:cNvPr id="1" name="Shape 703"/>
        <p:cNvGrpSpPr/>
        <p:nvPr/>
      </p:nvGrpSpPr>
      <p:grpSpPr>
        <a:xfrm>
          <a:off x="0" y="0"/>
          <a:ext cx="0" cy="0"/>
          <a:chOff x="0" y="0"/>
          <a:chExt cx="0" cy="0"/>
        </a:xfrm>
      </p:grpSpPr>
      <p:sp>
        <p:nvSpPr>
          <p:cNvPr id="704" name="Google Shape;704;p54"/>
          <p:cNvSpPr/>
          <p:nvPr/>
        </p:nvSpPr>
        <p:spPr>
          <a:xfrm>
            <a:off x="22412037" y="536597"/>
            <a:ext cx="1515111" cy="1515111"/>
          </a:xfrm>
          <a:custGeom>
            <a:avLst/>
            <a:gdLst/>
            <a:ahLst/>
            <a:cxnLst/>
            <a:rect l="l" t="t" r="r" b="b"/>
            <a:pathLst>
              <a:path w="1137044" h="1137044" extrusionOk="0">
                <a:moveTo>
                  <a:pt x="0" y="0"/>
                </a:moveTo>
                <a:lnTo>
                  <a:pt x="1137044" y="0"/>
                </a:lnTo>
                <a:lnTo>
                  <a:pt x="1137044" y="1137044"/>
                </a:lnTo>
                <a:lnTo>
                  <a:pt x="0" y="1137044"/>
                </a:lnTo>
                <a:lnTo>
                  <a:pt x="0" y="0"/>
                </a:lnTo>
                <a:close/>
              </a:path>
            </a:pathLst>
          </a:custGeom>
          <a:blipFill rotWithShape="1">
            <a:blip r:embed="rId2">
              <a:alphaModFix/>
            </a:blip>
            <a:stretch>
              <a:fillRect/>
            </a:stretch>
          </a:blipFill>
          <a:ln>
            <a:noFill/>
          </a:ln>
        </p:spPr>
      </p:sp>
      <p:sp>
        <p:nvSpPr>
          <p:cNvPr id="705" name="Google Shape;705;p54"/>
          <p:cNvSpPr txBox="1">
            <a:spLocks noGrp="1"/>
          </p:cNvSpPr>
          <p:nvPr>
            <p:ph type="title"/>
          </p:nvPr>
        </p:nvSpPr>
        <p:spPr>
          <a:xfrm>
            <a:off x="9569075" y="3005850"/>
            <a:ext cx="6106800" cy="14628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10800"/>
              <a:buFont typeface="Montserrat Black"/>
              <a:buNone/>
              <a:defRPr sz="10800">
                <a:solidFill>
                  <a:srgbClr val="C1F400"/>
                </a:solidFill>
                <a:latin typeface="Montserrat Black"/>
                <a:ea typeface="Montserrat Black"/>
                <a:cs typeface="Montserrat Black"/>
                <a:sym typeface="Montserrat Black"/>
              </a:defRPr>
            </a:lvl1pPr>
            <a:lvl2pPr lvl="1" rtl="0">
              <a:spcBef>
                <a:spcPts val="0"/>
              </a:spcBef>
              <a:spcAft>
                <a:spcPts val="0"/>
              </a:spcAft>
              <a:buClr>
                <a:srgbClr val="C1F400"/>
              </a:buClr>
              <a:buSzPts val="10800"/>
              <a:buNone/>
              <a:defRPr sz="10800">
                <a:solidFill>
                  <a:srgbClr val="C1F400"/>
                </a:solidFill>
              </a:defRPr>
            </a:lvl2pPr>
            <a:lvl3pPr lvl="2" rtl="0">
              <a:spcBef>
                <a:spcPts val="0"/>
              </a:spcBef>
              <a:spcAft>
                <a:spcPts val="0"/>
              </a:spcAft>
              <a:buClr>
                <a:srgbClr val="C1F400"/>
              </a:buClr>
              <a:buSzPts val="10800"/>
              <a:buNone/>
              <a:defRPr sz="10800">
                <a:solidFill>
                  <a:srgbClr val="C1F400"/>
                </a:solidFill>
              </a:defRPr>
            </a:lvl3pPr>
            <a:lvl4pPr lvl="3" rtl="0">
              <a:spcBef>
                <a:spcPts val="0"/>
              </a:spcBef>
              <a:spcAft>
                <a:spcPts val="0"/>
              </a:spcAft>
              <a:buClr>
                <a:srgbClr val="C1F400"/>
              </a:buClr>
              <a:buSzPts val="10800"/>
              <a:buNone/>
              <a:defRPr sz="10800">
                <a:solidFill>
                  <a:srgbClr val="C1F400"/>
                </a:solidFill>
              </a:defRPr>
            </a:lvl4pPr>
            <a:lvl5pPr lvl="4" rtl="0">
              <a:spcBef>
                <a:spcPts val="0"/>
              </a:spcBef>
              <a:spcAft>
                <a:spcPts val="0"/>
              </a:spcAft>
              <a:buClr>
                <a:srgbClr val="C1F400"/>
              </a:buClr>
              <a:buSzPts val="10800"/>
              <a:buNone/>
              <a:defRPr sz="10800">
                <a:solidFill>
                  <a:srgbClr val="C1F400"/>
                </a:solidFill>
              </a:defRPr>
            </a:lvl5pPr>
            <a:lvl6pPr lvl="5" rtl="0">
              <a:spcBef>
                <a:spcPts val="0"/>
              </a:spcBef>
              <a:spcAft>
                <a:spcPts val="0"/>
              </a:spcAft>
              <a:buClr>
                <a:srgbClr val="C1F400"/>
              </a:buClr>
              <a:buSzPts val="10800"/>
              <a:buNone/>
              <a:defRPr sz="10800">
                <a:solidFill>
                  <a:srgbClr val="C1F400"/>
                </a:solidFill>
              </a:defRPr>
            </a:lvl6pPr>
            <a:lvl7pPr lvl="6" rtl="0">
              <a:spcBef>
                <a:spcPts val="0"/>
              </a:spcBef>
              <a:spcAft>
                <a:spcPts val="0"/>
              </a:spcAft>
              <a:buClr>
                <a:srgbClr val="C1F400"/>
              </a:buClr>
              <a:buSzPts val="10800"/>
              <a:buNone/>
              <a:defRPr sz="10800">
                <a:solidFill>
                  <a:srgbClr val="C1F400"/>
                </a:solidFill>
              </a:defRPr>
            </a:lvl7pPr>
            <a:lvl8pPr lvl="7" rtl="0">
              <a:spcBef>
                <a:spcPts val="0"/>
              </a:spcBef>
              <a:spcAft>
                <a:spcPts val="0"/>
              </a:spcAft>
              <a:buClr>
                <a:srgbClr val="C1F400"/>
              </a:buClr>
              <a:buSzPts val="10800"/>
              <a:buNone/>
              <a:defRPr sz="10800">
                <a:solidFill>
                  <a:srgbClr val="C1F400"/>
                </a:solidFill>
              </a:defRPr>
            </a:lvl8pPr>
            <a:lvl9pPr lvl="8" rtl="0">
              <a:spcBef>
                <a:spcPts val="0"/>
              </a:spcBef>
              <a:spcAft>
                <a:spcPts val="0"/>
              </a:spcAft>
              <a:buClr>
                <a:srgbClr val="C1F400"/>
              </a:buClr>
              <a:buSzPts val="10800"/>
              <a:buNone/>
              <a:defRPr sz="10800">
                <a:solidFill>
                  <a:srgbClr val="C1F400"/>
                </a:solidFill>
              </a:defRPr>
            </a:lvl9pPr>
          </a:lstStyle>
          <a:p>
            <a:endParaRPr/>
          </a:p>
        </p:txBody>
      </p:sp>
      <p:sp>
        <p:nvSpPr>
          <p:cNvPr id="706" name="Google Shape;706;p54"/>
          <p:cNvSpPr txBox="1">
            <a:spLocks noGrp="1"/>
          </p:cNvSpPr>
          <p:nvPr>
            <p:ph type="title" idx="2"/>
          </p:nvPr>
        </p:nvSpPr>
        <p:spPr>
          <a:xfrm>
            <a:off x="16970000" y="3005850"/>
            <a:ext cx="6106800" cy="14628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10800"/>
              <a:buFont typeface="Montserrat Black"/>
              <a:buNone/>
              <a:defRPr sz="10800">
                <a:solidFill>
                  <a:srgbClr val="C1F400"/>
                </a:solidFill>
                <a:latin typeface="Montserrat Black"/>
                <a:ea typeface="Montserrat Black"/>
                <a:cs typeface="Montserrat Black"/>
                <a:sym typeface="Montserrat Black"/>
              </a:defRPr>
            </a:lvl1pPr>
            <a:lvl2pPr lvl="1" rtl="0">
              <a:spcBef>
                <a:spcPts val="0"/>
              </a:spcBef>
              <a:spcAft>
                <a:spcPts val="0"/>
              </a:spcAft>
              <a:buClr>
                <a:srgbClr val="C1F400"/>
              </a:buClr>
              <a:buSzPts val="10800"/>
              <a:buNone/>
              <a:defRPr sz="10800">
                <a:solidFill>
                  <a:srgbClr val="C1F400"/>
                </a:solidFill>
              </a:defRPr>
            </a:lvl2pPr>
            <a:lvl3pPr lvl="2" rtl="0">
              <a:spcBef>
                <a:spcPts val="0"/>
              </a:spcBef>
              <a:spcAft>
                <a:spcPts val="0"/>
              </a:spcAft>
              <a:buClr>
                <a:srgbClr val="C1F400"/>
              </a:buClr>
              <a:buSzPts val="10800"/>
              <a:buNone/>
              <a:defRPr sz="10800">
                <a:solidFill>
                  <a:srgbClr val="C1F400"/>
                </a:solidFill>
              </a:defRPr>
            </a:lvl3pPr>
            <a:lvl4pPr lvl="3" rtl="0">
              <a:spcBef>
                <a:spcPts val="0"/>
              </a:spcBef>
              <a:spcAft>
                <a:spcPts val="0"/>
              </a:spcAft>
              <a:buClr>
                <a:srgbClr val="C1F400"/>
              </a:buClr>
              <a:buSzPts val="10800"/>
              <a:buNone/>
              <a:defRPr sz="10800">
                <a:solidFill>
                  <a:srgbClr val="C1F400"/>
                </a:solidFill>
              </a:defRPr>
            </a:lvl4pPr>
            <a:lvl5pPr lvl="4" rtl="0">
              <a:spcBef>
                <a:spcPts val="0"/>
              </a:spcBef>
              <a:spcAft>
                <a:spcPts val="0"/>
              </a:spcAft>
              <a:buClr>
                <a:srgbClr val="C1F400"/>
              </a:buClr>
              <a:buSzPts val="10800"/>
              <a:buNone/>
              <a:defRPr sz="10800">
                <a:solidFill>
                  <a:srgbClr val="C1F400"/>
                </a:solidFill>
              </a:defRPr>
            </a:lvl5pPr>
            <a:lvl6pPr lvl="5" rtl="0">
              <a:spcBef>
                <a:spcPts val="0"/>
              </a:spcBef>
              <a:spcAft>
                <a:spcPts val="0"/>
              </a:spcAft>
              <a:buClr>
                <a:srgbClr val="C1F400"/>
              </a:buClr>
              <a:buSzPts val="10800"/>
              <a:buNone/>
              <a:defRPr sz="10800">
                <a:solidFill>
                  <a:srgbClr val="C1F400"/>
                </a:solidFill>
              </a:defRPr>
            </a:lvl6pPr>
            <a:lvl7pPr lvl="6" rtl="0">
              <a:spcBef>
                <a:spcPts val="0"/>
              </a:spcBef>
              <a:spcAft>
                <a:spcPts val="0"/>
              </a:spcAft>
              <a:buClr>
                <a:srgbClr val="C1F400"/>
              </a:buClr>
              <a:buSzPts val="10800"/>
              <a:buNone/>
              <a:defRPr sz="10800">
                <a:solidFill>
                  <a:srgbClr val="C1F400"/>
                </a:solidFill>
              </a:defRPr>
            </a:lvl7pPr>
            <a:lvl8pPr lvl="7" rtl="0">
              <a:spcBef>
                <a:spcPts val="0"/>
              </a:spcBef>
              <a:spcAft>
                <a:spcPts val="0"/>
              </a:spcAft>
              <a:buClr>
                <a:srgbClr val="C1F400"/>
              </a:buClr>
              <a:buSzPts val="10800"/>
              <a:buNone/>
              <a:defRPr sz="10800">
                <a:solidFill>
                  <a:srgbClr val="C1F400"/>
                </a:solidFill>
              </a:defRPr>
            </a:lvl8pPr>
            <a:lvl9pPr lvl="8" rtl="0">
              <a:spcBef>
                <a:spcPts val="0"/>
              </a:spcBef>
              <a:spcAft>
                <a:spcPts val="0"/>
              </a:spcAft>
              <a:buClr>
                <a:srgbClr val="C1F400"/>
              </a:buClr>
              <a:buSzPts val="10800"/>
              <a:buNone/>
              <a:defRPr sz="10800">
                <a:solidFill>
                  <a:srgbClr val="C1F400"/>
                </a:solidFill>
              </a:defRPr>
            </a:lvl9pPr>
          </a:lstStyle>
          <a:p>
            <a:endParaRPr/>
          </a:p>
        </p:txBody>
      </p:sp>
      <p:sp>
        <p:nvSpPr>
          <p:cNvPr id="707" name="Google Shape;707;p54"/>
          <p:cNvSpPr txBox="1">
            <a:spLocks noGrp="1"/>
          </p:cNvSpPr>
          <p:nvPr>
            <p:ph type="title" idx="3"/>
          </p:nvPr>
        </p:nvSpPr>
        <p:spPr>
          <a:xfrm>
            <a:off x="9666200" y="4937900"/>
            <a:ext cx="3922500" cy="737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3600"/>
              <a:buFont typeface="Montserrat Black"/>
              <a:buNone/>
              <a:defRPr sz="3600">
                <a:solidFill>
                  <a:schemeClr val="lt1"/>
                </a:solidFill>
                <a:latin typeface="Montserrat Black"/>
                <a:ea typeface="Montserrat Black"/>
                <a:cs typeface="Montserrat Black"/>
                <a:sym typeface="Montserrat Black"/>
              </a:defRPr>
            </a:lvl1pPr>
            <a:lvl2pPr lvl="1" rtl="0">
              <a:spcBef>
                <a:spcPts val="0"/>
              </a:spcBef>
              <a:spcAft>
                <a:spcPts val="0"/>
              </a:spcAft>
              <a:buClr>
                <a:schemeClr val="lt1"/>
              </a:buClr>
              <a:buSzPts val="3600"/>
              <a:buNone/>
              <a:defRPr sz="3600">
                <a:solidFill>
                  <a:schemeClr val="lt1"/>
                </a:solidFill>
              </a:defRPr>
            </a:lvl2pPr>
            <a:lvl3pPr lvl="2" rtl="0">
              <a:spcBef>
                <a:spcPts val="0"/>
              </a:spcBef>
              <a:spcAft>
                <a:spcPts val="0"/>
              </a:spcAft>
              <a:buClr>
                <a:schemeClr val="lt1"/>
              </a:buClr>
              <a:buSzPts val="3600"/>
              <a:buNone/>
              <a:defRPr sz="3600">
                <a:solidFill>
                  <a:schemeClr val="lt1"/>
                </a:solidFill>
              </a:defRPr>
            </a:lvl3pPr>
            <a:lvl4pPr lvl="3" rtl="0">
              <a:spcBef>
                <a:spcPts val="0"/>
              </a:spcBef>
              <a:spcAft>
                <a:spcPts val="0"/>
              </a:spcAft>
              <a:buClr>
                <a:schemeClr val="lt1"/>
              </a:buClr>
              <a:buSzPts val="3600"/>
              <a:buNone/>
              <a:defRPr sz="3600">
                <a:solidFill>
                  <a:schemeClr val="lt1"/>
                </a:solidFill>
              </a:defRPr>
            </a:lvl4pPr>
            <a:lvl5pPr lvl="4" rtl="0">
              <a:spcBef>
                <a:spcPts val="0"/>
              </a:spcBef>
              <a:spcAft>
                <a:spcPts val="0"/>
              </a:spcAft>
              <a:buClr>
                <a:schemeClr val="lt1"/>
              </a:buClr>
              <a:buSzPts val="3600"/>
              <a:buNone/>
              <a:defRPr sz="3600">
                <a:solidFill>
                  <a:schemeClr val="lt1"/>
                </a:solidFill>
              </a:defRPr>
            </a:lvl5pPr>
            <a:lvl6pPr lvl="5" rtl="0">
              <a:spcBef>
                <a:spcPts val="0"/>
              </a:spcBef>
              <a:spcAft>
                <a:spcPts val="0"/>
              </a:spcAft>
              <a:buClr>
                <a:schemeClr val="lt1"/>
              </a:buClr>
              <a:buSzPts val="3600"/>
              <a:buNone/>
              <a:defRPr sz="3600">
                <a:solidFill>
                  <a:schemeClr val="lt1"/>
                </a:solidFill>
              </a:defRPr>
            </a:lvl6pPr>
            <a:lvl7pPr lvl="6" rtl="0">
              <a:spcBef>
                <a:spcPts val="0"/>
              </a:spcBef>
              <a:spcAft>
                <a:spcPts val="0"/>
              </a:spcAft>
              <a:buClr>
                <a:schemeClr val="lt1"/>
              </a:buClr>
              <a:buSzPts val="3600"/>
              <a:buNone/>
              <a:defRPr sz="3600">
                <a:solidFill>
                  <a:schemeClr val="lt1"/>
                </a:solidFill>
              </a:defRPr>
            </a:lvl7pPr>
            <a:lvl8pPr lvl="7" rtl="0">
              <a:spcBef>
                <a:spcPts val="0"/>
              </a:spcBef>
              <a:spcAft>
                <a:spcPts val="0"/>
              </a:spcAft>
              <a:buClr>
                <a:schemeClr val="lt1"/>
              </a:buClr>
              <a:buSzPts val="3600"/>
              <a:buNone/>
              <a:defRPr sz="3600">
                <a:solidFill>
                  <a:schemeClr val="lt1"/>
                </a:solidFill>
              </a:defRPr>
            </a:lvl8pPr>
            <a:lvl9pPr lvl="8" rtl="0">
              <a:spcBef>
                <a:spcPts val="0"/>
              </a:spcBef>
              <a:spcAft>
                <a:spcPts val="0"/>
              </a:spcAft>
              <a:buClr>
                <a:schemeClr val="lt1"/>
              </a:buClr>
              <a:buSzPts val="3600"/>
              <a:buNone/>
              <a:defRPr sz="3600">
                <a:solidFill>
                  <a:schemeClr val="lt1"/>
                </a:solidFill>
              </a:defRPr>
            </a:lvl9pPr>
          </a:lstStyle>
          <a:p>
            <a:endParaRPr/>
          </a:p>
        </p:txBody>
      </p:sp>
      <p:sp>
        <p:nvSpPr>
          <p:cNvPr id="708" name="Google Shape;708;p54"/>
          <p:cNvSpPr txBox="1">
            <a:spLocks noGrp="1"/>
          </p:cNvSpPr>
          <p:nvPr>
            <p:ph type="title" idx="4"/>
          </p:nvPr>
        </p:nvSpPr>
        <p:spPr>
          <a:xfrm>
            <a:off x="17018025" y="4937900"/>
            <a:ext cx="3922500" cy="737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3600"/>
              <a:buFont typeface="Montserrat Black"/>
              <a:buNone/>
              <a:defRPr sz="3600">
                <a:solidFill>
                  <a:schemeClr val="lt1"/>
                </a:solidFill>
                <a:latin typeface="Montserrat Black"/>
                <a:ea typeface="Montserrat Black"/>
                <a:cs typeface="Montserrat Black"/>
                <a:sym typeface="Montserrat Black"/>
              </a:defRPr>
            </a:lvl1pPr>
            <a:lvl2pPr lvl="1" rtl="0">
              <a:spcBef>
                <a:spcPts val="0"/>
              </a:spcBef>
              <a:spcAft>
                <a:spcPts val="0"/>
              </a:spcAft>
              <a:buClr>
                <a:schemeClr val="lt1"/>
              </a:buClr>
              <a:buSzPts val="3600"/>
              <a:buNone/>
              <a:defRPr sz="3600">
                <a:solidFill>
                  <a:schemeClr val="lt1"/>
                </a:solidFill>
              </a:defRPr>
            </a:lvl2pPr>
            <a:lvl3pPr lvl="2" rtl="0">
              <a:spcBef>
                <a:spcPts val="0"/>
              </a:spcBef>
              <a:spcAft>
                <a:spcPts val="0"/>
              </a:spcAft>
              <a:buClr>
                <a:schemeClr val="lt1"/>
              </a:buClr>
              <a:buSzPts val="3600"/>
              <a:buNone/>
              <a:defRPr sz="3600">
                <a:solidFill>
                  <a:schemeClr val="lt1"/>
                </a:solidFill>
              </a:defRPr>
            </a:lvl3pPr>
            <a:lvl4pPr lvl="3" rtl="0">
              <a:spcBef>
                <a:spcPts val="0"/>
              </a:spcBef>
              <a:spcAft>
                <a:spcPts val="0"/>
              </a:spcAft>
              <a:buClr>
                <a:schemeClr val="lt1"/>
              </a:buClr>
              <a:buSzPts val="3600"/>
              <a:buNone/>
              <a:defRPr sz="3600">
                <a:solidFill>
                  <a:schemeClr val="lt1"/>
                </a:solidFill>
              </a:defRPr>
            </a:lvl4pPr>
            <a:lvl5pPr lvl="4" rtl="0">
              <a:spcBef>
                <a:spcPts val="0"/>
              </a:spcBef>
              <a:spcAft>
                <a:spcPts val="0"/>
              </a:spcAft>
              <a:buClr>
                <a:schemeClr val="lt1"/>
              </a:buClr>
              <a:buSzPts val="3600"/>
              <a:buNone/>
              <a:defRPr sz="3600">
                <a:solidFill>
                  <a:schemeClr val="lt1"/>
                </a:solidFill>
              </a:defRPr>
            </a:lvl5pPr>
            <a:lvl6pPr lvl="5" rtl="0">
              <a:spcBef>
                <a:spcPts val="0"/>
              </a:spcBef>
              <a:spcAft>
                <a:spcPts val="0"/>
              </a:spcAft>
              <a:buClr>
                <a:schemeClr val="lt1"/>
              </a:buClr>
              <a:buSzPts val="3600"/>
              <a:buNone/>
              <a:defRPr sz="3600">
                <a:solidFill>
                  <a:schemeClr val="lt1"/>
                </a:solidFill>
              </a:defRPr>
            </a:lvl6pPr>
            <a:lvl7pPr lvl="6" rtl="0">
              <a:spcBef>
                <a:spcPts val="0"/>
              </a:spcBef>
              <a:spcAft>
                <a:spcPts val="0"/>
              </a:spcAft>
              <a:buClr>
                <a:schemeClr val="lt1"/>
              </a:buClr>
              <a:buSzPts val="3600"/>
              <a:buNone/>
              <a:defRPr sz="3600">
                <a:solidFill>
                  <a:schemeClr val="lt1"/>
                </a:solidFill>
              </a:defRPr>
            </a:lvl7pPr>
            <a:lvl8pPr lvl="7" rtl="0">
              <a:spcBef>
                <a:spcPts val="0"/>
              </a:spcBef>
              <a:spcAft>
                <a:spcPts val="0"/>
              </a:spcAft>
              <a:buClr>
                <a:schemeClr val="lt1"/>
              </a:buClr>
              <a:buSzPts val="3600"/>
              <a:buNone/>
              <a:defRPr sz="3600">
                <a:solidFill>
                  <a:schemeClr val="lt1"/>
                </a:solidFill>
              </a:defRPr>
            </a:lvl8pPr>
            <a:lvl9pPr lvl="8" rtl="0">
              <a:spcBef>
                <a:spcPts val="0"/>
              </a:spcBef>
              <a:spcAft>
                <a:spcPts val="0"/>
              </a:spcAft>
              <a:buClr>
                <a:schemeClr val="lt1"/>
              </a:buClr>
              <a:buSzPts val="3600"/>
              <a:buNone/>
              <a:defRPr sz="3600">
                <a:solidFill>
                  <a:schemeClr val="lt1"/>
                </a:solidFill>
              </a:defRPr>
            </a:lvl9pPr>
          </a:lstStyle>
          <a:p>
            <a:endParaRPr/>
          </a:p>
        </p:txBody>
      </p:sp>
      <p:sp>
        <p:nvSpPr>
          <p:cNvPr id="709" name="Google Shape;709;p54"/>
          <p:cNvSpPr txBox="1">
            <a:spLocks noGrp="1"/>
          </p:cNvSpPr>
          <p:nvPr>
            <p:ph type="title" idx="5"/>
          </p:nvPr>
        </p:nvSpPr>
        <p:spPr>
          <a:xfrm>
            <a:off x="1939550" y="3135700"/>
            <a:ext cx="6760800" cy="2382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7200"/>
              <a:buFont typeface="Montserrat Black"/>
              <a:buNone/>
              <a:defRPr sz="7200">
                <a:solidFill>
                  <a:schemeClr val="lt1"/>
                </a:solidFill>
                <a:latin typeface="Montserrat Black"/>
                <a:ea typeface="Montserrat Black"/>
                <a:cs typeface="Montserrat Black"/>
                <a:sym typeface="Montserrat Black"/>
              </a:defRPr>
            </a:lvl1pPr>
            <a:lvl2pPr lvl="1" rtl="0">
              <a:spcBef>
                <a:spcPts val="0"/>
              </a:spcBef>
              <a:spcAft>
                <a:spcPts val="0"/>
              </a:spcAft>
              <a:buSzPts val="7200"/>
              <a:buNone/>
              <a:defRPr sz="7200"/>
            </a:lvl2pPr>
            <a:lvl3pPr lvl="2" rtl="0">
              <a:spcBef>
                <a:spcPts val="0"/>
              </a:spcBef>
              <a:spcAft>
                <a:spcPts val="0"/>
              </a:spcAft>
              <a:buSzPts val="7200"/>
              <a:buNone/>
              <a:defRPr sz="7200"/>
            </a:lvl3pPr>
            <a:lvl4pPr lvl="3" rtl="0">
              <a:spcBef>
                <a:spcPts val="0"/>
              </a:spcBef>
              <a:spcAft>
                <a:spcPts val="0"/>
              </a:spcAft>
              <a:buSzPts val="7200"/>
              <a:buNone/>
              <a:defRPr sz="7200"/>
            </a:lvl4pPr>
            <a:lvl5pPr lvl="4" rtl="0">
              <a:spcBef>
                <a:spcPts val="0"/>
              </a:spcBef>
              <a:spcAft>
                <a:spcPts val="0"/>
              </a:spcAft>
              <a:buSzPts val="7200"/>
              <a:buNone/>
              <a:defRPr sz="7200"/>
            </a:lvl5pPr>
            <a:lvl6pPr lvl="5" rtl="0">
              <a:spcBef>
                <a:spcPts val="0"/>
              </a:spcBef>
              <a:spcAft>
                <a:spcPts val="0"/>
              </a:spcAft>
              <a:buSzPts val="7200"/>
              <a:buNone/>
              <a:defRPr sz="7200"/>
            </a:lvl6pPr>
            <a:lvl7pPr lvl="6" rtl="0">
              <a:spcBef>
                <a:spcPts val="0"/>
              </a:spcBef>
              <a:spcAft>
                <a:spcPts val="0"/>
              </a:spcAft>
              <a:buSzPts val="7200"/>
              <a:buNone/>
              <a:defRPr sz="7200"/>
            </a:lvl7pPr>
            <a:lvl8pPr lvl="7" rtl="0">
              <a:spcBef>
                <a:spcPts val="0"/>
              </a:spcBef>
              <a:spcAft>
                <a:spcPts val="0"/>
              </a:spcAft>
              <a:buSzPts val="7200"/>
              <a:buNone/>
              <a:defRPr sz="7200"/>
            </a:lvl8pPr>
            <a:lvl9pPr lvl="8" rtl="0">
              <a:spcBef>
                <a:spcPts val="0"/>
              </a:spcBef>
              <a:spcAft>
                <a:spcPts val="0"/>
              </a:spcAft>
              <a:buSzPts val="7200"/>
              <a:buNone/>
              <a:defRPr sz="7200"/>
            </a:lvl9pPr>
          </a:lstStyle>
          <a:p>
            <a:endParaRPr/>
          </a:p>
        </p:txBody>
      </p:sp>
      <p:sp>
        <p:nvSpPr>
          <p:cNvPr id="710" name="Google Shape;710;p54"/>
          <p:cNvSpPr txBox="1">
            <a:spLocks noGrp="1"/>
          </p:cNvSpPr>
          <p:nvPr>
            <p:ph type="subTitle" idx="1"/>
          </p:nvPr>
        </p:nvSpPr>
        <p:spPr>
          <a:xfrm>
            <a:off x="2026525" y="6951800"/>
            <a:ext cx="6080100" cy="24381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3600"/>
              <a:buFont typeface="Montserrat"/>
              <a:buNone/>
              <a:defRPr sz="3600">
                <a:solidFill>
                  <a:schemeClr val="lt1"/>
                </a:solidFill>
                <a:latin typeface="Montserrat"/>
                <a:ea typeface="Montserrat"/>
                <a:cs typeface="Montserrat"/>
                <a:sym typeface="Montserrat"/>
              </a:defRPr>
            </a:lvl1pPr>
            <a:lvl2pPr lvl="1" rtl="0">
              <a:spcBef>
                <a:spcPts val="0"/>
              </a:spcBef>
              <a:spcAft>
                <a:spcPts val="0"/>
              </a:spcAft>
              <a:buClr>
                <a:schemeClr val="lt1"/>
              </a:buClr>
              <a:buSzPts val="3600"/>
              <a:buNone/>
              <a:defRPr sz="3600">
                <a:solidFill>
                  <a:schemeClr val="lt1"/>
                </a:solidFill>
              </a:defRPr>
            </a:lvl2pPr>
            <a:lvl3pPr lvl="2" rtl="0">
              <a:spcBef>
                <a:spcPts val="0"/>
              </a:spcBef>
              <a:spcAft>
                <a:spcPts val="0"/>
              </a:spcAft>
              <a:buClr>
                <a:schemeClr val="lt1"/>
              </a:buClr>
              <a:buSzPts val="3600"/>
              <a:buNone/>
              <a:defRPr sz="3600">
                <a:solidFill>
                  <a:schemeClr val="lt1"/>
                </a:solidFill>
              </a:defRPr>
            </a:lvl3pPr>
            <a:lvl4pPr lvl="3" rtl="0">
              <a:spcBef>
                <a:spcPts val="0"/>
              </a:spcBef>
              <a:spcAft>
                <a:spcPts val="0"/>
              </a:spcAft>
              <a:buClr>
                <a:schemeClr val="lt1"/>
              </a:buClr>
              <a:buSzPts val="3600"/>
              <a:buNone/>
              <a:defRPr sz="3600">
                <a:solidFill>
                  <a:schemeClr val="lt1"/>
                </a:solidFill>
              </a:defRPr>
            </a:lvl4pPr>
            <a:lvl5pPr lvl="4" rtl="0">
              <a:spcBef>
                <a:spcPts val="0"/>
              </a:spcBef>
              <a:spcAft>
                <a:spcPts val="0"/>
              </a:spcAft>
              <a:buClr>
                <a:schemeClr val="lt1"/>
              </a:buClr>
              <a:buSzPts val="3600"/>
              <a:buNone/>
              <a:defRPr sz="3600">
                <a:solidFill>
                  <a:schemeClr val="lt1"/>
                </a:solidFill>
              </a:defRPr>
            </a:lvl5pPr>
            <a:lvl6pPr lvl="5" rtl="0">
              <a:spcBef>
                <a:spcPts val="0"/>
              </a:spcBef>
              <a:spcAft>
                <a:spcPts val="0"/>
              </a:spcAft>
              <a:buClr>
                <a:schemeClr val="lt1"/>
              </a:buClr>
              <a:buSzPts val="3600"/>
              <a:buNone/>
              <a:defRPr sz="3600">
                <a:solidFill>
                  <a:schemeClr val="lt1"/>
                </a:solidFill>
              </a:defRPr>
            </a:lvl6pPr>
            <a:lvl7pPr lvl="6" rtl="0">
              <a:spcBef>
                <a:spcPts val="0"/>
              </a:spcBef>
              <a:spcAft>
                <a:spcPts val="0"/>
              </a:spcAft>
              <a:buClr>
                <a:schemeClr val="lt1"/>
              </a:buClr>
              <a:buSzPts val="3600"/>
              <a:buNone/>
              <a:defRPr sz="3600">
                <a:solidFill>
                  <a:schemeClr val="lt1"/>
                </a:solidFill>
              </a:defRPr>
            </a:lvl7pPr>
            <a:lvl8pPr lvl="7" rtl="0">
              <a:spcBef>
                <a:spcPts val="0"/>
              </a:spcBef>
              <a:spcAft>
                <a:spcPts val="0"/>
              </a:spcAft>
              <a:buClr>
                <a:schemeClr val="lt1"/>
              </a:buClr>
              <a:buSzPts val="3600"/>
              <a:buNone/>
              <a:defRPr sz="3600">
                <a:solidFill>
                  <a:schemeClr val="lt1"/>
                </a:solidFill>
              </a:defRPr>
            </a:lvl8pPr>
            <a:lvl9pPr lvl="8" rtl="0">
              <a:spcBef>
                <a:spcPts val="0"/>
              </a:spcBef>
              <a:spcAft>
                <a:spcPts val="0"/>
              </a:spcAft>
              <a:buClr>
                <a:schemeClr val="lt1"/>
              </a:buClr>
              <a:buSzPts val="3600"/>
              <a:buNone/>
              <a:defRPr sz="3600">
                <a:solidFill>
                  <a:schemeClr val="lt1"/>
                </a:solidFill>
              </a:defRPr>
            </a:lvl9pPr>
          </a:lstStyle>
          <a:p>
            <a:endParaRPr/>
          </a:p>
        </p:txBody>
      </p:sp>
      <p:sp>
        <p:nvSpPr>
          <p:cNvPr id="711" name="Google Shape;711;p54"/>
          <p:cNvSpPr txBox="1">
            <a:spLocks noGrp="1"/>
          </p:cNvSpPr>
          <p:nvPr>
            <p:ph type="subTitle" idx="6"/>
          </p:nvPr>
        </p:nvSpPr>
        <p:spPr>
          <a:xfrm>
            <a:off x="9685075" y="6809450"/>
            <a:ext cx="3541200" cy="1643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1pPr>
            <a:lvl2pPr lvl="1"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2pPr>
            <a:lvl3pPr lvl="2"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3pPr>
            <a:lvl4pPr lvl="3"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4pPr>
            <a:lvl5pPr lvl="4"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5pPr>
            <a:lvl6pPr lvl="5"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6pPr>
            <a:lvl7pPr lvl="6"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7pPr>
            <a:lvl8pPr lvl="7"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8pPr>
            <a:lvl9pPr lvl="8"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9pPr>
          </a:lstStyle>
          <a:p>
            <a:endParaRPr/>
          </a:p>
        </p:txBody>
      </p:sp>
      <p:sp>
        <p:nvSpPr>
          <p:cNvPr id="712" name="Google Shape;712;p54"/>
          <p:cNvSpPr txBox="1">
            <a:spLocks noGrp="1"/>
          </p:cNvSpPr>
          <p:nvPr>
            <p:ph type="subTitle" idx="7"/>
          </p:nvPr>
        </p:nvSpPr>
        <p:spPr>
          <a:xfrm>
            <a:off x="17018025" y="6809450"/>
            <a:ext cx="3541200" cy="1643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1pPr>
            <a:lvl2pPr lvl="1"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2pPr>
            <a:lvl3pPr lvl="2"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3pPr>
            <a:lvl4pPr lvl="3"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4pPr>
            <a:lvl5pPr lvl="4"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5pPr>
            <a:lvl6pPr lvl="5"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6pPr>
            <a:lvl7pPr lvl="6"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7pPr>
            <a:lvl8pPr lvl="7"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8pPr>
            <a:lvl9pPr lvl="8"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9pPr>
          </a:lstStyle>
          <a:p>
            <a:endParaRPr/>
          </a:p>
        </p:txBody>
      </p:sp>
      <p:pic>
        <p:nvPicPr>
          <p:cNvPr id="713" name="Google Shape;713;p54"/>
          <p:cNvPicPr preferRelativeResize="0"/>
          <p:nvPr/>
        </p:nvPicPr>
        <p:blipFill rotWithShape="1">
          <a:blip r:embed="rId3">
            <a:alphaModFix/>
          </a:blip>
          <a:srcRect t="83846"/>
          <a:stretch/>
        </p:blipFill>
        <p:spPr>
          <a:xfrm>
            <a:off x="-2992950" y="-451525"/>
            <a:ext cx="24377651" cy="1515099"/>
          </a:xfrm>
          <a:prstGeom prst="rect">
            <a:avLst/>
          </a:prstGeom>
          <a:noFill/>
          <a:ln>
            <a:noFill/>
          </a:ln>
        </p:spPr>
      </p:pic>
      <p:pic>
        <p:nvPicPr>
          <p:cNvPr id="714" name="Google Shape;714;p54"/>
          <p:cNvPicPr preferRelativeResize="0"/>
          <p:nvPr/>
        </p:nvPicPr>
        <p:blipFill rotWithShape="1">
          <a:blip r:embed="rId3">
            <a:alphaModFix/>
          </a:blip>
          <a:srcRect b="93557"/>
          <a:stretch/>
        </p:blipFill>
        <p:spPr>
          <a:xfrm>
            <a:off x="0" y="13111675"/>
            <a:ext cx="24377651" cy="604325"/>
          </a:xfrm>
          <a:prstGeom prst="rect">
            <a:avLst/>
          </a:prstGeom>
          <a:noFill/>
          <a:ln>
            <a:noFill/>
          </a:ln>
        </p:spPr>
      </p:pic>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Closing - Next Steps">
  <p:cSld name="Closing - Next Steps">
    <p:bg>
      <p:bgPr>
        <a:solidFill>
          <a:srgbClr val="002A44"/>
        </a:solidFill>
        <a:effectLst/>
      </p:bgPr>
    </p:bg>
    <p:spTree>
      <p:nvGrpSpPr>
        <p:cNvPr id="1" name="Shape 715"/>
        <p:cNvGrpSpPr/>
        <p:nvPr/>
      </p:nvGrpSpPr>
      <p:grpSpPr>
        <a:xfrm>
          <a:off x="0" y="0"/>
          <a:ext cx="0" cy="0"/>
          <a:chOff x="0" y="0"/>
          <a:chExt cx="0" cy="0"/>
        </a:xfrm>
      </p:grpSpPr>
      <p:pic>
        <p:nvPicPr>
          <p:cNvPr id="716" name="Google Shape;716;p55"/>
          <p:cNvPicPr preferRelativeResize="0"/>
          <p:nvPr/>
        </p:nvPicPr>
        <p:blipFill>
          <a:blip r:embed="rId2">
            <a:alphaModFix/>
          </a:blip>
          <a:stretch>
            <a:fillRect/>
          </a:stretch>
        </p:blipFill>
        <p:spPr>
          <a:xfrm>
            <a:off x="0" y="4105875"/>
            <a:ext cx="24377651" cy="9016349"/>
          </a:xfrm>
          <a:prstGeom prst="rect">
            <a:avLst/>
          </a:prstGeom>
          <a:noFill/>
          <a:ln>
            <a:noFill/>
          </a:ln>
        </p:spPr>
      </p:pic>
      <p:sp>
        <p:nvSpPr>
          <p:cNvPr id="717" name="Google Shape;717;p55"/>
          <p:cNvSpPr txBox="1">
            <a:spLocks noGrp="1"/>
          </p:cNvSpPr>
          <p:nvPr>
            <p:ph type="title"/>
          </p:nvPr>
        </p:nvSpPr>
        <p:spPr>
          <a:xfrm>
            <a:off x="1568000" y="1607775"/>
            <a:ext cx="11431800" cy="26505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7200"/>
              <a:buFont typeface="Montserrat Black"/>
              <a:buNone/>
              <a:defRPr sz="7200">
                <a:solidFill>
                  <a:schemeClr val="lt1"/>
                </a:solidFill>
                <a:latin typeface="Montserrat Black"/>
                <a:ea typeface="Montserrat Black"/>
                <a:cs typeface="Montserrat Black"/>
                <a:sym typeface="Montserrat Black"/>
              </a:defRPr>
            </a:lvl1pPr>
            <a:lvl2pPr lvl="1" rtl="0">
              <a:spcBef>
                <a:spcPts val="0"/>
              </a:spcBef>
              <a:spcAft>
                <a:spcPts val="0"/>
              </a:spcAft>
              <a:buClr>
                <a:schemeClr val="lt1"/>
              </a:buClr>
              <a:buSzPts val="7200"/>
              <a:buNone/>
              <a:defRPr sz="7200">
                <a:solidFill>
                  <a:schemeClr val="lt1"/>
                </a:solidFill>
              </a:defRPr>
            </a:lvl2pPr>
            <a:lvl3pPr lvl="2" rtl="0">
              <a:spcBef>
                <a:spcPts val="0"/>
              </a:spcBef>
              <a:spcAft>
                <a:spcPts val="0"/>
              </a:spcAft>
              <a:buClr>
                <a:schemeClr val="lt1"/>
              </a:buClr>
              <a:buSzPts val="7200"/>
              <a:buNone/>
              <a:defRPr sz="7200">
                <a:solidFill>
                  <a:schemeClr val="lt1"/>
                </a:solidFill>
              </a:defRPr>
            </a:lvl3pPr>
            <a:lvl4pPr lvl="3" rtl="0">
              <a:spcBef>
                <a:spcPts val="0"/>
              </a:spcBef>
              <a:spcAft>
                <a:spcPts val="0"/>
              </a:spcAft>
              <a:buClr>
                <a:schemeClr val="lt1"/>
              </a:buClr>
              <a:buSzPts val="7200"/>
              <a:buNone/>
              <a:defRPr sz="7200">
                <a:solidFill>
                  <a:schemeClr val="lt1"/>
                </a:solidFill>
              </a:defRPr>
            </a:lvl4pPr>
            <a:lvl5pPr lvl="4" rtl="0">
              <a:spcBef>
                <a:spcPts val="0"/>
              </a:spcBef>
              <a:spcAft>
                <a:spcPts val="0"/>
              </a:spcAft>
              <a:buClr>
                <a:schemeClr val="lt1"/>
              </a:buClr>
              <a:buSzPts val="7200"/>
              <a:buNone/>
              <a:defRPr sz="7200">
                <a:solidFill>
                  <a:schemeClr val="lt1"/>
                </a:solidFill>
              </a:defRPr>
            </a:lvl5pPr>
            <a:lvl6pPr lvl="5" rtl="0">
              <a:spcBef>
                <a:spcPts val="0"/>
              </a:spcBef>
              <a:spcAft>
                <a:spcPts val="0"/>
              </a:spcAft>
              <a:buClr>
                <a:schemeClr val="lt1"/>
              </a:buClr>
              <a:buSzPts val="7200"/>
              <a:buNone/>
              <a:defRPr sz="7200">
                <a:solidFill>
                  <a:schemeClr val="lt1"/>
                </a:solidFill>
              </a:defRPr>
            </a:lvl6pPr>
            <a:lvl7pPr lvl="6" rtl="0">
              <a:spcBef>
                <a:spcPts val="0"/>
              </a:spcBef>
              <a:spcAft>
                <a:spcPts val="0"/>
              </a:spcAft>
              <a:buClr>
                <a:schemeClr val="lt1"/>
              </a:buClr>
              <a:buSzPts val="7200"/>
              <a:buNone/>
              <a:defRPr sz="7200">
                <a:solidFill>
                  <a:schemeClr val="lt1"/>
                </a:solidFill>
              </a:defRPr>
            </a:lvl7pPr>
            <a:lvl8pPr lvl="7" rtl="0">
              <a:spcBef>
                <a:spcPts val="0"/>
              </a:spcBef>
              <a:spcAft>
                <a:spcPts val="0"/>
              </a:spcAft>
              <a:buClr>
                <a:schemeClr val="lt1"/>
              </a:buClr>
              <a:buSzPts val="7200"/>
              <a:buNone/>
              <a:defRPr sz="7200">
                <a:solidFill>
                  <a:schemeClr val="lt1"/>
                </a:solidFill>
              </a:defRPr>
            </a:lvl8pPr>
            <a:lvl9pPr lvl="8" rtl="0">
              <a:spcBef>
                <a:spcPts val="0"/>
              </a:spcBef>
              <a:spcAft>
                <a:spcPts val="0"/>
              </a:spcAft>
              <a:buClr>
                <a:schemeClr val="lt1"/>
              </a:buClr>
              <a:buSzPts val="7200"/>
              <a:buNone/>
              <a:defRPr sz="7200">
                <a:solidFill>
                  <a:schemeClr val="lt1"/>
                </a:solidFill>
              </a:defRPr>
            </a:lvl9pPr>
          </a:lstStyle>
          <a:p>
            <a:endParaRPr/>
          </a:p>
        </p:txBody>
      </p:sp>
      <p:sp>
        <p:nvSpPr>
          <p:cNvPr id="718" name="Google Shape;718;p55"/>
          <p:cNvSpPr txBox="1">
            <a:spLocks noGrp="1"/>
          </p:cNvSpPr>
          <p:nvPr>
            <p:ph type="title" idx="2"/>
          </p:nvPr>
        </p:nvSpPr>
        <p:spPr>
          <a:xfrm>
            <a:off x="13144100" y="5538675"/>
            <a:ext cx="3541200" cy="737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3200"/>
              <a:buFont typeface="Montserrat Black"/>
              <a:buNone/>
              <a:defRPr sz="3200">
                <a:solidFill>
                  <a:srgbClr val="002A44"/>
                </a:solidFill>
                <a:latin typeface="Montserrat Black"/>
                <a:ea typeface="Montserrat Black"/>
                <a:cs typeface="Montserrat Black"/>
                <a:sym typeface="Montserrat Black"/>
              </a:defRPr>
            </a:lvl1pPr>
            <a:lvl2pPr lvl="1" rtl="0">
              <a:spcBef>
                <a:spcPts val="0"/>
              </a:spcBef>
              <a:spcAft>
                <a:spcPts val="0"/>
              </a:spcAft>
              <a:buSzPts val="3200"/>
              <a:buNone/>
              <a:defRPr sz="3200"/>
            </a:lvl2pPr>
            <a:lvl3pPr lvl="2" rtl="0">
              <a:spcBef>
                <a:spcPts val="0"/>
              </a:spcBef>
              <a:spcAft>
                <a:spcPts val="0"/>
              </a:spcAft>
              <a:buSzPts val="3200"/>
              <a:buNone/>
              <a:defRPr sz="3200"/>
            </a:lvl3pPr>
            <a:lvl4pPr lvl="3" rtl="0">
              <a:spcBef>
                <a:spcPts val="0"/>
              </a:spcBef>
              <a:spcAft>
                <a:spcPts val="0"/>
              </a:spcAft>
              <a:buSzPts val="3200"/>
              <a:buNone/>
              <a:defRPr sz="3200"/>
            </a:lvl4pPr>
            <a:lvl5pPr lvl="4" rtl="0">
              <a:spcBef>
                <a:spcPts val="0"/>
              </a:spcBef>
              <a:spcAft>
                <a:spcPts val="0"/>
              </a:spcAft>
              <a:buSzPts val="3200"/>
              <a:buNone/>
              <a:defRPr sz="3200"/>
            </a:lvl5pPr>
            <a:lvl6pPr lvl="5" rtl="0">
              <a:spcBef>
                <a:spcPts val="0"/>
              </a:spcBef>
              <a:spcAft>
                <a:spcPts val="0"/>
              </a:spcAft>
              <a:buSzPts val="3200"/>
              <a:buNone/>
              <a:defRPr sz="3200"/>
            </a:lvl6pPr>
            <a:lvl7pPr lvl="6" rtl="0">
              <a:spcBef>
                <a:spcPts val="0"/>
              </a:spcBef>
              <a:spcAft>
                <a:spcPts val="0"/>
              </a:spcAft>
              <a:buSzPts val="3200"/>
              <a:buNone/>
              <a:defRPr sz="3200"/>
            </a:lvl7pPr>
            <a:lvl8pPr lvl="7" rtl="0">
              <a:spcBef>
                <a:spcPts val="0"/>
              </a:spcBef>
              <a:spcAft>
                <a:spcPts val="0"/>
              </a:spcAft>
              <a:buSzPts val="3200"/>
              <a:buNone/>
              <a:defRPr sz="3200"/>
            </a:lvl8pPr>
            <a:lvl9pPr lvl="8" rtl="0">
              <a:spcBef>
                <a:spcPts val="0"/>
              </a:spcBef>
              <a:spcAft>
                <a:spcPts val="0"/>
              </a:spcAft>
              <a:buSzPts val="3200"/>
              <a:buNone/>
              <a:defRPr sz="3200"/>
            </a:lvl9pPr>
          </a:lstStyle>
          <a:p>
            <a:endParaRPr/>
          </a:p>
        </p:txBody>
      </p:sp>
      <p:sp>
        <p:nvSpPr>
          <p:cNvPr id="719" name="Google Shape;719;p55"/>
          <p:cNvSpPr txBox="1">
            <a:spLocks noGrp="1"/>
          </p:cNvSpPr>
          <p:nvPr>
            <p:ph type="subTitle" idx="1"/>
          </p:nvPr>
        </p:nvSpPr>
        <p:spPr>
          <a:xfrm>
            <a:off x="13162975" y="6621975"/>
            <a:ext cx="3541200" cy="1643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2400"/>
              <a:buFont typeface="Open Sans"/>
              <a:buNone/>
              <a:defRPr sz="2400">
                <a:solidFill>
                  <a:srgbClr val="002A44"/>
                </a:solidFill>
                <a:latin typeface="Open Sans"/>
                <a:ea typeface="Open Sans"/>
                <a:cs typeface="Open Sans"/>
                <a:sym typeface="Open Sans"/>
              </a:defRPr>
            </a:lvl1pPr>
            <a:lvl2pPr lvl="1" rtl="0">
              <a:spcBef>
                <a:spcPts val="0"/>
              </a:spcBef>
              <a:spcAft>
                <a:spcPts val="0"/>
              </a:spcAft>
              <a:buSzPts val="2400"/>
              <a:buFont typeface="Open Sans"/>
              <a:buNone/>
              <a:defRPr sz="2400">
                <a:latin typeface="Open Sans"/>
                <a:ea typeface="Open Sans"/>
                <a:cs typeface="Open Sans"/>
                <a:sym typeface="Open Sans"/>
              </a:defRPr>
            </a:lvl2pPr>
            <a:lvl3pPr lvl="2" rtl="0">
              <a:spcBef>
                <a:spcPts val="0"/>
              </a:spcBef>
              <a:spcAft>
                <a:spcPts val="0"/>
              </a:spcAft>
              <a:buSzPts val="2400"/>
              <a:buFont typeface="Open Sans"/>
              <a:buNone/>
              <a:defRPr sz="2400">
                <a:latin typeface="Open Sans"/>
                <a:ea typeface="Open Sans"/>
                <a:cs typeface="Open Sans"/>
                <a:sym typeface="Open Sans"/>
              </a:defRPr>
            </a:lvl3pPr>
            <a:lvl4pPr lvl="3" rtl="0">
              <a:spcBef>
                <a:spcPts val="0"/>
              </a:spcBef>
              <a:spcAft>
                <a:spcPts val="0"/>
              </a:spcAft>
              <a:buSzPts val="2400"/>
              <a:buFont typeface="Open Sans"/>
              <a:buNone/>
              <a:defRPr sz="2400">
                <a:latin typeface="Open Sans"/>
                <a:ea typeface="Open Sans"/>
                <a:cs typeface="Open Sans"/>
                <a:sym typeface="Open Sans"/>
              </a:defRPr>
            </a:lvl4pPr>
            <a:lvl5pPr lvl="4" rtl="0">
              <a:spcBef>
                <a:spcPts val="0"/>
              </a:spcBef>
              <a:spcAft>
                <a:spcPts val="0"/>
              </a:spcAft>
              <a:buSzPts val="2400"/>
              <a:buFont typeface="Open Sans"/>
              <a:buNone/>
              <a:defRPr sz="2400">
                <a:latin typeface="Open Sans"/>
                <a:ea typeface="Open Sans"/>
                <a:cs typeface="Open Sans"/>
                <a:sym typeface="Open Sans"/>
              </a:defRPr>
            </a:lvl5pPr>
            <a:lvl6pPr lvl="5" rtl="0">
              <a:spcBef>
                <a:spcPts val="0"/>
              </a:spcBef>
              <a:spcAft>
                <a:spcPts val="0"/>
              </a:spcAft>
              <a:buSzPts val="2400"/>
              <a:buFont typeface="Open Sans"/>
              <a:buNone/>
              <a:defRPr sz="2400">
                <a:latin typeface="Open Sans"/>
                <a:ea typeface="Open Sans"/>
                <a:cs typeface="Open Sans"/>
                <a:sym typeface="Open Sans"/>
              </a:defRPr>
            </a:lvl6pPr>
            <a:lvl7pPr lvl="6" rtl="0">
              <a:spcBef>
                <a:spcPts val="0"/>
              </a:spcBef>
              <a:spcAft>
                <a:spcPts val="0"/>
              </a:spcAft>
              <a:buSzPts val="2400"/>
              <a:buFont typeface="Open Sans"/>
              <a:buNone/>
              <a:defRPr sz="2400">
                <a:latin typeface="Open Sans"/>
                <a:ea typeface="Open Sans"/>
                <a:cs typeface="Open Sans"/>
                <a:sym typeface="Open Sans"/>
              </a:defRPr>
            </a:lvl7pPr>
            <a:lvl8pPr lvl="7" rtl="0">
              <a:spcBef>
                <a:spcPts val="0"/>
              </a:spcBef>
              <a:spcAft>
                <a:spcPts val="0"/>
              </a:spcAft>
              <a:buSzPts val="2400"/>
              <a:buFont typeface="Open Sans"/>
              <a:buNone/>
              <a:defRPr sz="2400">
                <a:latin typeface="Open Sans"/>
                <a:ea typeface="Open Sans"/>
                <a:cs typeface="Open Sans"/>
                <a:sym typeface="Open Sans"/>
              </a:defRPr>
            </a:lvl8pPr>
            <a:lvl9pPr lvl="8" rtl="0">
              <a:spcBef>
                <a:spcPts val="0"/>
              </a:spcBef>
              <a:spcAft>
                <a:spcPts val="0"/>
              </a:spcAft>
              <a:buSzPts val="2400"/>
              <a:buFont typeface="Open Sans"/>
              <a:buNone/>
              <a:defRPr sz="2400">
                <a:latin typeface="Open Sans"/>
                <a:ea typeface="Open Sans"/>
                <a:cs typeface="Open Sans"/>
                <a:sym typeface="Open Sans"/>
              </a:defRPr>
            </a:lvl9pPr>
          </a:lstStyle>
          <a:p>
            <a:endParaRPr/>
          </a:p>
        </p:txBody>
      </p:sp>
      <p:sp>
        <p:nvSpPr>
          <p:cNvPr id="720" name="Google Shape;720;p55"/>
          <p:cNvSpPr txBox="1">
            <a:spLocks noGrp="1"/>
          </p:cNvSpPr>
          <p:nvPr>
            <p:ph type="title" idx="3"/>
          </p:nvPr>
        </p:nvSpPr>
        <p:spPr>
          <a:xfrm>
            <a:off x="19054675" y="5538675"/>
            <a:ext cx="3541200" cy="737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3200"/>
              <a:buFont typeface="Montserrat Black"/>
              <a:buNone/>
              <a:defRPr sz="3200">
                <a:solidFill>
                  <a:srgbClr val="002A44"/>
                </a:solidFill>
                <a:latin typeface="Montserrat Black"/>
                <a:ea typeface="Montserrat Black"/>
                <a:cs typeface="Montserrat Black"/>
                <a:sym typeface="Montserrat Black"/>
              </a:defRPr>
            </a:lvl1pPr>
            <a:lvl2pPr lvl="1" rtl="0">
              <a:spcBef>
                <a:spcPts val="0"/>
              </a:spcBef>
              <a:spcAft>
                <a:spcPts val="0"/>
              </a:spcAft>
              <a:buSzPts val="3200"/>
              <a:buNone/>
              <a:defRPr sz="3200"/>
            </a:lvl2pPr>
            <a:lvl3pPr lvl="2" rtl="0">
              <a:spcBef>
                <a:spcPts val="0"/>
              </a:spcBef>
              <a:spcAft>
                <a:spcPts val="0"/>
              </a:spcAft>
              <a:buSzPts val="3200"/>
              <a:buNone/>
              <a:defRPr sz="3200"/>
            </a:lvl3pPr>
            <a:lvl4pPr lvl="3" rtl="0">
              <a:spcBef>
                <a:spcPts val="0"/>
              </a:spcBef>
              <a:spcAft>
                <a:spcPts val="0"/>
              </a:spcAft>
              <a:buSzPts val="3200"/>
              <a:buNone/>
              <a:defRPr sz="3200"/>
            </a:lvl4pPr>
            <a:lvl5pPr lvl="4" rtl="0">
              <a:spcBef>
                <a:spcPts val="0"/>
              </a:spcBef>
              <a:spcAft>
                <a:spcPts val="0"/>
              </a:spcAft>
              <a:buSzPts val="3200"/>
              <a:buNone/>
              <a:defRPr sz="3200"/>
            </a:lvl5pPr>
            <a:lvl6pPr lvl="5" rtl="0">
              <a:spcBef>
                <a:spcPts val="0"/>
              </a:spcBef>
              <a:spcAft>
                <a:spcPts val="0"/>
              </a:spcAft>
              <a:buSzPts val="3200"/>
              <a:buNone/>
              <a:defRPr sz="3200"/>
            </a:lvl6pPr>
            <a:lvl7pPr lvl="6" rtl="0">
              <a:spcBef>
                <a:spcPts val="0"/>
              </a:spcBef>
              <a:spcAft>
                <a:spcPts val="0"/>
              </a:spcAft>
              <a:buSzPts val="3200"/>
              <a:buNone/>
              <a:defRPr sz="3200"/>
            </a:lvl7pPr>
            <a:lvl8pPr lvl="7" rtl="0">
              <a:spcBef>
                <a:spcPts val="0"/>
              </a:spcBef>
              <a:spcAft>
                <a:spcPts val="0"/>
              </a:spcAft>
              <a:buSzPts val="3200"/>
              <a:buNone/>
              <a:defRPr sz="3200"/>
            </a:lvl8pPr>
            <a:lvl9pPr lvl="8" rtl="0">
              <a:spcBef>
                <a:spcPts val="0"/>
              </a:spcBef>
              <a:spcAft>
                <a:spcPts val="0"/>
              </a:spcAft>
              <a:buSzPts val="3200"/>
              <a:buNone/>
              <a:defRPr sz="3200"/>
            </a:lvl9pPr>
          </a:lstStyle>
          <a:p>
            <a:endParaRPr/>
          </a:p>
        </p:txBody>
      </p:sp>
      <p:sp>
        <p:nvSpPr>
          <p:cNvPr id="721" name="Google Shape;721;p55"/>
          <p:cNvSpPr txBox="1">
            <a:spLocks noGrp="1"/>
          </p:cNvSpPr>
          <p:nvPr>
            <p:ph type="subTitle" idx="4"/>
          </p:nvPr>
        </p:nvSpPr>
        <p:spPr>
          <a:xfrm>
            <a:off x="19171350" y="6621975"/>
            <a:ext cx="3541200" cy="1643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2400"/>
              <a:buFont typeface="Open Sans"/>
              <a:buNone/>
              <a:defRPr sz="2400">
                <a:solidFill>
                  <a:srgbClr val="002A44"/>
                </a:solidFill>
                <a:latin typeface="Open Sans"/>
                <a:ea typeface="Open Sans"/>
                <a:cs typeface="Open Sans"/>
                <a:sym typeface="Open Sans"/>
              </a:defRPr>
            </a:lvl1pPr>
            <a:lvl2pPr lvl="1" rtl="0">
              <a:spcBef>
                <a:spcPts val="0"/>
              </a:spcBef>
              <a:spcAft>
                <a:spcPts val="0"/>
              </a:spcAft>
              <a:buSzPts val="2400"/>
              <a:buFont typeface="Open Sans"/>
              <a:buNone/>
              <a:defRPr sz="2400">
                <a:latin typeface="Open Sans"/>
                <a:ea typeface="Open Sans"/>
                <a:cs typeface="Open Sans"/>
                <a:sym typeface="Open Sans"/>
              </a:defRPr>
            </a:lvl2pPr>
            <a:lvl3pPr lvl="2" rtl="0">
              <a:spcBef>
                <a:spcPts val="0"/>
              </a:spcBef>
              <a:spcAft>
                <a:spcPts val="0"/>
              </a:spcAft>
              <a:buSzPts val="2400"/>
              <a:buFont typeface="Open Sans"/>
              <a:buNone/>
              <a:defRPr sz="2400">
                <a:latin typeface="Open Sans"/>
                <a:ea typeface="Open Sans"/>
                <a:cs typeface="Open Sans"/>
                <a:sym typeface="Open Sans"/>
              </a:defRPr>
            </a:lvl3pPr>
            <a:lvl4pPr lvl="3" rtl="0">
              <a:spcBef>
                <a:spcPts val="0"/>
              </a:spcBef>
              <a:spcAft>
                <a:spcPts val="0"/>
              </a:spcAft>
              <a:buSzPts val="2400"/>
              <a:buFont typeface="Open Sans"/>
              <a:buNone/>
              <a:defRPr sz="2400">
                <a:latin typeface="Open Sans"/>
                <a:ea typeface="Open Sans"/>
                <a:cs typeface="Open Sans"/>
                <a:sym typeface="Open Sans"/>
              </a:defRPr>
            </a:lvl4pPr>
            <a:lvl5pPr lvl="4" rtl="0">
              <a:spcBef>
                <a:spcPts val="0"/>
              </a:spcBef>
              <a:spcAft>
                <a:spcPts val="0"/>
              </a:spcAft>
              <a:buSzPts val="2400"/>
              <a:buFont typeface="Open Sans"/>
              <a:buNone/>
              <a:defRPr sz="2400">
                <a:latin typeface="Open Sans"/>
                <a:ea typeface="Open Sans"/>
                <a:cs typeface="Open Sans"/>
                <a:sym typeface="Open Sans"/>
              </a:defRPr>
            </a:lvl5pPr>
            <a:lvl6pPr lvl="5" rtl="0">
              <a:spcBef>
                <a:spcPts val="0"/>
              </a:spcBef>
              <a:spcAft>
                <a:spcPts val="0"/>
              </a:spcAft>
              <a:buSzPts val="2400"/>
              <a:buFont typeface="Open Sans"/>
              <a:buNone/>
              <a:defRPr sz="2400">
                <a:latin typeface="Open Sans"/>
                <a:ea typeface="Open Sans"/>
                <a:cs typeface="Open Sans"/>
                <a:sym typeface="Open Sans"/>
              </a:defRPr>
            </a:lvl6pPr>
            <a:lvl7pPr lvl="6" rtl="0">
              <a:spcBef>
                <a:spcPts val="0"/>
              </a:spcBef>
              <a:spcAft>
                <a:spcPts val="0"/>
              </a:spcAft>
              <a:buSzPts val="2400"/>
              <a:buFont typeface="Open Sans"/>
              <a:buNone/>
              <a:defRPr sz="2400">
                <a:latin typeface="Open Sans"/>
                <a:ea typeface="Open Sans"/>
                <a:cs typeface="Open Sans"/>
                <a:sym typeface="Open Sans"/>
              </a:defRPr>
            </a:lvl7pPr>
            <a:lvl8pPr lvl="7" rtl="0">
              <a:spcBef>
                <a:spcPts val="0"/>
              </a:spcBef>
              <a:spcAft>
                <a:spcPts val="0"/>
              </a:spcAft>
              <a:buSzPts val="2400"/>
              <a:buFont typeface="Open Sans"/>
              <a:buNone/>
              <a:defRPr sz="2400">
                <a:latin typeface="Open Sans"/>
                <a:ea typeface="Open Sans"/>
                <a:cs typeface="Open Sans"/>
                <a:sym typeface="Open Sans"/>
              </a:defRPr>
            </a:lvl8pPr>
            <a:lvl9pPr lvl="8" rtl="0">
              <a:spcBef>
                <a:spcPts val="0"/>
              </a:spcBef>
              <a:spcAft>
                <a:spcPts val="0"/>
              </a:spcAft>
              <a:buSzPts val="2400"/>
              <a:buFont typeface="Open Sans"/>
              <a:buNone/>
              <a:defRPr sz="2400">
                <a:latin typeface="Open Sans"/>
                <a:ea typeface="Open Sans"/>
                <a:cs typeface="Open Sans"/>
                <a:sym typeface="Open Sans"/>
              </a:defRPr>
            </a:lvl9pPr>
          </a:lstStyle>
          <a:p>
            <a:endParaRPr/>
          </a:p>
        </p:txBody>
      </p:sp>
      <p:sp>
        <p:nvSpPr>
          <p:cNvPr id="722" name="Google Shape;722;p55"/>
          <p:cNvSpPr txBox="1">
            <a:spLocks noGrp="1"/>
          </p:cNvSpPr>
          <p:nvPr>
            <p:ph type="title" idx="5"/>
          </p:nvPr>
        </p:nvSpPr>
        <p:spPr>
          <a:xfrm>
            <a:off x="7224924" y="5538675"/>
            <a:ext cx="3560100" cy="737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3200"/>
              <a:buFont typeface="Montserrat Black"/>
              <a:buNone/>
              <a:defRPr sz="3200">
                <a:solidFill>
                  <a:srgbClr val="002A44"/>
                </a:solidFill>
                <a:latin typeface="Montserrat Black"/>
                <a:ea typeface="Montserrat Black"/>
                <a:cs typeface="Montserrat Black"/>
                <a:sym typeface="Montserrat Black"/>
              </a:defRPr>
            </a:lvl1pPr>
            <a:lvl2pPr lvl="1" rtl="0">
              <a:spcBef>
                <a:spcPts val="0"/>
              </a:spcBef>
              <a:spcAft>
                <a:spcPts val="0"/>
              </a:spcAft>
              <a:buSzPts val="3200"/>
              <a:buNone/>
              <a:defRPr sz="3200"/>
            </a:lvl2pPr>
            <a:lvl3pPr lvl="2" rtl="0">
              <a:spcBef>
                <a:spcPts val="0"/>
              </a:spcBef>
              <a:spcAft>
                <a:spcPts val="0"/>
              </a:spcAft>
              <a:buSzPts val="3200"/>
              <a:buNone/>
              <a:defRPr sz="3200"/>
            </a:lvl3pPr>
            <a:lvl4pPr lvl="3" rtl="0">
              <a:spcBef>
                <a:spcPts val="0"/>
              </a:spcBef>
              <a:spcAft>
                <a:spcPts val="0"/>
              </a:spcAft>
              <a:buSzPts val="3200"/>
              <a:buNone/>
              <a:defRPr sz="3200"/>
            </a:lvl4pPr>
            <a:lvl5pPr lvl="4" rtl="0">
              <a:spcBef>
                <a:spcPts val="0"/>
              </a:spcBef>
              <a:spcAft>
                <a:spcPts val="0"/>
              </a:spcAft>
              <a:buSzPts val="3200"/>
              <a:buNone/>
              <a:defRPr sz="3200"/>
            </a:lvl5pPr>
            <a:lvl6pPr lvl="5" rtl="0">
              <a:spcBef>
                <a:spcPts val="0"/>
              </a:spcBef>
              <a:spcAft>
                <a:spcPts val="0"/>
              </a:spcAft>
              <a:buSzPts val="3200"/>
              <a:buNone/>
              <a:defRPr sz="3200"/>
            </a:lvl6pPr>
            <a:lvl7pPr lvl="6" rtl="0">
              <a:spcBef>
                <a:spcPts val="0"/>
              </a:spcBef>
              <a:spcAft>
                <a:spcPts val="0"/>
              </a:spcAft>
              <a:buSzPts val="3200"/>
              <a:buNone/>
              <a:defRPr sz="3200"/>
            </a:lvl7pPr>
            <a:lvl8pPr lvl="7" rtl="0">
              <a:spcBef>
                <a:spcPts val="0"/>
              </a:spcBef>
              <a:spcAft>
                <a:spcPts val="0"/>
              </a:spcAft>
              <a:buSzPts val="3200"/>
              <a:buNone/>
              <a:defRPr sz="3200"/>
            </a:lvl8pPr>
            <a:lvl9pPr lvl="8" rtl="0">
              <a:spcBef>
                <a:spcPts val="0"/>
              </a:spcBef>
              <a:spcAft>
                <a:spcPts val="0"/>
              </a:spcAft>
              <a:buSzPts val="3200"/>
              <a:buNone/>
              <a:defRPr sz="3200"/>
            </a:lvl9pPr>
          </a:lstStyle>
          <a:p>
            <a:endParaRPr/>
          </a:p>
        </p:txBody>
      </p:sp>
      <p:sp>
        <p:nvSpPr>
          <p:cNvPr id="723" name="Google Shape;723;p55"/>
          <p:cNvSpPr txBox="1">
            <a:spLocks noGrp="1"/>
          </p:cNvSpPr>
          <p:nvPr>
            <p:ph type="subTitle" idx="6"/>
          </p:nvPr>
        </p:nvSpPr>
        <p:spPr>
          <a:xfrm>
            <a:off x="7243788" y="6621975"/>
            <a:ext cx="3541200" cy="1643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2400"/>
              <a:buFont typeface="Open Sans"/>
              <a:buNone/>
              <a:defRPr sz="2400">
                <a:solidFill>
                  <a:srgbClr val="002A44"/>
                </a:solidFill>
                <a:latin typeface="Open Sans"/>
                <a:ea typeface="Open Sans"/>
                <a:cs typeface="Open Sans"/>
                <a:sym typeface="Open Sans"/>
              </a:defRPr>
            </a:lvl1pPr>
            <a:lvl2pPr lvl="1" rtl="0">
              <a:spcBef>
                <a:spcPts val="0"/>
              </a:spcBef>
              <a:spcAft>
                <a:spcPts val="0"/>
              </a:spcAft>
              <a:buSzPts val="2400"/>
              <a:buFont typeface="Open Sans"/>
              <a:buNone/>
              <a:defRPr sz="2400">
                <a:latin typeface="Open Sans"/>
                <a:ea typeface="Open Sans"/>
                <a:cs typeface="Open Sans"/>
                <a:sym typeface="Open Sans"/>
              </a:defRPr>
            </a:lvl2pPr>
            <a:lvl3pPr lvl="2" rtl="0">
              <a:spcBef>
                <a:spcPts val="0"/>
              </a:spcBef>
              <a:spcAft>
                <a:spcPts val="0"/>
              </a:spcAft>
              <a:buSzPts val="2400"/>
              <a:buFont typeface="Open Sans"/>
              <a:buNone/>
              <a:defRPr sz="2400">
                <a:latin typeface="Open Sans"/>
                <a:ea typeface="Open Sans"/>
                <a:cs typeface="Open Sans"/>
                <a:sym typeface="Open Sans"/>
              </a:defRPr>
            </a:lvl3pPr>
            <a:lvl4pPr lvl="3" rtl="0">
              <a:spcBef>
                <a:spcPts val="0"/>
              </a:spcBef>
              <a:spcAft>
                <a:spcPts val="0"/>
              </a:spcAft>
              <a:buSzPts val="2400"/>
              <a:buFont typeface="Open Sans"/>
              <a:buNone/>
              <a:defRPr sz="2400">
                <a:latin typeface="Open Sans"/>
                <a:ea typeface="Open Sans"/>
                <a:cs typeface="Open Sans"/>
                <a:sym typeface="Open Sans"/>
              </a:defRPr>
            </a:lvl4pPr>
            <a:lvl5pPr lvl="4" rtl="0">
              <a:spcBef>
                <a:spcPts val="0"/>
              </a:spcBef>
              <a:spcAft>
                <a:spcPts val="0"/>
              </a:spcAft>
              <a:buSzPts val="2400"/>
              <a:buFont typeface="Open Sans"/>
              <a:buNone/>
              <a:defRPr sz="2400">
                <a:latin typeface="Open Sans"/>
                <a:ea typeface="Open Sans"/>
                <a:cs typeface="Open Sans"/>
                <a:sym typeface="Open Sans"/>
              </a:defRPr>
            </a:lvl5pPr>
            <a:lvl6pPr lvl="5" rtl="0">
              <a:spcBef>
                <a:spcPts val="0"/>
              </a:spcBef>
              <a:spcAft>
                <a:spcPts val="0"/>
              </a:spcAft>
              <a:buSzPts val="2400"/>
              <a:buFont typeface="Open Sans"/>
              <a:buNone/>
              <a:defRPr sz="2400">
                <a:latin typeface="Open Sans"/>
                <a:ea typeface="Open Sans"/>
                <a:cs typeface="Open Sans"/>
                <a:sym typeface="Open Sans"/>
              </a:defRPr>
            </a:lvl6pPr>
            <a:lvl7pPr lvl="6" rtl="0">
              <a:spcBef>
                <a:spcPts val="0"/>
              </a:spcBef>
              <a:spcAft>
                <a:spcPts val="0"/>
              </a:spcAft>
              <a:buSzPts val="2400"/>
              <a:buFont typeface="Open Sans"/>
              <a:buNone/>
              <a:defRPr sz="2400">
                <a:latin typeface="Open Sans"/>
                <a:ea typeface="Open Sans"/>
                <a:cs typeface="Open Sans"/>
                <a:sym typeface="Open Sans"/>
              </a:defRPr>
            </a:lvl7pPr>
            <a:lvl8pPr lvl="7" rtl="0">
              <a:spcBef>
                <a:spcPts val="0"/>
              </a:spcBef>
              <a:spcAft>
                <a:spcPts val="0"/>
              </a:spcAft>
              <a:buSzPts val="2400"/>
              <a:buFont typeface="Open Sans"/>
              <a:buNone/>
              <a:defRPr sz="2400">
                <a:latin typeface="Open Sans"/>
                <a:ea typeface="Open Sans"/>
                <a:cs typeface="Open Sans"/>
                <a:sym typeface="Open Sans"/>
              </a:defRPr>
            </a:lvl8pPr>
            <a:lvl9pPr lvl="8" rtl="0">
              <a:spcBef>
                <a:spcPts val="0"/>
              </a:spcBef>
              <a:spcAft>
                <a:spcPts val="0"/>
              </a:spcAft>
              <a:buSzPts val="2400"/>
              <a:buFont typeface="Open Sans"/>
              <a:buNone/>
              <a:defRPr sz="2400">
                <a:latin typeface="Open Sans"/>
                <a:ea typeface="Open Sans"/>
                <a:cs typeface="Open Sans"/>
                <a:sym typeface="Open Sans"/>
              </a:defRPr>
            </a:lvl9pPr>
          </a:lstStyle>
          <a:p>
            <a:endParaRPr/>
          </a:p>
        </p:txBody>
      </p:sp>
      <p:sp>
        <p:nvSpPr>
          <p:cNvPr id="724" name="Google Shape;724;p55"/>
          <p:cNvSpPr txBox="1">
            <a:spLocks noGrp="1"/>
          </p:cNvSpPr>
          <p:nvPr>
            <p:ph type="title" idx="7"/>
          </p:nvPr>
        </p:nvSpPr>
        <p:spPr>
          <a:xfrm>
            <a:off x="6175319" y="5283750"/>
            <a:ext cx="1002900" cy="26505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9600"/>
              <a:buFont typeface="Montserrat Black"/>
              <a:buNone/>
              <a:defRPr sz="9600">
                <a:solidFill>
                  <a:srgbClr val="002A44"/>
                </a:solidFill>
                <a:latin typeface="Montserrat Black"/>
                <a:ea typeface="Montserrat Black"/>
                <a:cs typeface="Montserrat Black"/>
                <a:sym typeface="Montserrat Black"/>
              </a:defRPr>
            </a:lvl1pPr>
            <a:lvl2pPr lvl="1" rtl="0">
              <a:spcBef>
                <a:spcPts val="0"/>
              </a:spcBef>
              <a:spcAft>
                <a:spcPts val="0"/>
              </a:spcAft>
              <a:buSzPts val="9600"/>
              <a:buNone/>
              <a:defRPr sz="9600"/>
            </a:lvl2pPr>
            <a:lvl3pPr lvl="2" rtl="0">
              <a:spcBef>
                <a:spcPts val="0"/>
              </a:spcBef>
              <a:spcAft>
                <a:spcPts val="0"/>
              </a:spcAft>
              <a:buSzPts val="9600"/>
              <a:buNone/>
              <a:defRPr sz="9600"/>
            </a:lvl3pPr>
            <a:lvl4pPr lvl="3" rtl="0">
              <a:spcBef>
                <a:spcPts val="0"/>
              </a:spcBef>
              <a:spcAft>
                <a:spcPts val="0"/>
              </a:spcAft>
              <a:buSzPts val="9600"/>
              <a:buNone/>
              <a:defRPr sz="9600"/>
            </a:lvl4pPr>
            <a:lvl5pPr lvl="4" rtl="0">
              <a:spcBef>
                <a:spcPts val="0"/>
              </a:spcBef>
              <a:spcAft>
                <a:spcPts val="0"/>
              </a:spcAft>
              <a:buSzPts val="9600"/>
              <a:buNone/>
              <a:defRPr sz="9600"/>
            </a:lvl5pPr>
            <a:lvl6pPr lvl="5" rtl="0">
              <a:spcBef>
                <a:spcPts val="0"/>
              </a:spcBef>
              <a:spcAft>
                <a:spcPts val="0"/>
              </a:spcAft>
              <a:buSzPts val="9600"/>
              <a:buNone/>
              <a:defRPr sz="9600"/>
            </a:lvl6pPr>
            <a:lvl7pPr lvl="6" rtl="0">
              <a:spcBef>
                <a:spcPts val="0"/>
              </a:spcBef>
              <a:spcAft>
                <a:spcPts val="0"/>
              </a:spcAft>
              <a:buSzPts val="9600"/>
              <a:buNone/>
              <a:defRPr sz="9600"/>
            </a:lvl7pPr>
            <a:lvl8pPr lvl="7" rtl="0">
              <a:spcBef>
                <a:spcPts val="0"/>
              </a:spcBef>
              <a:spcAft>
                <a:spcPts val="0"/>
              </a:spcAft>
              <a:buSzPts val="9600"/>
              <a:buNone/>
              <a:defRPr sz="9600"/>
            </a:lvl8pPr>
            <a:lvl9pPr lvl="8" rtl="0">
              <a:spcBef>
                <a:spcPts val="0"/>
              </a:spcBef>
              <a:spcAft>
                <a:spcPts val="0"/>
              </a:spcAft>
              <a:buSzPts val="9600"/>
              <a:buNone/>
              <a:defRPr sz="9600"/>
            </a:lvl9pPr>
          </a:lstStyle>
          <a:p>
            <a:endParaRPr/>
          </a:p>
        </p:txBody>
      </p:sp>
      <p:sp>
        <p:nvSpPr>
          <p:cNvPr id="725" name="Google Shape;725;p55"/>
          <p:cNvSpPr txBox="1">
            <a:spLocks noGrp="1"/>
          </p:cNvSpPr>
          <p:nvPr>
            <p:ph type="title" idx="8"/>
          </p:nvPr>
        </p:nvSpPr>
        <p:spPr>
          <a:xfrm>
            <a:off x="1567997" y="5538675"/>
            <a:ext cx="3049800" cy="737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4800"/>
              <a:buFont typeface="Montserrat Black"/>
              <a:buNone/>
              <a:defRPr sz="4800">
                <a:solidFill>
                  <a:srgbClr val="002A44"/>
                </a:solidFill>
                <a:latin typeface="Montserrat Black"/>
                <a:ea typeface="Montserrat Black"/>
                <a:cs typeface="Montserrat Black"/>
                <a:sym typeface="Montserrat Black"/>
              </a:defRPr>
            </a:lvl1pPr>
            <a:lvl2pPr lvl="1" rtl="0">
              <a:spcBef>
                <a:spcPts val="0"/>
              </a:spcBef>
              <a:spcAft>
                <a:spcPts val="0"/>
              </a:spcAft>
              <a:buSzPts val="3600"/>
              <a:buNone/>
              <a:defRPr sz="3600"/>
            </a:lvl2pPr>
            <a:lvl3pPr lvl="2" rtl="0">
              <a:spcBef>
                <a:spcPts val="0"/>
              </a:spcBef>
              <a:spcAft>
                <a:spcPts val="0"/>
              </a:spcAft>
              <a:buSzPts val="3600"/>
              <a:buNone/>
              <a:defRPr sz="3600"/>
            </a:lvl3pPr>
            <a:lvl4pPr lvl="3" rtl="0">
              <a:spcBef>
                <a:spcPts val="0"/>
              </a:spcBef>
              <a:spcAft>
                <a:spcPts val="0"/>
              </a:spcAft>
              <a:buSzPts val="3600"/>
              <a:buNone/>
              <a:defRPr sz="3600"/>
            </a:lvl4pPr>
            <a:lvl5pPr lvl="4" rtl="0">
              <a:spcBef>
                <a:spcPts val="0"/>
              </a:spcBef>
              <a:spcAft>
                <a:spcPts val="0"/>
              </a:spcAft>
              <a:buSzPts val="3600"/>
              <a:buNone/>
              <a:defRPr sz="3600"/>
            </a:lvl5pPr>
            <a:lvl6pPr lvl="5" rtl="0">
              <a:spcBef>
                <a:spcPts val="0"/>
              </a:spcBef>
              <a:spcAft>
                <a:spcPts val="0"/>
              </a:spcAft>
              <a:buSzPts val="3600"/>
              <a:buNone/>
              <a:defRPr sz="3600"/>
            </a:lvl6pPr>
            <a:lvl7pPr lvl="6" rtl="0">
              <a:spcBef>
                <a:spcPts val="0"/>
              </a:spcBef>
              <a:spcAft>
                <a:spcPts val="0"/>
              </a:spcAft>
              <a:buSzPts val="3600"/>
              <a:buNone/>
              <a:defRPr sz="3600"/>
            </a:lvl7pPr>
            <a:lvl8pPr lvl="7" rtl="0">
              <a:spcBef>
                <a:spcPts val="0"/>
              </a:spcBef>
              <a:spcAft>
                <a:spcPts val="0"/>
              </a:spcAft>
              <a:buSzPts val="3600"/>
              <a:buNone/>
              <a:defRPr sz="3600"/>
            </a:lvl8pPr>
            <a:lvl9pPr lvl="8" rtl="0">
              <a:spcBef>
                <a:spcPts val="0"/>
              </a:spcBef>
              <a:spcAft>
                <a:spcPts val="0"/>
              </a:spcAft>
              <a:buSzPts val="3600"/>
              <a:buNone/>
              <a:defRPr sz="3600"/>
            </a:lvl9pPr>
          </a:lstStyle>
          <a:p>
            <a:endParaRPr/>
          </a:p>
        </p:txBody>
      </p:sp>
      <p:sp>
        <p:nvSpPr>
          <p:cNvPr id="726" name="Google Shape;726;p55"/>
          <p:cNvSpPr/>
          <p:nvPr/>
        </p:nvSpPr>
        <p:spPr>
          <a:xfrm>
            <a:off x="20438151" y="711675"/>
            <a:ext cx="3072638" cy="1745259"/>
          </a:xfrm>
          <a:custGeom>
            <a:avLst/>
            <a:gdLst/>
            <a:ahLst/>
            <a:cxnLst/>
            <a:rect l="l" t="t" r="r" b="b"/>
            <a:pathLst>
              <a:path w="3864954" h="2195294" extrusionOk="0">
                <a:moveTo>
                  <a:pt x="0" y="0"/>
                </a:moveTo>
                <a:lnTo>
                  <a:pt x="3864953" y="0"/>
                </a:lnTo>
                <a:lnTo>
                  <a:pt x="3864953" y="2195294"/>
                </a:lnTo>
                <a:lnTo>
                  <a:pt x="0" y="2195294"/>
                </a:lnTo>
                <a:lnTo>
                  <a:pt x="0" y="0"/>
                </a:lnTo>
                <a:close/>
              </a:path>
            </a:pathLst>
          </a:custGeom>
          <a:blipFill rotWithShape="1">
            <a:blip r:embed="rId3">
              <a:alphaModFix/>
            </a:blip>
            <a:stretch>
              <a:fillRect/>
            </a:stretch>
          </a:blipFill>
          <a:ln>
            <a:noFill/>
          </a:ln>
        </p:spPr>
      </p:sp>
      <p:sp>
        <p:nvSpPr>
          <p:cNvPr id="727" name="Google Shape;727;p55"/>
          <p:cNvSpPr txBox="1">
            <a:spLocks noGrp="1"/>
          </p:cNvSpPr>
          <p:nvPr>
            <p:ph type="subTitle" idx="9"/>
          </p:nvPr>
        </p:nvSpPr>
        <p:spPr>
          <a:xfrm>
            <a:off x="11894800" y="12235450"/>
            <a:ext cx="11616000" cy="1240500"/>
          </a:xfrm>
          <a:prstGeom prst="rect">
            <a:avLst/>
          </a:prstGeom>
          <a:noFill/>
          <a:ln>
            <a:noFill/>
          </a:ln>
        </p:spPr>
        <p:txBody>
          <a:bodyPr spcFirstLastPara="1" wrap="square" lIns="91425" tIns="91425" rIns="91425" bIns="91425" anchor="ctr" anchorCtr="0">
            <a:noAutofit/>
          </a:bodyPr>
          <a:lstStyle>
            <a:lvl1pPr lvl="0" algn="r" rtl="0">
              <a:spcBef>
                <a:spcPts val="0"/>
              </a:spcBef>
              <a:spcAft>
                <a:spcPts val="0"/>
              </a:spcAft>
              <a:buClr>
                <a:srgbClr val="C1F400"/>
              </a:buClr>
              <a:buSzPts val="2400"/>
              <a:buFont typeface="Montserrat SemiBold"/>
              <a:buNone/>
              <a:defRPr sz="2400">
                <a:solidFill>
                  <a:srgbClr val="C1F400"/>
                </a:solidFill>
                <a:latin typeface="Montserrat SemiBold"/>
                <a:ea typeface="Montserrat SemiBold"/>
                <a:cs typeface="Montserrat SemiBold"/>
                <a:sym typeface="Montserrat SemiBold"/>
              </a:defRPr>
            </a:lvl1pPr>
            <a:lvl2pPr lvl="1" rtl="0">
              <a:spcBef>
                <a:spcPts val="0"/>
              </a:spcBef>
              <a:spcAft>
                <a:spcPts val="0"/>
              </a:spcAft>
              <a:buClr>
                <a:srgbClr val="C1F400"/>
              </a:buClr>
              <a:buSzPts val="1400"/>
              <a:buFont typeface="Montserrat SemiBold"/>
              <a:buNone/>
              <a:defRPr>
                <a:solidFill>
                  <a:srgbClr val="C1F400"/>
                </a:solidFill>
                <a:latin typeface="Montserrat SemiBold"/>
                <a:ea typeface="Montserrat SemiBold"/>
                <a:cs typeface="Montserrat SemiBold"/>
                <a:sym typeface="Montserrat SemiBold"/>
              </a:defRPr>
            </a:lvl2pPr>
            <a:lvl3pPr lvl="2" rtl="0">
              <a:spcBef>
                <a:spcPts val="0"/>
              </a:spcBef>
              <a:spcAft>
                <a:spcPts val="0"/>
              </a:spcAft>
              <a:buClr>
                <a:srgbClr val="C1F400"/>
              </a:buClr>
              <a:buSzPts val="1400"/>
              <a:buFont typeface="Montserrat SemiBold"/>
              <a:buNone/>
              <a:defRPr>
                <a:solidFill>
                  <a:srgbClr val="C1F400"/>
                </a:solidFill>
                <a:latin typeface="Montserrat SemiBold"/>
                <a:ea typeface="Montserrat SemiBold"/>
                <a:cs typeface="Montserrat SemiBold"/>
                <a:sym typeface="Montserrat SemiBold"/>
              </a:defRPr>
            </a:lvl3pPr>
            <a:lvl4pPr lvl="3" rtl="0">
              <a:spcBef>
                <a:spcPts val="0"/>
              </a:spcBef>
              <a:spcAft>
                <a:spcPts val="0"/>
              </a:spcAft>
              <a:buClr>
                <a:srgbClr val="C1F400"/>
              </a:buClr>
              <a:buSzPts val="1400"/>
              <a:buFont typeface="Montserrat SemiBold"/>
              <a:buNone/>
              <a:defRPr>
                <a:solidFill>
                  <a:srgbClr val="C1F400"/>
                </a:solidFill>
                <a:latin typeface="Montserrat SemiBold"/>
                <a:ea typeface="Montserrat SemiBold"/>
                <a:cs typeface="Montserrat SemiBold"/>
                <a:sym typeface="Montserrat SemiBold"/>
              </a:defRPr>
            </a:lvl4pPr>
            <a:lvl5pPr lvl="4" rtl="0">
              <a:spcBef>
                <a:spcPts val="0"/>
              </a:spcBef>
              <a:spcAft>
                <a:spcPts val="0"/>
              </a:spcAft>
              <a:buClr>
                <a:srgbClr val="C1F400"/>
              </a:buClr>
              <a:buSzPts val="1400"/>
              <a:buFont typeface="Montserrat SemiBold"/>
              <a:buNone/>
              <a:defRPr>
                <a:solidFill>
                  <a:srgbClr val="C1F400"/>
                </a:solidFill>
                <a:latin typeface="Montserrat SemiBold"/>
                <a:ea typeface="Montserrat SemiBold"/>
                <a:cs typeface="Montserrat SemiBold"/>
                <a:sym typeface="Montserrat SemiBold"/>
              </a:defRPr>
            </a:lvl5pPr>
            <a:lvl6pPr lvl="5" rtl="0">
              <a:spcBef>
                <a:spcPts val="0"/>
              </a:spcBef>
              <a:spcAft>
                <a:spcPts val="0"/>
              </a:spcAft>
              <a:buClr>
                <a:srgbClr val="C1F400"/>
              </a:buClr>
              <a:buSzPts val="1400"/>
              <a:buFont typeface="Montserrat SemiBold"/>
              <a:buNone/>
              <a:defRPr>
                <a:solidFill>
                  <a:srgbClr val="C1F400"/>
                </a:solidFill>
                <a:latin typeface="Montserrat SemiBold"/>
                <a:ea typeface="Montserrat SemiBold"/>
                <a:cs typeface="Montserrat SemiBold"/>
                <a:sym typeface="Montserrat SemiBold"/>
              </a:defRPr>
            </a:lvl6pPr>
            <a:lvl7pPr lvl="6" rtl="0">
              <a:spcBef>
                <a:spcPts val="0"/>
              </a:spcBef>
              <a:spcAft>
                <a:spcPts val="0"/>
              </a:spcAft>
              <a:buClr>
                <a:srgbClr val="C1F400"/>
              </a:buClr>
              <a:buSzPts val="1400"/>
              <a:buFont typeface="Montserrat SemiBold"/>
              <a:buNone/>
              <a:defRPr>
                <a:solidFill>
                  <a:srgbClr val="C1F400"/>
                </a:solidFill>
                <a:latin typeface="Montserrat SemiBold"/>
                <a:ea typeface="Montserrat SemiBold"/>
                <a:cs typeface="Montserrat SemiBold"/>
                <a:sym typeface="Montserrat SemiBold"/>
              </a:defRPr>
            </a:lvl7pPr>
            <a:lvl8pPr lvl="7" rtl="0">
              <a:spcBef>
                <a:spcPts val="0"/>
              </a:spcBef>
              <a:spcAft>
                <a:spcPts val="0"/>
              </a:spcAft>
              <a:buClr>
                <a:srgbClr val="C1F400"/>
              </a:buClr>
              <a:buSzPts val="1400"/>
              <a:buFont typeface="Montserrat SemiBold"/>
              <a:buNone/>
              <a:defRPr>
                <a:solidFill>
                  <a:srgbClr val="C1F400"/>
                </a:solidFill>
                <a:latin typeface="Montserrat SemiBold"/>
                <a:ea typeface="Montserrat SemiBold"/>
                <a:cs typeface="Montserrat SemiBold"/>
                <a:sym typeface="Montserrat SemiBold"/>
              </a:defRPr>
            </a:lvl8pPr>
            <a:lvl9pPr lvl="8" rtl="0">
              <a:spcBef>
                <a:spcPts val="0"/>
              </a:spcBef>
              <a:spcAft>
                <a:spcPts val="0"/>
              </a:spcAft>
              <a:buClr>
                <a:srgbClr val="C1F400"/>
              </a:buClr>
              <a:buSzPts val="1400"/>
              <a:buFont typeface="Montserrat SemiBold"/>
              <a:buNone/>
              <a:defRPr>
                <a:solidFill>
                  <a:srgbClr val="C1F400"/>
                </a:solidFill>
                <a:latin typeface="Montserrat SemiBold"/>
                <a:ea typeface="Montserrat SemiBold"/>
                <a:cs typeface="Montserrat SemiBold"/>
                <a:sym typeface="Montserrat SemiBold"/>
              </a:defRPr>
            </a:lvl9pPr>
          </a:lstStyle>
          <a:p>
            <a:endParaRPr/>
          </a:p>
        </p:txBody>
      </p:sp>
      <p:sp>
        <p:nvSpPr>
          <p:cNvPr id="728" name="Google Shape;728;p55"/>
          <p:cNvSpPr txBox="1">
            <a:spLocks noGrp="1"/>
          </p:cNvSpPr>
          <p:nvPr>
            <p:ph type="title" idx="13"/>
          </p:nvPr>
        </p:nvSpPr>
        <p:spPr>
          <a:xfrm>
            <a:off x="12073094" y="5283750"/>
            <a:ext cx="1002900" cy="26505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9600"/>
              <a:buFont typeface="Montserrat Black"/>
              <a:buNone/>
              <a:defRPr sz="9600">
                <a:solidFill>
                  <a:srgbClr val="002A44"/>
                </a:solidFill>
                <a:latin typeface="Montserrat Black"/>
                <a:ea typeface="Montserrat Black"/>
                <a:cs typeface="Montserrat Black"/>
                <a:sym typeface="Montserrat Black"/>
              </a:defRPr>
            </a:lvl1pPr>
            <a:lvl2pPr lvl="1" rtl="0">
              <a:spcBef>
                <a:spcPts val="0"/>
              </a:spcBef>
              <a:spcAft>
                <a:spcPts val="0"/>
              </a:spcAft>
              <a:buSzPts val="9600"/>
              <a:buNone/>
              <a:defRPr sz="9600"/>
            </a:lvl2pPr>
            <a:lvl3pPr lvl="2" rtl="0">
              <a:spcBef>
                <a:spcPts val="0"/>
              </a:spcBef>
              <a:spcAft>
                <a:spcPts val="0"/>
              </a:spcAft>
              <a:buSzPts val="9600"/>
              <a:buNone/>
              <a:defRPr sz="9600"/>
            </a:lvl3pPr>
            <a:lvl4pPr lvl="3" rtl="0">
              <a:spcBef>
                <a:spcPts val="0"/>
              </a:spcBef>
              <a:spcAft>
                <a:spcPts val="0"/>
              </a:spcAft>
              <a:buSzPts val="9600"/>
              <a:buNone/>
              <a:defRPr sz="9600"/>
            </a:lvl4pPr>
            <a:lvl5pPr lvl="4" rtl="0">
              <a:spcBef>
                <a:spcPts val="0"/>
              </a:spcBef>
              <a:spcAft>
                <a:spcPts val="0"/>
              </a:spcAft>
              <a:buSzPts val="9600"/>
              <a:buNone/>
              <a:defRPr sz="9600"/>
            </a:lvl5pPr>
            <a:lvl6pPr lvl="5" rtl="0">
              <a:spcBef>
                <a:spcPts val="0"/>
              </a:spcBef>
              <a:spcAft>
                <a:spcPts val="0"/>
              </a:spcAft>
              <a:buSzPts val="9600"/>
              <a:buNone/>
              <a:defRPr sz="9600"/>
            </a:lvl6pPr>
            <a:lvl7pPr lvl="6" rtl="0">
              <a:spcBef>
                <a:spcPts val="0"/>
              </a:spcBef>
              <a:spcAft>
                <a:spcPts val="0"/>
              </a:spcAft>
              <a:buSzPts val="9600"/>
              <a:buNone/>
              <a:defRPr sz="9600"/>
            </a:lvl7pPr>
            <a:lvl8pPr lvl="7" rtl="0">
              <a:spcBef>
                <a:spcPts val="0"/>
              </a:spcBef>
              <a:spcAft>
                <a:spcPts val="0"/>
              </a:spcAft>
              <a:buSzPts val="9600"/>
              <a:buNone/>
              <a:defRPr sz="9600"/>
            </a:lvl8pPr>
            <a:lvl9pPr lvl="8" rtl="0">
              <a:spcBef>
                <a:spcPts val="0"/>
              </a:spcBef>
              <a:spcAft>
                <a:spcPts val="0"/>
              </a:spcAft>
              <a:buSzPts val="9600"/>
              <a:buNone/>
              <a:defRPr sz="9600"/>
            </a:lvl9pPr>
          </a:lstStyle>
          <a:p>
            <a:endParaRPr/>
          </a:p>
        </p:txBody>
      </p:sp>
      <p:sp>
        <p:nvSpPr>
          <p:cNvPr id="729" name="Google Shape;729;p55"/>
          <p:cNvSpPr txBox="1">
            <a:spLocks noGrp="1"/>
          </p:cNvSpPr>
          <p:nvPr>
            <p:ph type="title" idx="14"/>
          </p:nvPr>
        </p:nvSpPr>
        <p:spPr>
          <a:xfrm>
            <a:off x="17975569" y="5283750"/>
            <a:ext cx="1002900" cy="26505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9600"/>
              <a:buFont typeface="Montserrat Black"/>
              <a:buNone/>
              <a:defRPr sz="9600">
                <a:solidFill>
                  <a:srgbClr val="002A44"/>
                </a:solidFill>
                <a:latin typeface="Montserrat Black"/>
                <a:ea typeface="Montserrat Black"/>
                <a:cs typeface="Montserrat Black"/>
                <a:sym typeface="Montserrat Black"/>
              </a:defRPr>
            </a:lvl1pPr>
            <a:lvl2pPr lvl="1" rtl="0">
              <a:spcBef>
                <a:spcPts val="0"/>
              </a:spcBef>
              <a:spcAft>
                <a:spcPts val="0"/>
              </a:spcAft>
              <a:buSzPts val="9600"/>
              <a:buNone/>
              <a:defRPr sz="9600"/>
            </a:lvl2pPr>
            <a:lvl3pPr lvl="2" rtl="0">
              <a:spcBef>
                <a:spcPts val="0"/>
              </a:spcBef>
              <a:spcAft>
                <a:spcPts val="0"/>
              </a:spcAft>
              <a:buSzPts val="9600"/>
              <a:buNone/>
              <a:defRPr sz="9600"/>
            </a:lvl3pPr>
            <a:lvl4pPr lvl="3" rtl="0">
              <a:spcBef>
                <a:spcPts val="0"/>
              </a:spcBef>
              <a:spcAft>
                <a:spcPts val="0"/>
              </a:spcAft>
              <a:buSzPts val="9600"/>
              <a:buNone/>
              <a:defRPr sz="9600"/>
            </a:lvl4pPr>
            <a:lvl5pPr lvl="4" rtl="0">
              <a:spcBef>
                <a:spcPts val="0"/>
              </a:spcBef>
              <a:spcAft>
                <a:spcPts val="0"/>
              </a:spcAft>
              <a:buSzPts val="9600"/>
              <a:buNone/>
              <a:defRPr sz="9600"/>
            </a:lvl5pPr>
            <a:lvl6pPr lvl="5" rtl="0">
              <a:spcBef>
                <a:spcPts val="0"/>
              </a:spcBef>
              <a:spcAft>
                <a:spcPts val="0"/>
              </a:spcAft>
              <a:buSzPts val="9600"/>
              <a:buNone/>
              <a:defRPr sz="9600"/>
            </a:lvl6pPr>
            <a:lvl7pPr lvl="6" rtl="0">
              <a:spcBef>
                <a:spcPts val="0"/>
              </a:spcBef>
              <a:spcAft>
                <a:spcPts val="0"/>
              </a:spcAft>
              <a:buSzPts val="9600"/>
              <a:buNone/>
              <a:defRPr sz="9600"/>
            </a:lvl7pPr>
            <a:lvl8pPr lvl="7" rtl="0">
              <a:spcBef>
                <a:spcPts val="0"/>
              </a:spcBef>
              <a:spcAft>
                <a:spcPts val="0"/>
              </a:spcAft>
              <a:buSzPts val="9600"/>
              <a:buNone/>
              <a:defRPr sz="9600"/>
            </a:lvl8pPr>
            <a:lvl9pPr lvl="8" rtl="0">
              <a:spcBef>
                <a:spcPts val="0"/>
              </a:spcBef>
              <a:spcAft>
                <a:spcPts val="0"/>
              </a:spcAft>
              <a:buSzPts val="9600"/>
              <a:buNone/>
              <a:defRPr sz="9600"/>
            </a:lvl9pPr>
          </a:lstStyle>
          <a:p>
            <a:endParaRPr/>
          </a:p>
        </p:txBody>
      </p:sp>
      <p:sp>
        <p:nvSpPr>
          <p:cNvPr id="730" name="Google Shape;730;p55"/>
          <p:cNvSpPr txBox="1">
            <a:spLocks noGrp="1"/>
          </p:cNvSpPr>
          <p:nvPr>
            <p:ph type="title" idx="15"/>
          </p:nvPr>
        </p:nvSpPr>
        <p:spPr>
          <a:xfrm>
            <a:off x="1704776" y="9276238"/>
            <a:ext cx="7633800" cy="737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1pPr>
            <a:lvl2pPr lvl="1" rtl="0">
              <a:spcBef>
                <a:spcPts val="0"/>
              </a:spcBef>
              <a:spcAft>
                <a:spcPts val="0"/>
              </a:spcAft>
              <a:buSzPts val="2400"/>
              <a:buNone/>
              <a:defRPr sz="2400"/>
            </a:lvl2pPr>
            <a:lvl3pPr lvl="2" rtl="0">
              <a:spcBef>
                <a:spcPts val="0"/>
              </a:spcBef>
              <a:spcAft>
                <a:spcPts val="0"/>
              </a:spcAft>
              <a:buSzPts val="2400"/>
              <a:buNone/>
              <a:defRPr sz="2400"/>
            </a:lvl3pPr>
            <a:lvl4pPr lvl="3" rtl="0">
              <a:spcBef>
                <a:spcPts val="0"/>
              </a:spcBef>
              <a:spcAft>
                <a:spcPts val="0"/>
              </a:spcAft>
              <a:buSzPts val="2400"/>
              <a:buNone/>
              <a:defRPr sz="2400"/>
            </a:lvl4pPr>
            <a:lvl5pPr lvl="4" rtl="0">
              <a:spcBef>
                <a:spcPts val="0"/>
              </a:spcBef>
              <a:spcAft>
                <a:spcPts val="0"/>
              </a:spcAft>
              <a:buSzPts val="2400"/>
              <a:buNone/>
              <a:defRPr sz="2400"/>
            </a:lvl5pPr>
            <a:lvl6pPr lvl="5" rtl="0">
              <a:spcBef>
                <a:spcPts val="0"/>
              </a:spcBef>
              <a:spcAft>
                <a:spcPts val="0"/>
              </a:spcAft>
              <a:buSzPts val="2400"/>
              <a:buNone/>
              <a:defRPr sz="2400"/>
            </a:lvl6pPr>
            <a:lvl7pPr lvl="6" rtl="0">
              <a:spcBef>
                <a:spcPts val="0"/>
              </a:spcBef>
              <a:spcAft>
                <a:spcPts val="0"/>
              </a:spcAft>
              <a:buSzPts val="2400"/>
              <a:buNone/>
              <a:defRPr sz="2400"/>
            </a:lvl7pPr>
            <a:lvl8pPr lvl="7" rtl="0">
              <a:spcBef>
                <a:spcPts val="0"/>
              </a:spcBef>
              <a:spcAft>
                <a:spcPts val="0"/>
              </a:spcAft>
              <a:buSzPts val="2400"/>
              <a:buNone/>
              <a:defRPr sz="2400"/>
            </a:lvl8pPr>
            <a:lvl9pPr lvl="8" rtl="0">
              <a:spcBef>
                <a:spcPts val="0"/>
              </a:spcBef>
              <a:spcAft>
                <a:spcPts val="0"/>
              </a:spcAft>
              <a:buSzPts val="2400"/>
              <a:buNone/>
              <a:defRPr sz="2400"/>
            </a:lvl9pPr>
          </a:lstStyle>
          <a:p>
            <a:endParaRPr/>
          </a:p>
        </p:txBody>
      </p:sp>
      <p:sp>
        <p:nvSpPr>
          <p:cNvPr id="731" name="Google Shape;731;p55"/>
          <p:cNvSpPr/>
          <p:nvPr/>
        </p:nvSpPr>
        <p:spPr>
          <a:xfrm>
            <a:off x="1704775" y="9943863"/>
            <a:ext cx="1240500" cy="1240500"/>
          </a:xfrm>
          <a:prstGeom prst="ellipse">
            <a:avLst/>
          </a:prstGeom>
          <a:solidFill>
            <a:srgbClr val="002A4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732" name="Google Shape;732;p55"/>
          <p:cNvSpPr>
            <a:spLocks noGrp="1"/>
          </p:cNvSpPr>
          <p:nvPr>
            <p:ph type="pic" idx="16"/>
          </p:nvPr>
        </p:nvSpPr>
        <p:spPr>
          <a:xfrm>
            <a:off x="2001625" y="10240713"/>
            <a:ext cx="646800" cy="646800"/>
          </a:xfrm>
          <a:prstGeom prst="ellipse">
            <a:avLst/>
          </a:prstGeom>
          <a:noFill/>
          <a:ln>
            <a:noFill/>
          </a:ln>
        </p:spPr>
      </p:sp>
      <p:sp>
        <p:nvSpPr>
          <p:cNvPr id="733" name="Google Shape;733;p55"/>
          <p:cNvSpPr/>
          <p:nvPr/>
        </p:nvSpPr>
        <p:spPr>
          <a:xfrm>
            <a:off x="3405675" y="9943863"/>
            <a:ext cx="1240500" cy="1240500"/>
          </a:xfrm>
          <a:prstGeom prst="ellipse">
            <a:avLst/>
          </a:prstGeom>
          <a:solidFill>
            <a:srgbClr val="002A4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734" name="Google Shape;734;p55"/>
          <p:cNvSpPr>
            <a:spLocks noGrp="1"/>
          </p:cNvSpPr>
          <p:nvPr>
            <p:ph type="pic" idx="17"/>
          </p:nvPr>
        </p:nvSpPr>
        <p:spPr>
          <a:xfrm>
            <a:off x="3702525" y="10240713"/>
            <a:ext cx="646800" cy="646800"/>
          </a:xfrm>
          <a:prstGeom prst="ellipse">
            <a:avLst/>
          </a:prstGeom>
          <a:noFill/>
          <a:ln>
            <a:noFill/>
          </a:ln>
        </p:spPr>
      </p:sp>
      <p:sp>
        <p:nvSpPr>
          <p:cNvPr id="735" name="Google Shape;735;p55"/>
          <p:cNvSpPr/>
          <p:nvPr/>
        </p:nvSpPr>
        <p:spPr>
          <a:xfrm>
            <a:off x="5106575" y="9943863"/>
            <a:ext cx="1240500" cy="1240500"/>
          </a:xfrm>
          <a:prstGeom prst="ellipse">
            <a:avLst/>
          </a:prstGeom>
          <a:solidFill>
            <a:srgbClr val="002A4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736" name="Google Shape;736;p55"/>
          <p:cNvSpPr>
            <a:spLocks noGrp="1"/>
          </p:cNvSpPr>
          <p:nvPr>
            <p:ph type="pic" idx="18"/>
          </p:nvPr>
        </p:nvSpPr>
        <p:spPr>
          <a:xfrm>
            <a:off x="5403425" y="10240713"/>
            <a:ext cx="646800" cy="646800"/>
          </a:xfrm>
          <a:prstGeom prst="ellipse">
            <a:avLst/>
          </a:prstGeom>
          <a:noFill/>
          <a:ln>
            <a:noFill/>
          </a:ln>
        </p:spPr>
      </p:sp>
      <p:sp>
        <p:nvSpPr>
          <p:cNvPr id="737" name="Google Shape;737;p55"/>
          <p:cNvSpPr/>
          <p:nvPr/>
        </p:nvSpPr>
        <p:spPr>
          <a:xfrm>
            <a:off x="6807475" y="9943863"/>
            <a:ext cx="1240500" cy="1240500"/>
          </a:xfrm>
          <a:prstGeom prst="ellipse">
            <a:avLst/>
          </a:prstGeom>
          <a:solidFill>
            <a:srgbClr val="002A4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738" name="Google Shape;738;p55"/>
          <p:cNvSpPr>
            <a:spLocks noGrp="1"/>
          </p:cNvSpPr>
          <p:nvPr>
            <p:ph type="pic" idx="19"/>
          </p:nvPr>
        </p:nvSpPr>
        <p:spPr>
          <a:xfrm>
            <a:off x="7104325" y="10240713"/>
            <a:ext cx="646800" cy="646800"/>
          </a:xfrm>
          <a:prstGeom prst="ellipse">
            <a:avLst/>
          </a:prstGeom>
          <a:noFill/>
          <a:ln>
            <a:noFill/>
          </a:ln>
        </p:spPr>
      </p:sp>
      <p:sp>
        <p:nvSpPr>
          <p:cNvPr id="739" name="Google Shape;739;p55"/>
          <p:cNvSpPr txBox="1"/>
          <p:nvPr/>
        </p:nvSpPr>
        <p:spPr>
          <a:xfrm>
            <a:off x="1704775" y="799925"/>
            <a:ext cx="4470600" cy="615600"/>
          </a:xfrm>
          <a:prstGeom prst="rect">
            <a:avLst/>
          </a:prstGeom>
          <a:solidFill>
            <a:srgbClr val="C1F400"/>
          </a:solidFill>
          <a:ln>
            <a:noFill/>
          </a:ln>
        </p:spPr>
        <p:txBody>
          <a:bodyPr spcFirstLastPara="1" wrap="square" lIns="91425" tIns="91425" rIns="91425" bIns="91425" anchor="t" anchorCtr="0">
            <a:spAutoFit/>
          </a:bodyPr>
          <a:lstStyle/>
          <a:p>
            <a:pPr marL="457200" lvl="0" indent="0" algn="l" rtl="0">
              <a:lnSpc>
                <a:spcPct val="115000"/>
              </a:lnSpc>
              <a:spcBef>
                <a:spcPts val="0"/>
              </a:spcBef>
              <a:spcAft>
                <a:spcPts val="0"/>
              </a:spcAft>
              <a:buNone/>
            </a:pPr>
            <a:endParaRPr sz="2800">
              <a:solidFill>
                <a:srgbClr val="002A44"/>
              </a:solidFill>
              <a:latin typeface="Montserrat Black"/>
              <a:ea typeface="Montserrat Black"/>
              <a:cs typeface="Montserrat Black"/>
              <a:sym typeface="Montserrat Black"/>
            </a:endParaRPr>
          </a:p>
        </p:txBody>
      </p:sp>
      <p:sp>
        <p:nvSpPr>
          <p:cNvPr id="740" name="Google Shape;740;p55"/>
          <p:cNvSpPr txBox="1">
            <a:spLocks noGrp="1"/>
          </p:cNvSpPr>
          <p:nvPr>
            <p:ph type="subTitle" idx="20"/>
          </p:nvPr>
        </p:nvSpPr>
        <p:spPr>
          <a:xfrm>
            <a:off x="1812875" y="800050"/>
            <a:ext cx="3377400" cy="6156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1pPr>
            <a:lvl2pPr lvl="1"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2pPr>
            <a:lvl3pPr lvl="2"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3pPr>
            <a:lvl4pPr lvl="3"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4pPr>
            <a:lvl5pPr lvl="4"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5pPr>
            <a:lvl6pPr lvl="5"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6pPr>
            <a:lvl7pPr lvl="6"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7pPr>
            <a:lvl8pPr lvl="7"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8pPr>
            <a:lvl9pPr lvl="8"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9pPr>
          </a:lstStyle>
          <a:p>
            <a:endParaRP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Closing - Next Steps 1">
  <p:cSld name="Closing - Next Steps 1">
    <p:bg>
      <p:bgPr>
        <a:solidFill>
          <a:srgbClr val="C1F400"/>
        </a:solidFill>
        <a:effectLst/>
      </p:bgPr>
    </p:bg>
    <p:spTree>
      <p:nvGrpSpPr>
        <p:cNvPr id="1" name="Shape 741"/>
        <p:cNvGrpSpPr/>
        <p:nvPr/>
      </p:nvGrpSpPr>
      <p:grpSpPr>
        <a:xfrm>
          <a:off x="0" y="0"/>
          <a:ext cx="0" cy="0"/>
          <a:chOff x="0" y="0"/>
          <a:chExt cx="0" cy="0"/>
        </a:xfrm>
      </p:grpSpPr>
      <p:pic>
        <p:nvPicPr>
          <p:cNvPr id="742" name="Google Shape;742;p56"/>
          <p:cNvPicPr preferRelativeResize="0"/>
          <p:nvPr/>
        </p:nvPicPr>
        <p:blipFill>
          <a:blip r:embed="rId2">
            <a:alphaModFix/>
          </a:blip>
          <a:stretch>
            <a:fillRect/>
          </a:stretch>
        </p:blipFill>
        <p:spPr>
          <a:xfrm>
            <a:off x="0" y="757950"/>
            <a:ext cx="24377651" cy="12313950"/>
          </a:xfrm>
          <a:prstGeom prst="rect">
            <a:avLst/>
          </a:prstGeom>
          <a:noFill/>
          <a:ln>
            <a:noFill/>
          </a:ln>
        </p:spPr>
      </p:pic>
      <p:sp>
        <p:nvSpPr>
          <p:cNvPr id="743" name="Google Shape;743;p56"/>
          <p:cNvSpPr txBox="1">
            <a:spLocks noGrp="1"/>
          </p:cNvSpPr>
          <p:nvPr>
            <p:ph type="title"/>
          </p:nvPr>
        </p:nvSpPr>
        <p:spPr>
          <a:xfrm>
            <a:off x="1192675" y="7029325"/>
            <a:ext cx="10842300" cy="26505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8400"/>
              <a:buFont typeface="Montserrat Black"/>
              <a:buNone/>
              <a:defRPr sz="8400">
                <a:solidFill>
                  <a:schemeClr val="lt1"/>
                </a:solidFill>
                <a:latin typeface="Montserrat Black"/>
                <a:ea typeface="Montserrat Black"/>
                <a:cs typeface="Montserrat Black"/>
                <a:sym typeface="Montserrat Black"/>
              </a:defRPr>
            </a:lvl1pPr>
            <a:lvl2pPr lvl="1" rtl="0">
              <a:spcBef>
                <a:spcPts val="0"/>
              </a:spcBef>
              <a:spcAft>
                <a:spcPts val="0"/>
              </a:spcAft>
              <a:buClr>
                <a:schemeClr val="lt1"/>
              </a:buClr>
              <a:buSzPts val="8400"/>
              <a:buNone/>
              <a:defRPr sz="8400">
                <a:solidFill>
                  <a:schemeClr val="lt1"/>
                </a:solidFill>
              </a:defRPr>
            </a:lvl2pPr>
            <a:lvl3pPr lvl="2" rtl="0">
              <a:spcBef>
                <a:spcPts val="0"/>
              </a:spcBef>
              <a:spcAft>
                <a:spcPts val="0"/>
              </a:spcAft>
              <a:buClr>
                <a:schemeClr val="lt1"/>
              </a:buClr>
              <a:buSzPts val="8400"/>
              <a:buNone/>
              <a:defRPr sz="8400">
                <a:solidFill>
                  <a:schemeClr val="lt1"/>
                </a:solidFill>
              </a:defRPr>
            </a:lvl3pPr>
            <a:lvl4pPr lvl="3" rtl="0">
              <a:spcBef>
                <a:spcPts val="0"/>
              </a:spcBef>
              <a:spcAft>
                <a:spcPts val="0"/>
              </a:spcAft>
              <a:buClr>
                <a:schemeClr val="lt1"/>
              </a:buClr>
              <a:buSzPts val="8400"/>
              <a:buNone/>
              <a:defRPr sz="8400">
                <a:solidFill>
                  <a:schemeClr val="lt1"/>
                </a:solidFill>
              </a:defRPr>
            </a:lvl4pPr>
            <a:lvl5pPr lvl="4" rtl="0">
              <a:spcBef>
                <a:spcPts val="0"/>
              </a:spcBef>
              <a:spcAft>
                <a:spcPts val="0"/>
              </a:spcAft>
              <a:buClr>
                <a:schemeClr val="lt1"/>
              </a:buClr>
              <a:buSzPts val="8400"/>
              <a:buNone/>
              <a:defRPr sz="8400">
                <a:solidFill>
                  <a:schemeClr val="lt1"/>
                </a:solidFill>
              </a:defRPr>
            </a:lvl5pPr>
            <a:lvl6pPr lvl="5" rtl="0">
              <a:spcBef>
                <a:spcPts val="0"/>
              </a:spcBef>
              <a:spcAft>
                <a:spcPts val="0"/>
              </a:spcAft>
              <a:buClr>
                <a:schemeClr val="lt1"/>
              </a:buClr>
              <a:buSzPts val="8400"/>
              <a:buNone/>
              <a:defRPr sz="8400">
                <a:solidFill>
                  <a:schemeClr val="lt1"/>
                </a:solidFill>
              </a:defRPr>
            </a:lvl6pPr>
            <a:lvl7pPr lvl="6" rtl="0">
              <a:spcBef>
                <a:spcPts val="0"/>
              </a:spcBef>
              <a:spcAft>
                <a:spcPts val="0"/>
              </a:spcAft>
              <a:buClr>
                <a:schemeClr val="lt1"/>
              </a:buClr>
              <a:buSzPts val="8400"/>
              <a:buNone/>
              <a:defRPr sz="8400">
                <a:solidFill>
                  <a:schemeClr val="lt1"/>
                </a:solidFill>
              </a:defRPr>
            </a:lvl7pPr>
            <a:lvl8pPr lvl="7" rtl="0">
              <a:spcBef>
                <a:spcPts val="0"/>
              </a:spcBef>
              <a:spcAft>
                <a:spcPts val="0"/>
              </a:spcAft>
              <a:buClr>
                <a:schemeClr val="lt1"/>
              </a:buClr>
              <a:buSzPts val="8400"/>
              <a:buNone/>
              <a:defRPr sz="8400">
                <a:solidFill>
                  <a:schemeClr val="lt1"/>
                </a:solidFill>
              </a:defRPr>
            </a:lvl8pPr>
            <a:lvl9pPr lvl="8" rtl="0">
              <a:spcBef>
                <a:spcPts val="0"/>
              </a:spcBef>
              <a:spcAft>
                <a:spcPts val="0"/>
              </a:spcAft>
              <a:buClr>
                <a:schemeClr val="lt1"/>
              </a:buClr>
              <a:buSzPts val="8400"/>
              <a:buNone/>
              <a:defRPr sz="8400">
                <a:solidFill>
                  <a:schemeClr val="lt1"/>
                </a:solidFill>
              </a:defRPr>
            </a:lvl9pPr>
          </a:lstStyle>
          <a:p>
            <a:endParaRPr/>
          </a:p>
        </p:txBody>
      </p:sp>
      <p:sp>
        <p:nvSpPr>
          <p:cNvPr id="744" name="Google Shape;744;p56"/>
          <p:cNvSpPr/>
          <p:nvPr/>
        </p:nvSpPr>
        <p:spPr>
          <a:xfrm>
            <a:off x="1350649" y="3213775"/>
            <a:ext cx="4666932" cy="2650818"/>
          </a:xfrm>
          <a:custGeom>
            <a:avLst/>
            <a:gdLst/>
            <a:ahLst/>
            <a:cxnLst/>
            <a:rect l="l" t="t" r="r" b="b"/>
            <a:pathLst>
              <a:path w="3864954" h="2195294" extrusionOk="0">
                <a:moveTo>
                  <a:pt x="0" y="0"/>
                </a:moveTo>
                <a:lnTo>
                  <a:pt x="3864953" y="0"/>
                </a:lnTo>
                <a:lnTo>
                  <a:pt x="3864953" y="2195294"/>
                </a:lnTo>
                <a:lnTo>
                  <a:pt x="0" y="2195294"/>
                </a:lnTo>
                <a:lnTo>
                  <a:pt x="0" y="0"/>
                </a:lnTo>
                <a:close/>
              </a:path>
            </a:pathLst>
          </a:custGeom>
          <a:blipFill rotWithShape="1">
            <a:blip r:embed="rId3">
              <a:alphaModFix/>
            </a:blip>
            <a:stretch>
              <a:fillRect/>
            </a:stretch>
          </a:blipFill>
          <a:ln>
            <a:noFill/>
          </a:ln>
        </p:spPr>
      </p:sp>
      <p:sp>
        <p:nvSpPr>
          <p:cNvPr id="745" name="Google Shape;745;p56"/>
          <p:cNvSpPr txBox="1">
            <a:spLocks noGrp="1"/>
          </p:cNvSpPr>
          <p:nvPr>
            <p:ph type="subTitle" idx="1"/>
          </p:nvPr>
        </p:nvSpPr>
        <p:spPr>
          <a:xfrm>
            <a:off x="11894800" y="12311650"/>
            <a:ext cx="11616000" cy="1240500"/>
          </a:xfrm>
          <a:prstGeom prst="rect">
            <a:avLst/>
          </a:prstGeom>
          <a:noFill/>
          <a:ln>
            <a:noFill/>
          </a:ln>
        </p:spPr>
        <p:txBody>
          <a:bodyPr spcFirstLastPara="1" wrap="square" lIns="91425" tIns="91425" rIns="91425" bIns="91425" anchor="ctr" anchorCtr="0">
            <a:noAutofit/>
          </a:bodyPr>
          <a:lstStyle>
            <a:lvl1pPr lvl="0" algn="r" rtl="0">
              <a:spcBef>
                <a:spcPts val="0"/>
              </a:spcBef>
              <a:spcAft>
                <a:spcPts val="0"/>
              </a:spcAft>
              <a:buClr>
                <a:srgbClr val="002A44"/>
              </a:buClr>
              <a:buSzPts val="2400"/>
              <a:buFont typeface="Montserrat SemiBold"/>
              <a:buNone/>
              <a:defRPr sz="2400">
                <a:solidFill>
                  <a:srgbClr val="002A44"/>
                </a:solidFill>
                <a:latin typeface="Montserrat SemiBold"/>
                <a:ea typeface="Montserrat SemiBold"/>
                <a:cs typeface="Montserrat SemiBold"/>
                <a:sym typeface="Montserrat SemiBold"/>
              </a:defRPr>
            </a:lvl1pPr>
            <a:lvl2pPr lvl="1" rtl="0">
              <a:spcBef>
                <a:spcPts val="0"/>
              </a:spcBef>
              <a:spcAft>
                <a:spcPts val="0"/>
              </a:spcAft>
              <a:buClr>
                <a:srgbClr val="002A44"/>
              </a:buClr>
              <a:buSzPts val="1400"/>
              <a:buNone/>
              <a:defRPr>
                <a:solidFill>
                  <a:srgbClr val="002A44"/>
                </a:solidFill>
              </a:defRPr>
            </a:lvl2pPr>
            <a:lvl3pPr lvl="2" rtl="0">
              <a:spcBef>
                <a:spcPts val="0"/>
              </a:spcBef>
              <a:spcAft>
                <a:spcPts val="0"/>
              </a:spcAft>
              <a:buClr>
                <a:srgbClr val="002A44"/>
              </a:buClr>
              <a:buSzPts val="1400"/>
              <a:buNone/>
              <a:defRPr>
                <a:solidFill>
                  <a:srgbClr val="002A44"/>
                </a:solidFill>
              </a:defRPr>
            </a:lvl3pPr>
            <a:lvl4pPr lvl="3" rtl="0">
              <a:spcBef>
                <a:spcPts val="0"/>
              </a:spcBef>
              <a:spcAft>
                <a:spcPts val="0"/>
              </a:spcAft>
              <a:buClr>
                <a:srgbClr val="002A44"/>
              </a:buClr>
              <a:buSzPts val="1400"/>
              <a:buNone/>
              <a:defRPr>
                <a:solidFill>
                  <a:srgbClr val="002A44"/>
                </a:solidFill>
              </a:defRPr>
            </a:lvl4pPr>
            <a:lvl5pPr lvl="4" rtl="0">
              <a:spcBef>
                <a:spcPts val="0"/>
              </a:spcBef>
              <a:spcAft>
                <a:spcPts val="0"/>
              </a:spcAft>
              <a:buClr>
                <a:srgbClr val="002A44"/>
              </a:buClr>
              <a:buSzPts val="1400"/>
              <a:buNone/>
              <a:defRPr>
                <a:solidFill>
                  <a:srgbClr val="002A44"/>
                </a:solidFill>
              </a:defRPr>
            </a:lvl5pPr>
            <a:lvl6pPr lvl="5" rtl="0">
              <a:spcBef>
                <a:spcPts val="0"/>
              </a:spcBef>
              <a:spcAft>
                <a:spcPts val="0"/>
              </a:spcAft>
              <a:buClr>
                <a:srgbClr val="002A44"/>
              </a:buClr>
              <a:buSzPts val="1400"/>
              <a:buNone/>
              <a:defRPr>
                <a:solidFill>
                  <a:srgbClr val="002A44"/>
                </a:solidFill>
              </a:defRPr>
            </a:lvl6pPr>
            <a:lvl7pPr lvl="6" rtl="0">
              <a:spcBef>
                <a:spcPts val="0"/>
              </a:spcBef>
              <a:spcAft>
                <a:spcPts val="0"/>
              </a:spcAft>
              <a:buClr>
                <a:srgbClr val="002A44"/>
              </a:buClr>
              <a:buSzPts val="1400"/>
              <a:buNone/>
              <a:defRPr>
                <a:solidFill>
                  <a:srgbClr val="002A44"/>
                </a:solidFill>
              </a:defRPr>
            </a:lvl7pPr>
            <a:lvl8pPr lvl="7" rtl="0">
              <a:spcBef>
                <a:spcPts val="0"/>
              </a:spcBef>
              <a:spcAft>
                <a:spcPts val="0"/>
              </a:spcAft>
              <a:buClr>
                <a:srgbClr val="002A44"/>
              </a:buClr>
              <a:buSzPts val="1400"/>
              <a:buNone/>
              <a:defRPr>
                <a:solidFill>
                  <a:srgbClr val="002A44"/>
                </a:solidFill>
              </a:defRPr>
            </a:lvl8pPr>
            <a:lvl9pPr lvl="8" rtl="0">
              <a:spcBef>
                <a:spcPts val="0"/>
              </a:spcBef>
              <a:spcAft>
                <a:spcPts val="0"/>
              </a:spcAft>
              <a:buClr>
                <a:srgbClr val="002A44"/>
              </a:buClr>
              <a:buSzPts val="1400"/>
              <a:buNone/>
              <a:defRPr>
                <a:solidFill>
                  <a:srgbClr val="002A44"/>
                </a:solidFill>
              </a:defRPr>
            </a:lvl9pPr>
          </a:lstStyle>
          <a:p>
            <a:endParaRPr/>
          </a:p>
        </p:txBody>
      </p:sp>
      <p:sp>
        <p:nvSpPr>
          <p:cNvPr id="746" name="Google Shape;746;p56"/>
          <p:cNvSpPr txBox="1">
            <a:spLocks noGrp="1"/>
          </p:cNvSpPr>
          <p:nvPr>
            <p:ph type="title" idx="2"/>
          </p:nvPr>
        </p:nvSpPr>
        <p:spPr>
          <a:xfrm>
            <a:off x="13428825" y="2097650"/>
            <a:ext cx="7452600" cy="9291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3600"/>
              <a:buFont typeface="Montserrat Black"/>
              <a:buNone/>
              <a:defRPr sz="3600">
                <a:solidFill>
                  <a:srgbClr val="C1F400"/>
                </a:solidFill>
                <a:latin typeface="Montserrat Black"/>
                <a:ea typeface="Montserrat Black"/>
                <a:cs typeface="Montserrat Black"/>
                <a:sym typeface="Montserrat Black"/>
              </a:defRPr>
            </a:lvl1pPr>
            <a:lvl2pPr lvl="1" rtl="0">
              <a:spcBef>
                <a:spcPts val="0"/>
              </a:spcBef>
              <a:spcAft>
                <a:spcPts val="0"/>
              </a:spcAft>
              <a:buClr>
                <a:srgbClr val="C1F400"/>
              </a:buClr>
              <a:buSzPts val="3600"/>
              <a:buNone/>
              <a:defRPr sz="3600">
                <a:solidFill>
                  <a:srgbClr val="C1F400"/>
                </a:solidFill>
              </a:defRPr>
            </a:lvl2pPr>
            <a:lvl3pPr lvl="2" rtl="0">
              <a:spcBef>
                <a:spcPts val="0"/>
              </a:spcBef>
              <a:spcAft>
                <a:spcPts val="0"/>
              </a:spcAft>
              <a:buClr>
                <a:srgbClr val="C1F400"/>
              </a:buClr>
              <a:buSzPts val="3600"/>
              <a:buNone/>
              <a:defRPr sz="3600">
                <a:solidFill>
                  <a:srgbClr val="C1F400"/>
                </a:solidFill>
              </a:defRPr>
            </a:lvl3pPr>
            <a:lvl4pPr lvl="3" rtl="0">
              <a:spcBef>
                <a:spcPts val="0"/>
              </a:spcBef>
              <a:spcAft>
                <a:spcPts val="0"/>
              </a:spcAft>
              <a:buClr>
                <a:srgbClr val="C1F400"/>
              </a:buClr>
              <a:buSzPts val="3600"/>
              <a:buNone/>
              <a:defRPr sz="3600">
                <a:solidFill>
                  <a:srgbClr val="C1F400"/>
                </a:solidFill>
              </a:defRPr>
            </a:lvl4pPr>
            <a:lvl5pPr lvl="4" rtl="0">
              <a:spcBef>
                <a:spcPts val="0"/>
              </a:spcBef>
              <a:spcAft>
                <a:spcPts val="0"/>
              </a:spcAft>
              <a:buClr>
                <a:srgbClr val="C1F400"/>
              </a:buClr>
              <a:buSzPts val="3600"/>
              <a:buNone/>
              <a:defRPr sz="3600">
                <a:solidFill>
                  <a:srgbClr val="C1F400"/>
                </a:solidFill>
              </a:defRPr>
            </a:lvl5pPr>
            <a:lvl6pPr lvl="5" rtl="0">
              <a:spcBef>
                <a:spcPts val="0"/>
              </a:spcBef>
              <a:spcAft>
                <a:spcPts val="0"/>
              </a:spcAft>
              <a:buClr>
                <a:srgbClr val="C1F400"/>
              </a:buClr>
              <a:buSzPts val="3600"/>
              <a:buNone/>
              <a:defRPr sz="3600">
                <a:solidFill>
                  <a:srgbClr val="C1F400"/>
                </a:solidFill>
              </a:defRPr>
            </a:lvl6pPr>
            <a:lvl7pPr lvl="6" rtl="0">
              <a:spcBef>
                <a:spcPts val="0"/>
              </a:spcBef>
              <a:spcAft>
                <a:spcPts val="0"/>
              </a:spcAft>
              <a:buClr>
                <a:srgbClr val="C1F400"/>
              </a:buClr>
              <a:buSzPts val="3600"/>
              <a:buNone/>
              <a:defRPr sz="3600">
                <a:solidFill>
                  <a:srgbClr val="C1F400"/>
                </a:solidFill>
              </a:defRPr>
            </a:lvl7pPr>
            <a:lvl8pPr lvl="7" rtl="0">
              <a:spcBef>
                <a:spcPts val="0"/>
              </a:spcBef>
              <a:spcAft>
                <a:spcPts val="0"/>
              </a:spcAft>
              <a:buClr>
                <a:srgbClr val="C1F400"/>
              </a:buClr>
              <a:buSzPts val="3600"/>
              <a:buNone/>
              <a:defRPr sz="3600">
                <a:solidFill>
                  <a:srgbClr val="C1F400"/>
                </a:solidFill>
              </a:defRPr>
            </a:lvl8pPr>
            <a:lvl9pPr lvl="8" rtl="0">
              <a:spcBef>
                <a:spcPts val="0"/>
              </a:spcBef>
              <a:spcAft>
                <a:spcPts val="0"/>
              </a:spcAft>
              <a:buClr>
                <a:srgbClr val="C1F400"/>
              </a:buClr>
              <a:buSzPts val="3600"/>
              <a:buNone/>
              <a:defRPr sz="3600">
                <a:solidFill>
                  <a:srgbClr val="C1F400"/>
                </a:solidFill>
              </a:defRPr>
            </a:lvl9pPr>
          </a:lstStyle>
          <a:p>
            <a:endParaRPr/>
          </a:p>
        </p:txBody>
      </p:sp>
      <p:sp>
        <p:nvSpPr>
          <p:cNvPr id="747" name="Google Shape;747;p56"/>
          <p:cNvSpPr>
            <a:spLocks noGrp="1"/>
          </p:cNvSpPr>
          <p:nvPr>
            <p:ph type="pic" idx="3"/>
          </p:nvPr>
        </p:nvSpPr>
        <p:spPr>
          <a:xfrm>
            <a:off x="13428825" y="3081400"/>
            <a:ext cx="2376900" cy="2376900"/>
          </a:xfrm>
          <a:prstGeom prst="ellipse">
            <a:avLst/>
          </a:prstGeom>
          <a:noFill/>
          <a:ln>
            <a:noFill/>
          </a:ln>
        </p:spPr>
      </p:sp>
      <p:sp>
        <p:nvSpPr>
          <p:cNvPr id="748" name="Google Shape;748;p56"/>
          <p:cNvSpPr>
            <a:spLocks noGrp="1"/>
          </p:cNvSpPr>
          <p:nvPr>
            <p:ph type="pic" idx="4"/>
          </p:nvPr>
        </p:nvSpPr>
        <p:spPr>
          <a:xfrm>
            <a:off x="13428825" y="5801375"/>
            <a:ext cx="2376900" cy="2376900"/>
          </a:xfrm>
          <a:prstGeom prst="ellipse">
            <a:avLst/>
          </a:prstGeom>
          <a:noFill/>
          <a:ln>
            <a:noFill/>
          </a:ln>
        </p:spPr>
      </p:sp>
      <p:sp>
        <p:nvSpPr>
          <p:cNvPr id="749" name="Google Shape;749;p56"/>
          <p:cNvSpPr txBox="1">
            <a:spLocks noGrp="1"/>
          </p:cNvSpPr>
          <p:nvPr>
            <p:ph type="title" idx="5"/>
          </p:nvPr>
        </p:nvSpPr>
        <p:spPr>
          <a:xfrm>
            <a:off x="16234750" y="3349475"/>
            <a:ext cx="7452600" cy="5721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2400"/>
              <a:buFont typeface="Montserrat Black"/>
              <a:buNone/>
              <a:defRPr sz="2400">
                <a:solidFill>
                  <a:schemeClr val="lt1"/>
                </a:solidFill>
                <a:latin typeface="Montserrat Black"/>
                <a:ea typeface="Montserrat Black"/>
                <a:cs typeface="Montserrat Black"/>
                <a:sym typeface="Montserrat Black"/>
              </a:defRPr>
            </a:lvl1pPr>
            <a:lvl2pPr lvl="1" rtl="0">
              <a:spcBef>
                <a:spcPts val="0"/>
              </a:spcBef>
              <a:spcAft>
                <a:spcPts val="0"/>
              </a:spcAft>
              <a:buClr>
                <a:schemeClr val="lt1"/>
              </a:buClr>
              <a:buSzPts val="2400"/>
              <a:buNone/>
              <a:defRPr sz="2400">
                <a:solidFill>
                  <a:schemeClr val="lt1"/>
                </a:solidFill>
              </a:defRPr>
            </a:lvl2pPr>
            <a:lvl3pPr lvl="2" rtl="0">
              <a:spcBef>
                <a:spcPts val="0"/>
              </a:spcBef>
              <a:spcAft>
                <a:spcPts val="0"/>
              </a:spcAft>
              <a:buClr>
                <a:schemeClr val="lt1"/>
              </a:buClr>
              <a:buSzPts val="2400"/>
              <a:buNone/>
              <a:defRPr sz="2400">
                <a:solidFill>
                  <a:schemeClr val="lt1"/>
                </a:solidFill>
              </a:defRPr>
            </a:lvl3pPr>
            <a:lvl4pPr lvl="3" rtl="0">
              <a:spcBef>
                <a:spcPts val="0"/>
              </a:spcBef>
              <a:spcAft>
                <a:spcPts val="0"/>
              </a:spcAft>
              <a:buClr>
                <a:schemeClr val="lt1"/>
              </a:buClr>
              <a:buSzPts val="2400"/>
              <a:buNone/>
              <a:defRPr sz="2400">
                <a:solidFill>
                  <a:schemeClr val="lt1"/>
                </a:solidFill>
              </a:defRPr>
            </a:lvl4pPr>
            <a:lvl5pPr lvl="4" rtl="0">
              <a:spcBef>
                <a:spcPts val="0"/>
              </a:spcBef>
              <a:spcAft>
                <a:spcPts val="0"/>
              </a:spcAft>
              <a:buClr>
                <a:schemeClr val="lt1"/>
              </a:buClr>
              <a:buSzPts val="2400"/>
              <a:buNone/>
              <a:defRPr sz="2400">
                <a:solidFill>
                  <a:schemeClr val="lt1"/>
                </a:solidFill>
              </a:defRPr>
            </a:lvl5pPr>
            <a:lvl6pPr lvl="5" rtl="0">
              <a:spcBef>
                <a:spcPts val="0"/>
              </a:spcBef>
              <a:spcAft>
                <a:spcPts val="0"/>
              </a:spcAft>
              <a:buClr>
                <a:schemeClr val="lt1"/>
              </a:buClr>
              <a:buSzPts val="2400"/>
              <a:buNone/>
              <a:defRPr sz="2400">
                <a:solidFill>
                  <a:schemeClr val="lt1"/>
                </a:solidFill>
              </a:defRPr>
            </a:lvl6pPr>
            <a:lvl7pPr lvl="6" rtl="0">
              <a:spcBef>
                <a:spcPts val="0"/>
              </a:spcBef>
              <a:spcAft>
                <a:spcPts val="0"/>
              </a:spcAft>
              <a:buClr>
                <a:schemeClr val="lt1"/>
              </a:buClr>
              <a:buSzPts val="2400"/>
              <a:buNone/>
              <a:defRPr sz="2400">
                <a:solidFill>
                  <a:schemeClr val="lt1"/>
                </a:solidFill>
              </a:defRPr>
            </a:lvl7pPr>
            <a:lvl8pPr lvl="7" rtl="0">
              <a:spcBef>
                <a:spcPts val="0"/>
              </a:spcBef>
              <a:spcAft>
                <a:spcPts val="0"/>
              </a:spcAft>
              <a:buClr>
                <a:schemeClr val="lt1"/>
              </a:buClr>
              <a:buSzPts val="2400"/>
              <a:buNone/>
              <a:defRPr sz="2400">
                <a:solidFill>
                  <a:schemeClr val="lt1"/>
                </a:solidFill>
              </a:defRPr>
            </a:lvl8pPr>
            <a:lvl9pPr lvl="8" rtl="0">
              <a:spcBef>
                <a:spcPts val="0"/>
              </a:spcBef>
              <a:spcAft>
                <a:spcPts val="0"/>
              </a:spcAft>
              <a:buClr>
                <a:schemeClr val="lt1"/>
              </a:buClr>
              <a:buSzPts val="2400"/>
              <a:buNone/>
              <a:defRPr sz="2400">
                <a:solidFill>
                  <a:schemeClr val="lt1"/>
                </a:solidFill>
              </a:defRPr>
            </a:lvl9pPr>
          </a:lstStyle>
          <a:p>
            <a:endParaRPr/>
          </a:p>
        </p:txBody>
      </p:sp>
      <p:sp>
        <p:nvSpPr>
          <p:cNvPr id="750" name="Google Shape;750;p56"/>
          <p:cNvSpPr txBox="1">
            <a:spLocks noGrp="1"/>
          </p:cNvSpPr>
          <p:nvPr>
            <p:ph type="title" idx="6"/>
          </p:nvPr>
        </p:nvSpPr>
        <p:spPr>
          <a:xfrm>
            <a:off x="16234750" y="6138425"/>
            <a:ext cx="7452600" cy="5721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2400"/>
              <a:buFont typeface="Montserrat Black"/>
              <a:buNone/>
              <a:defRPr sz="2400">
                <a:solidFill>
                  <a:schemeClr val="lt1"/>
                </a:solidFill>
                <a:latin typeface="Montserrat Black"/>
                <a:ea typeface="Montserrat Black"/>
                <a:cs typeface="Montserrat Black"/>
                <a:sym typeface="Montserrat Black"/>
              </a:defRPr>
            </a:lvl1pPr>
            <a:lvl2pPr lvl="1" rtl="0">
              <a:spcBef>
                <a:spcPts val="0"/>
              </a:spcBef>
              <a:spcAft>
                <a:spcPts val="0"/>
              </a:spcAft>
              <a:buClr>
                <a:schemeClr val="lt1"/>
              </a:buClr>
              <a:buSzPts val="2400"/>
              <a:buNone/>
              <a:defRPr sz="2400">
                <a:solidFill>
                  <a:schemeClr val="lt1"/>
                </a:solidFill>
              </a:defRPr>
            </a:lvl2pPr>
            <a:lvl3pPr lvl="2" rtl="0">
              <a:spcBef>
                <a:spcPts val="0"/>
              </a:spcBef>
              <a:spcAft>
                <a:spcPts val="0"/>
              </a:spcAft>
              <a:buClr>
                <a:schemeClr val="lt1"/>
              </a:buClr>
              <a:buSzPts val="2400"/>
              <a:buNone/>
              <a:defRPr sz="2400">
                <a:solidFill>
                  <a:schemeClr val="lt1"/>
                </a:solidFill>
              </a:defRPr>
            </a:lvl3pPr>
            <a:lvl4pPr lvl="3" rtl="0">
              <a:spcBef>
                <a:spcPts val="0"/>
              </a:spcBef>
              <a:spcAft>
                <a:spcPts val="0"/>
              </a:spcAft>
              <a:buClr>
                <a:schemeClr val="lt1"/>
              </a:buClr>
              <a:buSzPts val="2400"/>
              <a:buNone/>
              <a:defRPr sz="2400">
                <a:solidFill>
                  <a:schemeClr val="lt1"/>
                </a:solidFill>
              </a:defRPr>
            </a:lvl4pPr>
            <a:lvl5pPr lvl="4" rtl="0">
              <a:spcBef>
                <a:spcPts val="0"/>
              </a:spcBef>
              <a:spcAft>
                <a:spcPts val="0"/>
              </a:spcAft>
              <a:buClr>
                <a:schemeClr val="lt1"/>
              </a:buClr>
              <a:buSzPts val="2400"/>
              <a:buNone/>
              <a:defRPr sz="2400">
                <a:solidFill>
                  <a:schemeClr val="lt1"/>
                </a:solidFill>
              </a:defRPr>
            </a:lvl5pPr>
            <a:lvl6pPr lvl="5" rtl="0">
              <a:spcBef>
                <a:spcPts val="0"/>
              </a:spcBef>
              <a:spcAft>
                <a:spcPts val="0"/>
              </a:spcAft>
              <a:buClr>
                <a:schemeClr val="lt1"/>
              </a:buClr>
              <a:buSzPts val="2400"/>
              <a:buNone/>
              <a:defRPr sz="2400">
                <a:solidFill>
                  <a:schemeClr val="lt1"/>
                </a:solidFill>
              </a:defRPr>
            </a:lvl6pPr>
            <a:lvl7pPr lvl="6" rtl="0">
              <a:spcBef>
                <a:spcPts val="0"/>
              </a:spcBef>
              <a:spcAft>
                <a:spcPts val="0"/>
              </a:spcAft>
              <a:buClr>
                <a:schemeClr val="lt1"/>
              </a:buClr>
              <a:buSzPts val="2400"/>
              <a:buNone/>
              <a:defRPr sz="2400">
                <a:solidFill>
                  <a:schemeClr val="lt1"/>
                </a:solidFill>
              </a:defRPr>
            </a:lvl7pPr>
            <a:lvl8pPr lvl="7" rtl="0">
              <a:spcBef>
                <a:spcPts val="0"/>
              </a:spcBef>
              <a:spcAft>
                <a:spcPts val="0"/>
              </a:spcAft>
              <a:buClr>
                <a:schemeClr val="lt1"/>
              </a:buClr>
              <a:buSzPts val="2400"/>
              <a:buNone/>
              <a:defRPr sz="2400">
                <a:solidFill>
                  <a:schemeClr val="lt1"/>
                </a:solidFill>
              </a:defRPr>
            </a:lvl8pPr>
            <a:lvl9pPr lvl="8" rtl="0">
              <a:spcBef>
                <a:spcPts val="0"/>
              </a:spcBef>
              <a:spcAft>
                <a:spcPts val="0"/>
              </a:spcAft>
              <a:buClr>
                <a:schemeClr val="lt1"/>
              </a:buClr>
              <a:buSzPts val="2400"/>
              <a:buNone/>
              <a:defRPr sz="2400">
                <a:solidFill>
                  <a:schemeClr val="lt1"/>
                </a:solidFill>
              </a:defRPr>
            </a:lvl9pPr>
          </a:lstStyle>
          <a:p>
            <a:endParaRPr/>
          </a:p>
        </p:txBody>
      </p:sp>
      <p:sp>
        <p:nvSpPr>
          <p:cNvPr id="751" name="Google Shape;751;p56"/>
          <p:cNvSpPr txBox="1">
            <a:spLocks noGrp="1"/>
          </p:cNvSpPr>
          <p:nvPr>
            <p:ph type="subTitle" idx="7"/>
          </p:nvPr>
        </p:nvSpPr>
        <p:spPr>
          <a:xfrm>
            <a:off x="16271350" y="3896050"/>
            <a:ext cx="6374700" cy="13338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1pPr>
            <a:lvl2pPr lvl="1"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2pPr>
            <a:lvl3pPr lvl="2"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3pPr>
            <a:lvl4pPr lvl="3"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4pPr>
            <a:lvl5pPr lvl="4"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5pPr>
            <a:lvl6pPr lvl="5"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6pPr>
            <a:lvl7pPr lvl="6"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7pPr>
            <a:lvl8pPr lvl="7"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8pPr>
            <a:lvl9pPr lvl="8"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9pPr>
          </a:lstStyle>
          <a:p>
            <a:endParaRPr/>
          </a:p>
        </p:txBody>
      </p:sp>
      <p:sp>
        <p:nvSpPr>
          <p:cNvPr id="752" name="Google Shape;752;p56"/>
          <p:cNvSpPr txBox="1">
            <a:spLocks noGrp="1"/>
          </p:cNvSpPr>
          <p:nvPr>
            <p:ph type="subTitle" idx="8"/>
          </p:nvPr>
        </p:nvSpPr>
        <p:spPr>
          <a:xfrm>
            <a:off x="16271350" y="6692075"/>
            <a:ext cx="6374700" cy="13338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1pPr>
            <a:lvl2pPr lvl="1"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2pPr>
            <a:lvl3pPr lvl="2"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3pPr>
            <a:lvl4pPr lvl="3"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4pPr>
            <a:lvl5pPr lvl="4"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5pPr>
            <a:lvl6pPr lvl="5"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6pPr>
            <a:lvl7pPr lvl="6"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7pPr>
            <a:lvl8pPr lvl="7"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8pPr>
            <a:lvl9pPr lvl="8" rtl="0">
              <a:spcBef>
                <a:spcPts val="0"/>
              </a:spcBef>
              <a:spcAft>
                <a:spcPts val="0"/>
              </a:spcAft>
              <a:buClr>
                <a:srgbClr val="C1F400"/>
              </a:buClr>
              <a:buSzPts val="2400"/>
              <a:buFont typeface="Open Sans"/>
              <a:buNone/>
              <a:defRPr sz="2400">
                <a:solidFill>
                  <a:srgbClr val="C1F400"/>
                </a:solidFill>
                <a:latin typeface="Open Sans"/>
                <a:ea typeface="Open Sans"/>
                <a:cs typeface="Open Sans"/>
                <a:sym typeface="Open Sans"/>
              </a:defRPr>
            </a:lvl9pPr>
          </a:lstStyle>
          <a:p>
            <a:endParaRPr/>
          </a:p>
        </p:txBody>
      </p:sp>
      <p:sp>
        <p:nvSpPr>
          <p:cNvPr id="753" name="Google Shape;753;p56"/>
          <p:cNvSpPr txBox="1">
            <a:spLocks noGrp="1"/>
          </p:cNvSpPr>
          <p:nvPr>
            <p:ph type="title" idx="9"/>
          </p:nvPr>
        </p:nvSpPr>
        <p:spPr>
          <a:xfrm>
            <a:off x="13428826" y="8681288"/>
            <a:ext cx="7633800" cy="737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400"/>
              <a:buFont typeface="Montserrat Black"/>
              <a:buNone/>
              <a:defRPr sz="2400">
                <a:solidFill>
                  <a:srgbClr val="C1F400"/>
                </a:solidFill>
                <a:latin typeface="Montserrat Black"/>
                <a:ea typeface="Montserrat Black"/>
                <a:cs typeface="Montserrat Black"/>
                <a:sym typeface="Montserrat Black"/>
              </a:defRPr>
            </a:lvl1pPr>
            <a:lvl2pPr lvl="1" rtl="0">
              <a:spcBef>
                <a:spcPts val="0"/>
              </a:spcBef>
              <a:spcAft>
                <a:spcPts val="0"/>
              </a:spcAft>
              <a:buSzPts val="2400"/>
              <a:buNone/>
              <a:defRPr sz="2400"/>
            </a:lvl2pPr>
            <a:lvl3pPr lvl="2" rtl="0">
              <a:spcBef>
                <a:spcPts val="0"/>
              </a:spcBef>
              <a:spcAft>
                <a:spcPts val="0"/>
              </a:spcAft>
              <a:buSzPts val="2400"/>
              <a:buNone/>
              <a:defRPr sz="2400"/>
            </a:lvl3pPr>
            <a:lvl4pPr lvl="3" rtl="0">
              <a:spcBef>
                <a:spcPts val="0"/>
              </a:spcBef>
              <a:spcAft>
                <a:spcPts val="0"/>
              </a:spcAft>
              <a:buSzPts val="2400"/>
              <a:buNone/>
              <a:defRPr sz="2400"/>
            </a:lvl4pPr>
            <a:lvl5pPr lvl="4" rtl="0">
              <a:spcBef>
                <a:spcPts val="0"/>
              </a:spcBef>
              <a:spcAft>
                <a:spcPts val="0"/>
              </a:spcAft>
              <a:buSzPts val="2400"/>
              <a:buNone/>
              <a:defRPr sz="2400"/>
            </a:lvl5pPr>
            <a:lvl6pPr lvl="5" rtl="0">
              <a:spcBef>
                <a:spcPts val="0"/>
              </a:spcBef>
              <a:spcAft>
                <a:spcPts val="0"/>
              </a:spcAft>
              <a:buSzPts val="2400"/>
              <a:buNone/>
              <a:defRPr sz="2400"/>
            </a:lvl6pPr>
            <a:lvl7pPr lvl="6" rtl="0">
              <a:spcBef>
                <a:spcPts val="0"/>
              </a:spcBef>
              <a:spcAft>
                <a:spcPts val="0"/>
              </a:spcAft>
              <a:buSzPts val="2400"/>
              <a:buNone/>
              <a:defRPr sz="2400"/>
            </a:lvl7pPr>
            <a:lvl8pPr lvl="7" rtl="0">
              <a:spcBef>
                <a:spcPts val="0"/>
              </a:spcBef>
              <a:spcAft>
                <a:spcPts val="0"/>
              </a:spcAft>
              <a:buSzPts val="2400"/>
              <a:buNone/>
              <a:defRPr sz="2400"/>
            </a:lvl8pPr>
            <a:lvl9pPr lvl="8" rtl="0">
              <a:spcBef>
                <a:spcPts val="0"/>
              </a:spcBef>
              <a:spcAft>
                <a:spcPts val="0"/>
              </a:spcAft>
              <a:buSzPts val="2400"/>
              <a:buNone/>
              <a:defRPr sz="2400"/>
            </a:lvl9pPr>
          </a:lstStyle>
          <a:p>
            <a:endParaRPr/>
          </a:p>
        </p:txBody>
      </p:sp>
      <p:sp>
        <p:nvSpPr>
          <p:cNvPr id="754" name="Google Shape;754;p56"/>
          <p:cNvSpPr/>
          <p:nvPr/>
        </p:nvSpPr>
        <p:spPr>
          <a:xfrm>
            <a:off x="13428825" y="9348913"/>
            <a:ext cx="1240500" cy="1240500"/>
          </a:xfrm>
          <a:prstGeom prst="ellipse">
            <a:avLst/>
          </a:prstGeom>
          <a:noFill/>
          <a:ln w="38100" cap="flat" cmpd="sng">
            <a:solidFill>
              <a:srgbClr val="C1F4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755" name="Google Shape;755;p56"/>
          <p:cNvSpPr>
            <a:spLocks noGrp="1"/>
          </p:cNvSpPr>
          <p:nvPr>
            <p:ph type="pic" idx="13"/>
          </p:nvPr>
        </p:nvSpPr>
        <p:spPr>
          <a:xfrm>
            <a:off x="13725675" y="9645763"/>
            <a:ext cx="646800" cy="646800"/>
          </a:xfrm>
          <a:prstGeom prst="ellipse">
            <a:avLst/>
          </a:prstGeom>
          <a:noFill/>
          <a:ln>
            <a:noFill/>
          </a:ln>
        </p:spPr>
      </p:sp>
      <p:sp>
        <p:nvSpPr>
          <p:cNvPr id="756" name="Google Shape;756;p56"/>
          <p:cNvSpPr/>
          <p:nvPr/>
        </p:nvSpPr>
        <p:spPr>
          <a:xfrm>
            <a:off x="15129725" y="9348913"/>
            <a:ext cx="1240500" cy="1240500"/>
          </a:xfrm>
          <a:prstGeom prst="ellipse">
            <a:avLst/>
          </a:prstGeom>
          <a:noFill/>
          <a:ln w="38100" cap="flat" cmpd="sng">
            <a:solidFill>
              <a:srgbClr val="C1F4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757" name="Google Shape;757;p56"/>
          <p:cNvSpPr>
            <a:spLocks noGrp="1"/>
          </p:cNvSpPr>
          <p:nvPr>
            <p:ph type="pic" idx="14"/>
          </p:nvPr>
        </p:nvSpPr>
        <p:spPr>
          <a:xfrm>
            <a:off x="15426575" y="9645763"/>
            <a:ext cx="646800" cy="646800"/>
          </a:xfrm>
          <a:prstGeom prst="ellipse">
            <a:avLst/>
          </a:prstGeom>
          <a:noFill/>
          <a:ln>
            <a:noFill/>
          </a:ln>
        </p:spPr>
      </p:sp>
      <p:sp>
        <p:nvSpPr>
          <p:cNvPr id="758" name="Google Shape;758;p56"/>
          <p:cNvSpPr/>
          <p:nvPr/>
        </p:nvSpPr>
        <p:spPr>
          <a:xfrm>
            <a:off x="16830625" y="9348913"/>
            <a:ext cx="1240500" cy="1240500"/>
          </a:xfrm>
          <a:prstGeom prst="ellipse">
            <a:avLst/>
          </a:prstGeom>
          <a:noFill/>
          <a:ln w="38100" cap="flat" cmpd="sng">
            <a:solidFill>
              <a:srgbClr val="C1F4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759" name="Google Shape;759;p56"/>
          <p:cNvSpPr>
            <a:spLocks noGrp="1"/>
          </p:cNvSpPr>
          <p:nvPr>
            <p:ph type="pic" idx="15"/>
          </p:nvPr>
        </p:nvSpPr>
        <p:spPr>
          <a:xfrm>
            <a:off x="17127475" y="9645763"/>
            <a:ext cx="646800" cy="646800"/>
          </a:xfrm>
          <a:prstGeom prst="ellipse">
            <a:avLst/>
          </a:prstGeom>
          <a:noFill/>
          <a:ln>
            <a:noFill/>
          </a:ln>
        </p:spPr>
      </p:sp>
      <p:sp>
        <p:nvSpPr>
          <p:cNvPr id="760" name="Google Shape;760;p56"/>
          <p:cNvSpPr/>
          <p:nvPr/>
        </p:nvSpPr>
        <p:spPr>
          <a:xfrm>
            <a:off x="18531525" y="9348913"/>
            <a:ext cx="1240500" cy="1240500"/>
          </a:xfrm>
          <a:prstGeom prst="ellipse">
            <a:avLst/>
          </a:prstGeom>
          <a:noFill/>
          <a:ln w="38100" cap="flat" cmpd="sng">
            <a:solidFill>
              <a:srgbClr val="C1F4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761" name="Google Shape;761;p56"/>
          <p:cNvSpPr>
            <a:spLocks noGrp="1"/>
          </p:cNvSpPr>
          <p:nvPr>
            <p:ph type="pic" idx="16"/>
          </p:nvPr>
        </p:nvSpPr>
        <p:spPr>
          <a:xfrm>
            <a:off x="18828375" y="9645763"/>
            <a:ext cx="646800" cy="646800"/>
          </a:xfrm>
          <a:prstGeom prst="ellipse">
            <a:avLst/>
          </a:prstGeom>
          <a:noFill/>
          <a:ln>
            <a:noFill/>
          </a:ln>
        </p:spPr>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Blank Slide 2">
  <p:cSld name="Blank Slide 2">
    <p:spTree>
      <p:nvGrpSpPr>
        <p:cNvPr id="1" name="Shape 762"/>
        <p:cNvGrpSpPr/>
        <p:nvPr/>
      </p:nvGrpSpPr>
      <p:grpSpPr>
        <a:xfrm>
          <a:off x="0" y="0"/>
          <a:ext cx="0" cy="0"/>
          <a:chOff x="0" y="0"/>
          <a:chExt cx="0" cy="0"/>
        </a:xfrm>
      </p:grpSpPr>
      <p:sp>
        <p:nvSpPr>
          <p:cNvPr id="763" name="Google Shape;763;p57"/>
          <p:cNvSpPr>
            <a:spLocks noGrp="1"/>
          </p:cNvSpPr>
          <p:nvPr>
            <p:ph type="sldNum" idx="12"/>
          </p:nvPr>
        </p:nvSpPr>
        <p:spPr>
          <a:xfrm>
            <a:off x="23009225" y="12420600"/>
            <a:ext cx="1006200" cy="1005600"/>
          </a:xfrm>
          <a:prstGeom prst="ellipse">
            <a:avLst/>
          </a:prstGeom>
          <a:solidFill>
            <a:schemeClr val="lt1"/>
          </a:solidFill>
          <a:ln>
            <a:noFill/>
          </a:ln>
        </p:spPr>
        <p:txBody>
          <a:bodyPr spcFirstLastPara="1" wrap="square" lIns="91450" tIns="45725" rIns="91450" bIns="45725" anchor="ctr" anchorCtr="0">
            <a:noAutofit/>
          </a:bodyPr>
          <a:lstStyle>
            <a:lvl1pPr marL="0" lvl="0" indent="0" algn="ctr" rtl="0">
              <a:spcBef>
                <a:spcPts val="0"/>
              </a:spcBef>
              <a:buNone/>
              <a:defRPr sz="2400" b="0" i="0" u="none" strike="noStrike" cap="none">
                <a:solidFill>
                  <a:srgbClr val="888888"/>
                </a:solidFill>
                <a:latin typeface="Century Gothic"/>
                <a:ea typeface="Century Gothic"/>
                <a:cs typeface="Century Gothic"/>
                <a:sym typeface="Century Gothic"/>
              </a:defRPr>
            </a:lvl1pPr>
            <a:lvl2pPr marL="0" lvl="1" indent="0" algn="ctr" rtl="0">
              <a:spcBef>
                <a:spcPts val="0"/>
              </a:spcBef>
              <a:buNone/>
              <a:defRPr sz="2400" b="0" i="0" u="none" strike="noStrike" cap="none">
                <a:solidFill>
                  <a:srgbClr val="888888"/>
                </a:solidFill>
                <a:latin typeface="Century Gothic"/>
                <a:ea typeface="Century Gothic"/>
                <a:cs typeface="Century Gothic"/>
                <a:sym typeface="Century Gothic"/>
              </a:defRPr>
            </a:lvl2pPr>
            <a:lvl3pPr marL="0" lvl="2" indent="0" algn="ctr" rtl="0">
              <a:spcBef>
                <a:spcPts val="0"/>
              </a:spcBef>
              <a:buNone/>
              <a:defRPr sz="2400" b="0" i="0" u="none" strike="noStrike" cap="none">
                <a:solidFill>
                  <a:srgbClr val="888888"/>
                </a:solidFill>
                <a:latin typeface="Century Gothic"/>
                <a:ea typeface="Century Gothic"/>
                <a:cs typeface="Century Gothic"/>
                <a:sym typeface="Century Gothic"/>
              </a:defRPr>
            </a:lvl3pPr>
            <a:lvl4pPr marL="0" lvl="3" indent="0" algn="ctr" rtl="0">
              <a:spcBef>
                <a:spcPts val="0"/>
              </a:spcBef>
              <a:buNone/>
              <a:defRPr sz="2400" b="0" i="0" u="none" strike="noStrike" cap="none">
                <a:solidFill>
                  <a:srgbClr val="888888"/>
                </a:solidFill>
                <a:latin typeface="Century Gothic"/>
                <a:ea typeface="Century Gothic"/>
                <a:cs typeface="Century Gothic"/>
                <a:sym typeface="Century Gothic"/>
              </a:defRPr>
            </a:lvl4pPr>
            <a:lvl5pPr marL="0" lvl="4" indent="0" algn="ctr" rtl="0">
              <a:spcBef>
                <a:spcPts val="0"/>
              </a:spcBef>
              <a:buNone/>
              <a:defRPr sz="2400" b="0" i="0" u="none" strike="noStrike" cap="none">
                <a:solidFill>
                  <a:srgbClr val="888888"/>
                </a:solidFill>
                <a:latin typeface="Century Gothic"/>
                <a:ea typeface="Century Gothic"/>
                <a:cs typeface="Century Gothic"/>
                <a:sym typeface="Century Gothic"/>
              </a:defRPr>
            </a:lvl5pPr>
            <a:lvl6pPr marL="0" lvl="5" indent="0" algn="ctr" rtl="0">
              <a:spcBef>
                <a:spcPts val="0"/>
              </a:spcBef>
              <a:buNone/>
              <a:defRPr sz="2400" b="0" i="0" u="none" strike="noStrike" cap="none">
                <a:solidFill>
                  <a:srgbClr val="888888"/>
                </a:solidFill>
                <a:latin typeface="Century Gothic"/>
                <a:ea typeface="Century Gothic"/>
                <a:cs typeface="Century Gothic"/>
                <a:sym typeface="Century Gothic"/>
              </a:defRPr>
            </a:lvl6pPr>
            <a:lvl7pPr marL="0" lvl="6" indent="0" algn="ctr" rtl="0">
              <a:spcBef>
                <a:spcPts val="0"/>
              </a:spcBef>
              <a:buNone/>
              <a:defRPr sz="2400" b="0" i="0" u="none" strike="noStrike" cap="none">
                <a:solidFill>
                  <a:srgbClr val="888888"/>
                </a:solidFill>
                <a:latin typeface="Century Gothic"/>
                <a:ea typeface="Century Gothic"/>
                <a:cs typeface="Century Gothic"/>
                <a:sym typeface="Century Gothic"/>
              </a:defRPr>
            </a:lvl7pPr>
            <a:lvl8pPr marL="0" lvl="7" indent="0" algn="ctr" rtl="0">
              <a:spcBef>
                <a:spcPts val="0"/>
              </a:spcBef>
              <a:buNone/>
              <a:defRPr sz="2400" b="0" i="0" u="none" strike="noStrike" cap="none">
                <a:solidFill>
                  <a:srgbClr val="888888"/>
                </a:solidFill>
                <a:latin typeface="Century Gothic"/>
                <a:ea typeface="Century Gothic"/>
                <a:cs typeface="Century Gothic"/>
                <a:sym typeface="Century Gothic"/>
              </a:defRPr>
            </a:lvl8pPr>
            <a:lvl9pPr marL="0" lvl="8" indent="0" algn="ctr" rtl="0">
              <a:spcBef>
                <a:spcPts val="0"/>
              </a:spcBef>
              <a:buNone/>
              <a:defRPr sz="2400" b="0" i="0" u="none" strike="noStrike" cap="none">
                <a:solidFill>
                  <a:srgbClr val="888888"/>
                </a:solidFill>
                <a:latin typeface="Century Gothic"/>
                <a:ea typeface="Century Gothic"/>
                <a:cs typeface="Century Gothic"/>
                <a:sym typeface="Century Gothic"/>
              </a:defRPr>
            </a:lvl9pPr>
          </a:lstStyle>
          <a:p>
            <a:pPr marL="0" lvl="0" indent="0" algn="ctr" rtl="0">
              <a:spcBef>
                <a:spcPts val="0"/>
              </a:spcBef>
              <a:spcAft>
                <a:spcPts val="0"/>
              </a:spcAft>
              <a:buNone/>
            </a:pPr>
            <a:fld id="{00000000-1234-1234-1234-123412341234}" type="slidenum">
              <a:rPr lang="en-US"/>
              <a:t>‹#›</a:t>
            </a:fld>
            <a:endParaRPr/>
          </a:p>
        </p:txBody>
      </p:sp>
      <p:sp>
        <p:nvSpPr>
          <p:cNvPr id="764" name="Google Shape;764;p57"/>
          <p:cNvSpPr txBox="1">
            <a:spLocks noGrp="1"/>
          </p:cNvSpPr>
          <p:nvPr>
            <p:ph type="dt" idx="10"/>
          </p:nvPr>
        </p:nvSpPr>
        <p:spPr>
          <a:xfrm>
            <a:off x="454025" y="12512040"/>
            <a:ext cx="1981200" cy="730500"/>
          </a:xfrm>
          <a:prstGeom prst="rect">
            <a:avLst/>
          </a:prstGeom>
          <a:noFill/>
          <a:ln>
            <a:noFill/>
          </a:ln>
        </p:spPr>
        <p:txBody>
          <a:bodyPr spcFirstLastPara="1" wrap="square" lIns="91450" tIns="45725" rIns="91450" bIns="45725" anchor="ctr" anchorCtr="0">
            <a:noAutofit/>
          </a:bodyPr>
          <a:lstStyle>
            <a:lvl1pPr lvl="0" algn="l" rtl="0">
              <a:spcBef>
                <a:spcPts val="0"/>
              </a:spcBef>
              <a:spcAft>
                <a:spcPts val="0"/>
              </a:spcAft>
              <a:buSzPts val="1300"/>
              <a:buNone/>
              <a:defRPr sz="2400">
                <a:solidFill>
                  <a:srgbClr val="888888"/>
                </a:solidFill>
                <a:latin typeface="Century Gothic"/>
                <a:ea typeface="Century Gothic"/>
                <a:cs typeface="Century Gothic"/>
                <a:sym typeface="Century Gothic"/>
              </a:defRPr>
            </a:lvl1pPr>
            <a:lvl2pPr lvl="1" algn="l" rtl="0">
              <a:spcBef>
                <a:spcPts val="0"/>
              </a:spcBef>
              <a:spcAft>
                <a:spcPts val="0"/>
              </a:spcAft>
              <a:buSzPts val="1300"/>
              <a:buNone/>
              <a:defRPr sz="1300"/>
            </a:lvl2pPr>
            <a:lvl3pPr lvl="2" algn="l" rtl="0">
              <a:spcBef>
                <a:spcPts val="0"/>
              </a:spcBef>
              <a:spcAft>
                <a:spcPts val="0"/>
              </a:spcAft>
              <a:buSzPts val="1300"/>
              <a:buNone/>
              <a:defRPr sz="1300"/>
            </a:lvl3pPr>
            <a:lvl4pPr lvl="3" algn="l" rtl="0">
              <a:spcBef>
                <a:spcPts val="0"/>
              </a:spcBef>
              <a:spcAft>
                <a:spcPts val="0"/>
              </a:spcAft>
              <a:buSzPts val="1300"/>
              <a:buNone/>
              <a:defRPr sz="1300"/>
            </a:lvl4pPr>
            <a:lvl5pPr lvl="4" algn="l" rtl="0">
              <a:spcBef>
                <a:spcPts val="0"/>
              </a:spcBef>
              <a:spcAft>
                <a:spcPts val="0"/>
              </a:spcAft>
              <a:buSzPts val="1300"/>
              <a:buNone/>
              <a:defRPr sz="1300"/>
            </a:lvl5pPr>
            <a:lvl6pPr lvl="5" algn="l" rtl="0">
              <a:spcBef>
                <a:spcPts val="0"/>
              </a:spcBef>
              <a:spcAft>
                <a:spcPts val="0"/>
              </a:spcAft>
              <a:buSzPts val="1300"/>
              <a:buNone/>
              <a:defRPr sz="1300"/>
            </a:lvl6pPr>
            <a:lvl7pPr lvl="6" algn="l" rtl="0">
              <a:spcBef>
                <a:spcPts val="0"/>
              </a:spcBef>
              <a:spcAft>
                <a:spcPts val="0"/>
              </a:spcAft>
              <a:buSzPts val="1300"/>
              <a:buNone/>
              <a:defRPr sz="1300"/>
            </a:lvl7pPr>
            <a:lvl8pPr lvl="7" algn="l" rtl="0">
              <a:spcBef>
                <a:spcPts val="0"/>
              </a:spcBef>
              <a:spcAft>
                <a:spcPts val="0"/>
              </a:spcAft>
              <a:buSzPts val="1300"/>
              <a:buNone/>
              <a:defRPr sz="1300"/>
            </a:lvl8pPr>
            <a:lvl9pPr lvl="8" algn="l" rtl="0">
              <a:spcBef>
                <a:spcPts val="0"/>
              </a:spcBef>
              <a:spcAft>
                <a:spcPts val="0"/>
              </a:spcAft>
              <a:buSzPts val="1300"/>
              <a:buNone/>
              <a:defRPr sz="1300"/>
            </a:lvl9pPr>
          </a:lstStyle>
          <a:p>
            <a:endParaRPr/>
          </a:p>
        </p:txBody>
      </p:sp>
      <p:sp>
        <p:nvSpPr>
          <p:cNvPr id="765" name="Google Shape;765;p57"/>
          <p:cNvSpPr txBox="1">
            <a:spLocks noGrp="1"/>
          </p:cNvSpPr>
          <p:nvPr>
            <p:ph type="ftr" idx="11"/>
          </p:nvPr>
        </p:nvSpPr>
        <p:spPr>
          <a:xfrm>
            <a:off x="3044825" y="12512040"/>
            <a:ext cx="19559700" cy="730500"/>
          </a:xfrm>
          <a:prstGeom prst="rect">
            <a:avLst/>
          </a:prstGeom>
          <a:noFill/>
          <a:ln>
            <a:noFill/>
          </a:ln>
        </p:spPr>
        <p:txBody>
          <a:bodyPr spcFirstLastPara="1" wrap="square" lIns="91450" tIns="45725" rIns="91450" bIns="45725" anchor="ctr" anchorCtr="0">
            <a:noAutofit/>
          </a:bodyPr>
          <a:lstStyle>
            <a:lvl1pPr lvl="0" algn="ctr" rtl="0">
              <a:spcBef>
                <a:spcPts val="0"/>
              </a:spcBef>
              <a:spcAft>
                <a:spcPts val="0"/>
              </a:spcAft>
              <a:buSzPts val="1300"/>
              <a:buNone/>
              <a:defRPr sz="2400">
                <a:solidFill>
                  <a:srgbClr val="888888"/>
                </a:solidFill>
                <a:latin typeface="Century Gothic"/>
                <a:ea typeface="Century Gothic"/>
                <a:cs typeface="Century Gothic"/>
                <a:sym typeface="Century Gothic"/>
              </a:defRPr>
            </a:lvl1pPr>
            <a:lvl2pPr lvl="1" algn="l" rtl="0">
              <a:spcBef>
                <a:spcPts val="0"/>
              </a:spcBef>
              <a:spcAft>
                <a:spcPts val="0"/>
              </a:spcAft>
              <a:buSzPts val="1300"/>
              <a:buNone/>
              <a:defRPr sz="1300"/>
            </a:lvl2pPr>
            <a:lvl3pPr lvl="2" algn="l" rtl="0">
              <a:spcBef>
                <a:spcPts val="0"/>
              </a:spcBef>
              <a:spcAft>
                <a:spcPts val="0"/>
              </a:spcAft>
              <a:buSzPts val="1300"/>
              <a:buNone/>
              <a:defRPr sz="1300"/>
            </a:lvl3pPr>
            <a:lvl4pPr lvl="3" algn="l" rtl="0">
              <a:spcBef>
                <a:spcPts val="0"/>
              </a:spcBef>
              <a:spcAft>
                <a:spcPts val="0"/>
              </a:spcAft>
              <a:buSzPts val="1300"/>
              <a:buNone/>
              <a:defRPr sz="1300"/>
            </a:lvl4pPr>
            <a:lvl5pPr lvl="4" algn="l" rtl="0">
              <a:spcBef>
                <a:spcPts val="0"/>
              </a:spcBef>
              <a:spcAft>
                <a:spcPts val="0"/>
              </a:spcAft>
              <a:buSzPts val="1300"/>
              <a:buNone/>
              <a:defRPr sz="1300"/>
            </a:lvl5pPr>
            <a:lvl6pPr lvl="5" algn="l" rtl="0">
              <a:spcBef>
                <a:spcPts val="0"/>
              </a:spcBef>
              <a:spcAft>
                <a:spcPts val="0"/>
              </a:spcAft>
              <a:buSzPts val="1300"/>
              <a:buNone/>
              <a:defRPr sz="1300"/>
            </a:lvl6pPr>
            <a:lvl7pPr lvl="6" algn="l" rtl="0">
              <a:spcBef>
                <a:spcPts val="0"/>
              </a:spcBef>
              <a:spcAft>
                <a:spcPts val="0"/>
              </a:spcAft>
              <a:buSzPts val="1300"/>
              <a:buNone/>
              <a:defRPr sz="1300"/>
            </a:lvl7pPr>
            <a:lvl8pPr lvl="7" algn="l" rtl="0">
              <a:spcBef>
                <a:spcPts val="0"/>
              </a:spcBef>
              <a:spcAft>
                <a:spcPts val="0"/>
              </a:spcAft>
              <a:buSzPts val="1300"/>
              <a:buNone/>
              <a:defRPr sz="1300"/>
            </a:lvl8pPr>
            <a:lvl9pPr lvl="8" algn="l" rtl="0">
              <a:spcBef>
                <a:spcPts val="0"/>
              </a:spcBef>
              <a:spcAft>
                <a:spcPts val="0"/>
              </a:spcAft>
              <a:buSzPts val="1300"/>
              <a:buNone/>
              <a:defRPr sz="1300"/>
            </a:lvl9pPr>
          </a:lstStyle>
          <a:p>
            <a:endParaRP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Three Bullet Points 1">
  <p:cSld name="Three Bullet Points 1">
    <p:bg>
      <p:bgPr>
        <a:solidFill>
          <a:srgbClr val="002A44"/>
        </a:solidFill>
        <a:effectLst/>
      </p:bgPr>
    </p:bg>
    <p:spTree>
      <p:nvGrpSpPr>
        <p:cNvPr id="1" name="Shape 766"/>
        <p:cNvGrpSpPr/>
        <p:nvPr/>
      </p:nvGrpSpPr>
      <p:grpSpPr>
        <a:xfrm>
          <a:off x="0" y="0"/>
          <a:ext cx="0" cy="0"/>
          <a:chOff x="0" y="0"/>
          <a:chExt cx="0" cy="0"/>
        </a:xfrm>
      </p:grpSpPr>
      <p:grpSp>
        <p:nvGrpSpPr>
          <p:cNvPr id="767" name="Google Shape;767;p58"/>
          <p:cNvGrpSpPr/>
          <p:nvPr/>
        </p:nvGrpSpPr>
        <p:grpSpPr>
          <a:xfrm>
            <a:off x="2149475" y="7106700"/>
            <a:ext cx="20078700" cy="1681200"/>
            <a:chOff x="2126500" y="6162200"/>
            <a:chExt cx="20078700" cy="1681200"/>
          </a:xfrm>
        </p:grpSpPr>
        <p:sp>
          <p:nvSpPr>
            <p:cNvPr id="768" name="Google Shape;768;p58"/>
            <p:cNvSpPr/>
            <p:nvPr/>
          </p:nvSpPr>
          <p:spPr>
            <a:xfrm>
              <a:off x="2126500" y="6210925"/>
              <a:ext cx="20078700" cy="1594500"/>
            </a:xfrm>
            <a:prstGeom prst="rect">
              <a:avLst/>
            </a:prstGeom>
            <a:noFill/>
            <a:ln w="76200" cap="flat" cmpd="sng">
              <a:solidFill>
                <a:srgbClr val="C1F400"/>
              </a:solidFill>
              <a:prstDash val="solid"/>
              <a:round/>
              <a:headEnd type="none" w="sm" len="sm"/>
              <a:tailEnd type="none" w="sm" len="sm"/>
            </a:ln>
          </p:spPr>
          <p:txBody>
            <a:bodyPr spcFirstLastPara="1" wrap="square" lIns="91450" tIns="91450" rIns="91450" bIns="91450" anchor="ctr" anchorCtr="0">
              <a:noAutofit/>
            </a:bodyPr>
            <a:lstStyle/>
            <a:p>
              <a:pPr marL="0" lvl="0" indent="0" algn="ctr" rtl="0">
                <a:spcBef>
                  <a:spcPts val="0"/>
                </a:spcBef>
                <a:spcAft>
                  <a:spcPts val="0"/>
                </a:spcAft>
                <a:buNone/>
              </a:pPr>
              <a:endParaRPr sz="1300"/>
            </a:p>
          </p:txBody>
        </p:sp>
        <p:sp>
          <p:nvSpPr>
            <p:cNvPr id="769" name="Google Shape;769;p58"/>
            <p:cNvSpPr/>
            <p:nvPr/>
          </p:nvSpPr>
          <p:spPr>
            <a:xfrm>
              <a:off x="2148125" y="6162200"/>
              <a:ext cx="717300" cy="1681200"/>
            </a:xfrm>
            <a:prstGeom prst="rtTriangle">
              <a:avLst/>
            </a:prstGeom>
            <a:solidFill>
              <a:srgbClr val="C1F400"/>
            </a:solidFill>
            <a:ln>
              <a:noFill/>
            </a:ln>
          </p:spPr>
          <p:txBody>
            <a:bodyPr spcFirstLastPara="1" wrap="square" lIns="91450" tIns="91450" rIns="91450" bIns="91450" anchor="ctr" anchorCtr="0">
              <a:noAutofit/>
            </a:bodyPr>
            <a:lstStyle/>
            <a:p>
              <a:pPr marL="0" lvl="0" indent="0" algn="ctr" rtl="0">
                <a:spcBef>
                  <a:spcPts val="0"/>
                </a:spcBef>
                <a:spcAft>
                  <a:spcPts val="0"/>
                </a:spcAft>
                <a:buNone/>
              </a:pPr>
              <a:endParaRPr sz="1300"/>
            </a:p>
          </p:txBody>
        </p:sp>
      </p:grpSp>
      <p:pic>
        <p:nvPicPr>
          <p:cNvPr id="770" name="Google Shape;770;p58"/>
          <p:cNvPicPr preferRelativeResize="0"/>
          <p:nvPr/>
        </p:nvPicPr>
        <p:blipFill rotWithShape="1">
          <a:blip r:embed="rId2">
            <a:alphaModFix/>
          </a:blip>
          <a:srcRect t="83846"/>
          <a:stretch/>
        </p:blipFill>
        <p:spPr>
          <a:xfrm>
            <a:off x="-1280950" y="-285950"/>
            <a:ext cx="24377656" cy="1515097"/>
          </a:xfrm>
          <a:prstGeom prst="rect">
            <a:avLst/>
          </a:prstGeom>
          <a:noFill/>
          <a:ln>
            <a:noFill/>
          </a:ln>
        </p:spPr>
      </p:pic>
      <p:pic>
        <p:nvPicPr>
          <p:cNvPr id="771" name="Google Shape;771;p58"/>
          <p:cNvPicPr preferRelativeResize="0"/>
          <p:nvPr/>
        </p:nvPicPr>
        <p:blipFill rotWithShape="1">
          <a:blip r:embed="rId2">
            <a:alphaModFix/>
          </a:blip>
          <a:srcRect b="93557"/>
          <a:stretch/>
        </p:blipFill>
        <p:spPr>
          <a:xfrm>
            <a:off x="0" y="13111675"/>
            <a:ext cx="24377656" cy="604327"/>
          </a:xfrm>
          <a:prstGeom prst="rect">
            <a:avLst/>
          </a:prstGeom>
          <a:noFill/>
          <a:ln>
            <a:noFill/>
          </a:ln>
        </p:spPr>
      </p:pic>
      <p:grpSp>
        <p:nvGrpSpPr>
          <p:cNvPr id="772" name="Google Shape;772;p58"/>
          <p:cNvGrpSpPr/>
          <p:nvPr/>
        </p:nvGrpSpPr>
        <p:grpSpPr>
          <a:xfrm>
            <a:off x="2149475" y="9034350"/>
            <a:ext cx="20078700" cy="1681200"/>
            <a:chOff x="2126500" y="6162200"/>
            <a:chExt cx="20078700" cy="1681200"/>
          </a:xfrm>
        </p:grpSpPr>
        <p:sp>
          <p:nvSpPr>
            <p:cNvPr id="773" name="Google Shape;773;p58"/>
            <p:cNvSpPr/>
            <p:nvPr/>
          </p:nvSpPr>
          <p:spPr>
            <a:xfrm>
              <a:off x="2126500" y="6210925"/>
              <a:ext cx="20078700" cy="1594500"/>
            </a:xfrm>
            <a:prstGeom prst="rect">
              <a:avLst/>
            </a:prstGeom>
            <a:noFill/>
            <a:ln w="76200" cap="flat" cmpd="sng">
              <a:solidFill>
                <a:srgbClr val="C1F400"/>
              </a:solidFill>
              <a:prstDash val="solid"/>
              <a:round/>
              <a:headEnd type="none" w="sm" len="sm"/>
              <a:tailEnd type="none" w="sm" len="sm"/>
            </a:ln>
          </p:spPr>
          <p:txBody>
            <a:bodyPr spcFirstLastPara="1" wrap="square" lIns="91450" tIns="91450" rIns="91450" bIns="91450" anchor="ctr" anchorCtr="0">
              <a:noAutofit/>
            </a:bodyPr>
            <a:lstStyle/>
            <a:p>
              <a:pPr marL="0" lvl="0" indent="0" algn="ctr" rtl="0">
                <a:spcBef>
                  <a:spcPts val="0"/>
                </a:spcBef>
                <a:spcAft>
                  <a:spcPts val="0"/>
                </a:spcAft>
                <a:buNone/>
              </a:pPr>
              <a:endParaRPr sz="1300"/>
            </a:p>
          </p:txBody>
        </p:sp>
        <p:sp>
          <p:nvSpPr>
            <p:cNvPr id="774" name="Google Shape;774;p58"/>
            <p:cNvSpPr/>
            <p:nvPr/>
          </p:nvSpPr>
          <p:spPr>
            <a:xfrm>
              <a:off x="2148125" y="6162200"/>
              <a:ext cx="717300" cy="1681200"/>
            </a:xfrm>
            <a:prstGeom prst="rtTriangle">
              <a:avLst/>
            </a:prstGeom>
            <a:solidFill>
              <a:srgbClr val="C1F400"/>
            </a:solidFill>
            <a:ln>
              <a:noFill/>
            </a:ln>
          </p:spPr>
          <p:txBody>
            <a:bodyPr spcFirstLastPara="1" wrap="square" lIns="91450" tIns="91450" rIns="91450" bIns="91450" anchor="ctr" anchorCtr="0">
              <a:noAutofit/>
            </a:bodyPr>
            <a:lstStyle/>
            <a:p>
              <a:pPr marL="0" lvl="0" indent="0" algn="ctr" rtl="0">
                <a:spcBef>
                  <a:spcPts val="0"/>
                </a:spcBef>
                <a:spcAft>
                  <a:spcPts val="0"/>
                </a:spcAft>
                <a:buNone/>
              </a:pPr>
              <a:endParaRPr sz="1300"/>
            </a:p>
          </p:txBody>
        </p:sp>
      </p:grpSp>
      <p:grpSp>
        <p:nvGrpSpPr>
          <p:cNvPr id="775" name="Google Shape;775;p58"/>
          <p:cNvGrpSpPr/>
          <p:nvPr/>
        </p:nvGrpSpPr>
        <p:grpSpPr>
          <a:xfrm>
            <a:off x="2149475" y="10962000"/>
            <a:ext cx="20078700" cy="1681200"/>
            <a:chOff x="2126500" y="6162200"/>
            <a:chExt cx="20078700" cy="1681200"/>
          </a:xfrm>
        </p:grpSpPr>
        <p:sp>
          <p:nvSpPr>
            <p:cNvPr id="776" name="Google Shape;776;p58"/>
            <p:cNvSpPr/>
            <p:nvPr/>
          </p:nvSpPr>
          <p:spPr>
            <a:xfrm>
              <a:off x="2126500" y="6210925"/>
              <a:ext cx="20078700" cy="1594500"/>
            </a:xfrm>
            <a:prstGeom prst="rect">
              <a:avLst/>
            </a:prstGeom>
            <a:noFill/>
            <a:ln w="76200" cap="flat" cmpd="sng">
              <a:solidFill>
                <a:srgbClr val="C1F400"/>
              </a:solidFill>
              <a:prstDash val="solid"/>
              <a:round/>
              <a:headEnd type="none" w="sm" len="sm"/>
              <a:tailEnd type="none" w="sm" len="sm"/>
            </a:ln>
          </p:spPr>
          <p:txBody>
            <a:bodyPr spcFirstLastPara="1" wrap="square" lIns="91450" tIns="91450" rIns="91450" bIns="91450" anchor="ctr" anchorCtr="0">
              <a:noAutofit/>
            </a:bodyPr>
            <a:lstStyle/>
            <a:p>
              <a:pPr marL="0" lvl="0" indent="0" algn="ctr" rtl="0">
                <a:spcBef>
                  <a:spcPts val="0"/>
                </a:spcBef>
                <a:spcAft>
                  <a:spcPts val="0"/>
                </a:spcAft>
                <a:buNone/>
              </a:pPr>
              <a:endParaRPr sz="1300"/>
            </a:p>
          </p:txBody>
        </p:sp>
        <p:sp>
          <p:nvSpPr>
            <p:cNvPr id="777" name="Google Shape;777;p58"/>
            <p:cNvSpPr/>
            <p:nvPr/>
          </p:nvSpPr>
          <p:spPr>
            <a:xfrm>
              <a:off x="2148125" y="6162200"/>
              <a:ext cx="717300" cy="1681200"/>
            </a:xfrm>
            <a:prstGeom prst="rtTriangle">
              <a:avLst/>
            </a:prstGeom>
            <a:solidFill>
              <a:srgbClr val="C1F400"/>
            </a:solidFill>
            <a:ln>
              <a:noFill/>
            </a:ln>
          </p:spPr>
          <p:txBody>
            <a:bodyPr spcFirstLastPara="1" wrap="square" lIns="91450" tIns="91450" rIns="91450" bIns="91450" anchor="ctr" anchorCtr="0">
              <a:noAutofit/>
            </a:bodyPr>
            <a:lstStyle/>
            <a:p>
              <a:pPr marL="0" lvl="0" indent="0" algn="ctr" rtl="0">
                <a:spcBef>
                  <a:spcPts val="0"/>
                </a:spcBef>
                <a:spcAft>
                  <a:spcPts val="0"/>
                </a:spcAft>
                <a:buNone/>
              </a:pPr>
              <a:endParaRPr sz="1300"/>
            </a:p>
          </p:txBody>
        </p:sp>
      </p:grpSp>
      <p:sp>
        <p:nvSpPr>
          <p:cNvPr id="778" name="Google Shape;778;p58"/>
          <p:cNvSpPr/>
          <p:nvPr/>
        </p:nvSpPr>
        <p:spPr>
          <a:xfrm>
            <a:off x="22412037" y="536597"/>
            <a:ext cx="1515111" cy="1515111"/>
          </a:xfrm>
          <a:custGeom>
            <a:avLst/>
            <a:gdLst/>
            <a:ahLst/>
            <a:cxnLst/>
            <a:rect l="l" t="t" r="r" b="b"/>
            <a:pathLst>
              <a:path w="1137044" h="1137044" extrusionOk="0">
                <a:moveTo>
                  <a:pt x="0" y="0"/>
                </a:moveTo>
                <a:lnTo>
                  <a:pt x="1137044" y="0"/>
                </a:lnTo>
                <a:lnTo>
                  <a:pt x="1137044" y="1137044"/>
                </a:lnTo>
                <a:lnTo>
                  <a:pt x="0" y="1137044"/>
                </a:lnTo>
                <a:lnTo>
                  <a:pt x="0" y="0"/>
                </a:lnTo>
                <a:close/>
              </a:path>
            </a:pathLst>
          </a:custGeom>
          <a:blipFill rotWithShape="1">
            <a:blip r:embed="rId3">
              <a:alphaModFix/>
            </a:blip>
            <a:stretch>
              <a:fillRect/>
            </a:stretch>
          </a:blipFill>
          <a:ln>
            <a:noFill/>
          </a:ln>
        </p:spPr>
      </p:sp>
      <p:sp>
        <p:nvSpPr>
          <p:cNvPr id="779" name="Google Shape;779;p58"/>
          <p:cNvSpPr txBox="1">
            <a:spLocks noGrp="1"/>
          </p:cNvSpPr>
          <p:nvPr>
            <p:ph type="subTitle" idx="1"/>
          </p:nvPr>
        </p:nvSpPr>
        <p:spPr>
          <a:xfrm>
            <a:off x="3178175" y="7609400"/>
            <a:ext cx="18378300" cy="691200"/>
          </a:xfrm>
          <a:prstGeom prst="rect">
            <a:avLst/>
          </a:prstGeom>
          <a:noFill/>
          <a:ln>
            <a:noFill/>
          </a:ln>
        </p:spPr>
        <p:txBody>
          <a:bodyPr spcFirstLastPara="1" wrap="square" lIns="91450" tIns="91450" rIns="91450" bIns="91450" anchor="t" anchorCtr="0">
            <a:normAutofit/>
          </a:bodyPr>
          <a:lstStyle>
            <a:lvl1pPr lvl="0" rtl="0">
              <a:spcBef>
                <a:spcPts val="0"/>
              </a:spcBef>
              <a:spcAft>
                <a:spcPts val="0"/>
              </a:spcAft>
              <a:buClr>
                <a:schemeClr val="lt1"/>
              </a:buClr>
              <a:buSzPts val="3700"/>
              <a:buFont typeface="Montserrat SemiBold"/>
              <a:buNone/>
              <a:defRPr sz="3700">
                <a:solidFill>
                  <a:schemeClr val="lt1"/>
                </a:solidFill>
                <a:latin typeface="Montserrat SemiBold"/>
                <a:ea typeface="Montserrat SemiBold"/>
                <a:cs typeface="Montserrat SemiBold"/>
                <a:sym typeface="Montserrat SemiBold"/>
              </a:defRPr>
            </a:lvl1pPr>
            <a:lvl2pPr lvl="1" rtl="0">
              <a:spcBef>
                <a:spcPts val="0"/>
              </a:spcBef>
              <a:spcAft>
                <a:spcPts val="0"/>
              </a:spcAft>
              <a:buClr>
                <a:schemeClr val="lt1"/>
              </a:buClr>
              <a:buSzPts val="3700"/>
              <a:buFont typeface="Montserrat SemiBold"/>
              <a:buNone/>
              <a:defRPr sz="3700">
                <a:solidFill>
                  <a:schemeClr val="lt1"/>
                </a:solidFill>
                <a:latin typeface="Montserrat SemiBold"/>
                <a:ea typeface="Montserrat SemiBold"/>
                <a:cs typeface="Montserrat SemiBold"/>
                <a:sym typeface="Montserrat SemiBold"/>
              </a:defRPr>
            </a:lvl2pPr>
            <a:lvl3pPr lvl="2" rtl="0">
              <a:spcBef>
                <a:spcPts val="0"/>
              </a:spcBef>
              <a:spcAft>
                <a:spcPts val="0"/>
              </a:spcAft>
              <a:buClr>
                <a:schemeClr val="lt1"/>
              </a:buClr>
              <a:buSzPts val="3700"/>
              <a:buFont typeface="Montserrat SemiBold"/>
              <a:buNone/>
              <a:defRPr sz="3700">
                <a:solidFill>
                  <a:schemeClr val="lt1"/>
                </a:solidFill>
                <a:latin typeface="Montserrat SemiBold"/>
                <a:ea typeface="Montserrat SemiBold"/>
                <a:cs typeface="Montserrat SemiBold"/>
                <a:sym typeface="Montserrat SemiBold"/>
              </a:defRPr>
            </a:lvl3pPr>
            <a:lvl4pPr lvl="3" rtl="0">
              <a:spcBef>
                <a:spcPts val="0"/>
              </a:spcBef>
              <a:spcAft>
                <a:spcPts val="0"/>
              </a:spcAft>
              <a:buClr>
                <a:schemeClr val="lt1"/>
              </a:buClr>
              <a:buSzPts val="3700"/>
              <a:buFont typeface="Montserrat SemiBold"/>
              <a:buNone/>
              <a:defRPr sz="3700">
                <a:solidFill>
                  <a:schemeClr val="lt1"/>
                </a:solidFill>
                <a:latin typeface="Montserrat SemiBold"/>
                <a:ea typeface="Montserrat SemiBold"/>
                <a:cs typeface="Montserrat SemiBold"/>
                <a:sym typeface="Montserrat SemiBold"/>
              </a:defRPr>
            </a:lvl4pPr>
            <a:lvl5pPr lvl="4" rtl="0">
              <a:spcBef>
                <a:spcPts val="0"/>
              </a:spcBef>
              <a:spcAft>
                <a:spcPts val="0"/>
              </a:spcAft>
              <a:buClr>
                <a:schemeClr val="lt1"/>
              </a:buClr>
              <a:buSzPts val="3700"/>
              <a:buFont typeface="Montserrat SemiBold"/>
              <a:buNone/>
              <a:defRPr sz="3700">
                <a:solidFill>
                  <a:schemeClr val="lt1"/>
                </a:solidFill>
                <a:latin typeface="Montserrat SemiBold"/>
                <a:ea typeface="Montserrat SemiBold"/>
                <a:cs typeface="Montserrat SemiBold"/>
                <a:sym typeface="Montserrat SemiBold"/>
              </a:defRPr>
            </a:lvl5pPr>
            <a:lvl6pPr lvl="5" rtl="0">
              <a:spcBef>
                <a:spcPts val="0"/>
              </a:spcBef>
              <a:spcAft>
                <a:spcPts val="0"/>
              </a:spcAft>
              <a:buClr>
                <a:schemeClr val="lt1"/>
              </a:buClr>
              <a:buSzPts val="3700"/>
              <a:buFont typeface="Montserrat SemiBold"/>
              <a:buNone/>
              <a:defRPr sz="3700">
                <a:solidFill>
                  <a:schemeClr val="lt1"/>
                </a:solidFill>
                <a:latin typeface="Montserrat SemiBold"/>
                <a:ea typeface="Montserrat SemiBold"/>
                <a:cs typeface="Montserrat SemiBold"/>
                <a:sym typeface="Montserrat SemiBold"/>
              </a:defRPr>
            </a:lvl6pPr>
            <a:lvl7pPr lvl="6" rtl="0">
              <a:spcBef>
                <a:spcPts val="0"/>
              </a:spcBef>
              <a:spcAft>
                <a:spcPts val="0"/>
              </a:spcAft>
              <a:buClr>
                <a:schemeClr val="lt1"/>
              </a:buClr>
              <a:buSzPts val="3700"/>
              <a:buFont typeface="Montserrat SemiBold"/>
              <a:buNone/>
              <a:defRPr sz="3700">
                <a:solidFill>
                  <a:schemeClr val="lt1"/>
                </a:solidFill>
                <a:latin typeface="Montserrat SemiBold"/>
                <a:ea typeface="Montserrat SemiBold"/>
                <a:cs typeface="Montserrat SemiBold"/>
                <a:sym typeface="Montserrat SemiBold"/>
              </a:defRPr>
            </a:lvl7pPr>
            <a:lvl8pPr lvl="7" rtl="0">
              <a:spcBef>
                <a:spcPts val="0"/>
              </a:spcBef>
              <a:spcAft>
                <a:spcPts val="0"/>
              </a:spcAft>
              <a:buClr>
                <a:schemeClr val="lt1"/>
              </a:buClr>
              <a:buSzPts val="3700"/>
              <a:buFont typeface="Montserrat SemiBold"/>
              <a:buNone/>
              <a:defRPr sz="3700">
                <a:solidFill>
                  <a:schemeClr val="lt1"/>
                </a:solidFill>
                <a:latin typeface="Montserrat SemiBold"/>
                <a:ea typeface="Montserrat SemiBold"/>
                <a:cs typeface="Montserrat SemiBold"/>
                <a:sym typeface="Montserrat SemiBold"/>
              </a:defRPr>
            </a:lvl8pPr>
            <a:lvl9pPr lvl="8" rtl="0">
              <a:spcBef>
                <a:spcPts val="0"/>
              </a:spcBef>
              <a:spcAft>
                <a:spcPts val="0"/>
              </a:spcAft>
              <a:buClr>
                <a:schemeClr val="lt1"/>
              </a:buClr>
              <a:buSzPts val="3700"/>
              <a:buFont typeface="Montserrat SemiBold"/>
              <a:buNone/>
              <a:defRPr sz="3700">
                <a:solidFill>
                  <a:schemeClr val="lt1"/>
                </a:solidFill>
                <a:latin typeface="Montserrat SemiBold"/>
                <a:ea typeface="Montserrat SemiBold"/>
                <a:cs typeface="Montserrat SemiBold"/>
                <a:sym typeface="Montserrat SemiBold"/>
              </a:defRPr>
            </a:lvl9pPr>
          </a:lstStyle>
          <a:p>
            <a:endParaRPr/>
          </a:p>
        </p:txBody>
      </p:sp>
      <p:sp>
        <p:nvSpPr>
          <p:cNvPr id="780" name="Google Shape;780;p58"/>
          <p:cNvSpPr txBox="1">
            <a:spLocks noGrp="1"/>
          </p:cNvSpPr>
          <p:nvPr>
            <p:ph type="subTitle" idx="2"/>
          </p:nvPr>
        </p:nvSpPr>
        <p:spPr>
          <a:xfrm>
            <a:off x="3178175" y="9529350"/>
            <a:ext cx="18378300" cy="691200"/>
          </a:xfrm>
          <a:prstGeom prst="rect">
            <a:avLst/>
          </a:prstGeom>
          <a:noFill/>
          <a:ln>
            <a:noFill/>
          </a:ln>
        </p:spPr>
        <p:txBody>
          <a:bodyPr spcFirstLastPara="1" wrap="square" lIns="91450" tIns="91450" rIns="91450" bIns="91450" anchor="t" anchorCtr="0">
            <a:normAutofit/>
          </a:bodyPr>
          <a:lstStyle>
            <a:lvl1pPr lvl="0" rtl="0">
              <a:spcBef>
                <a:spcPts val="0"/>
              </a:spcBef>
              <a:spcAft>
                <a:spcPts val="0"/>
              </a:spcAft>
              <a:buClr>
                <a:schemeClr val="lt1"/>
              </a:buClr>
              <a:buSzPts val="3700"/>
              <a:buFont typeface="Montserrat SemiBold"/>
              <a:buNone/>
              <a:defRPr sz="3700">
                <a:solidFill>
                  <a:schemeClr val="lt1"/>
                </a:solidFill>
                <a:latin typeface="Montserrat SemiBold"/>
                <a:ea typeface="Montserrat SemiBold"/>
                <a:cs typeface="Montserrat SemiBold"/>
                <a:sym typeface="Montserrat SemiBold"/>
              </a:defRPr>
            </a:lvl1pPr>
            <a:lvl2pPr lvl="1" rtl="0">
              <a:spcBef>
                <a:spcPts val="0"/>
              </a:spcBef>
              <a:spcAft>
                <a:spcPts val="0"/>
              </a:spcAft>
              <a:buClr>
                <a:schemeClr val="lt1"/>
              </a:buClr>
              <a:buSzPts val="3700"/>
              <a:buFont typeface="Montserrat SemiBold"/>
              <a:buNone/>
              <a:defRPr sz="3700">
                <a:solidFill>
                  <a:schemeClr val="lt1"/>
                </a:solidFill>
                <a:latin typeface="Montserrat SemiBold"/>
                <a:ea typeface="Montserrat SemiBold"/>
                <a:cs typeface="Montserrat SemiBold"/>
                <a:sym typeface="Montserrat SemiBold"/>
              </a:defRPr>
            </a:lvl2pPr>
            <a:lvl3pPr lvl="2" rtl="0">
              <a:spcBef>
                <a:spcPts val="0"/>
              </a:spcBef>
              <a:spcAft>
                <a:spcPts val="0"/>
              </a:spcAft>
              <a:buClr>
                <a:schemeClr val="lt1"/>
              </a:buClr>
              <a:buSzPts val="3700"/>
              <a:buFont typeface="Montserrat SemiBold"/>
              <a:buNone/>
              <a:defRPr sz="3700">
                <a:solidFill>
                  <a:schemeClr val="lt1"/>
                </a:solidFill>
                <a:latin typeface="Montserrat SemiBold"/>
                <a:ea typeface="Montserrat SemiBold"/>
                <a:cs typeface="Montserrat SemiBold"/>
                <a:sym typeface="Montserrat SemiBold"/>
              </a:defRPr>
            </a:lvl3pPr>
            <a:lvl4pPr lvl="3" rtl="0">
              <a:spcBef>
                <a:spcPts val="0"/>
              </a:spcBef>
              <a:spcAft>
                <a:spcPts val="0"/>
              </a:spcAft>
              <a:buClr>
                <a:schemeClr val="lt1"/>
              </a:buClr>
              <a:buSzPts val="3700"/>
              <a:buFont typeface="Montserrat SemiBold"/>
              <a:buNone/>
              <a:defRPr sz="3700">
                <a:solidFill>
                  <a:schemeClr val="lt1"/>
                </a:solidFill>
                <a:latin typeface="Montserrat SemiBold"/>
                <a:ea typeface="Montserrat SemiBold"/>
                <a:cs typeface="Montserrat SemiBold"/>
                <a:sym typeface="Montserrat SemiBold"/>
              </a:defRPr>
            </a:lvl4pPr>
            <a:lvl5pPr lvl="4" rtl="0">
              <a:spcBef>
                <a:spcPts val="0"/>
              </a:spcBef>
              <a:spcAft>
                <a:spcPts val="0"/>
              </a:spcAft>
              <a:buClr>
                <a:schemeClr val="lt1"/>
              </a:buClr>
              <a:buSzPts val="3700"/>
              <a:buFont typeface="Montserrat SemiBold"/>
              <a:buNone/>
              <a:defRPr sz="3700">
                <a:solidFill>
                  <a:schemeClr val="lt1"/>
                </a:solidFill>
                <a:latin typeface="Montserrat SemiBold"/>
                <a:ea typeface="Montserrat SemiBold"/>
                <a:cs typeface="Montserrat SemiBold"/>
                <a:sym typeface="Montserrat SemiBold"/>
              </a:defRPr>
            </a:lvl5pPr>
            <a:lvl6pPr lvl="5" rtl="0">
              <a:spcBef>
                <a:spcPts val="0"/>
              </a:spcBef>
              <a:spcAft>
                <a:spcPts val="0"/>
              </a:spcAft>
              <a:buClr>
                <a:schemeClr val="lt1"/>
              </a:buClr>
              <a:buSzPts val="3700"/>
              <a:buFont typeface="Montserrat SemiBold"/>
              <a:buNone/>
              <a:defRPr sz="3700">
                <a:solidFill>
                  <a:schemeClr val="lt1"/>
                </a:solidFill>
                <a:latin typeface="Montserrat SemiBold"/>
                <a:ea typeface="Montserrat SemiBold"/>
                <a:cs typeface="Montserrat SemiBold"/>
                <a:sym typeface="Montserrat SemiBold"/>
              </a:defRPr>
            </a:lvl6pPr>
            <a:lvl7pPr lvl="6" rtl="0">
              <a:spcBef>
                <a:spcPts val="0"/>
              </a:spcBef>
              <a:spcAft>
                <a:spcPts val="0"/>
              </a:spcAft>
              <a:buClr>
                <a:schemeClr val="lt1"/>
              </a:buClr>
              <a:buSzPts val="3700"/>
              <a:buFont typeface="Montserrat SemiBold"/>
              <a:buNone/>
              <a:defRPr sz="3700">
                <a:solidFill>
                  <a:schemeClr val="lt1"/>
                </a:solidFill>
                <a:latin typeface="Montserrat SemiBold"/>
                <a:ea typeface="Montserrat SemiBold"/>
                <a:cs typeface="Montserrat SemiBold"/>
                <a:sym typeface="Montserrat SemiBold"/>
              </a:defRPr>
            </a:lvl7pPr>
            <a:lvl8pPr lvl="7" rtl="0">
              <a:spcBef>
                <a:spcPts val="0"/>
              </a:spcBef>
              <a:spcAft>
                <a:spcPts val="0"/>
              </a:spcAft>
              <a:buClr>
                <a:schemeClr val="lt1"/>
              </a:buClr>
              <a:buSzPts val="3700"/>
              <a:buFont typeface="Montserrat SemiBold"/>
              <a:buNone/>
              <a:defRPr sz="3700">
                <a:solidFill>
                  <a:schemeClr val="lt1"/>
                </a:solidFill>
                <a:latin typeface="Montserrat SemiBold"/>
                <a:ea typeface="Montserrat SemiBold"/>
                <a:cs typeface="Montserrat SemiBold"/>
                <a:sym typeface="Montserrat SemiBold"/>
              </a:defRPr>
            </a:lvl8pPr>
            <a:lvl9pPr lvl="8" rtl="0">
              <a:spcBef>
                <a:spcPts val="0"/>
              </a:spcBef>
              <a:spcAft>
                <a:spcPts val="0"/>
              </a:spcAft>
              <a:buClr>
                <a:schemeClr val="lt1"/>
              </a:buClr>
              <a:buSzPts val="3700"/>
              <a:buFont typeface="Montserrat SemiBold"/>
              <a:buNone/>
              <a:defRPr sz="3700">
                <a:solidFill>
                  <a:schemeClr val="lt1"/>
                </a:solidFill>
                <a:latin typeface="Montserrat SemiBold"/>
                <a:ea typeface="Montserrat SemiBold"/>
                <a:cs typeface="Montserrat SemiBold"/>
                <a:sym typeface="Montserrat SemiBold"/>
              </a:defRPr>
            </a:lvl9pPr>
          </a:lstStyle>
          <a:p>
            <a:endParaRPr/>
          </a:p>
        </p:txBody>
      </p:sp>
      <p:sp>
        <p:nvSpPr>
          <p:cNvPr id="781" name="Google Shape;781;p58"/>
          <p:cNvSpPr txBox="1">
            <a:spLocks noGrp="1"/>
          </p:cNvSpPr>
          <p:nvPr>
            <p:ph type="subTitle" idx="3"/>
          </p:nvPr>
        </p:nvSpPr>
        <p:spPr>
          <a:xfrm>
            <a:off x="3178175" y="11449300"/>
            <a:ext cx="18378300" cy="691200"/>
          </a:xfrm>
          <a:prstGeom prst="rect">
            <a:avLst/>
          </a:prstGeom>
          <a:noFill/>
          <a:ln>
            <a:noFill/>
          </a:ln>
        </p:spPr>
        <p:txBody>
          <a:bodyPr spcFirstLastPara="1" wrap="square" lIns="91450" tIns="91450" rIns="91450" bIns="91450" anchor="t" anchorCtr="0">
            <a:normAutofit/>
          </a:bodyPr>
          <a:lstStyle>
            <a:lvl1pPr lvl="0" rtl="0">
              <a:spcBef>
                <a:spcPts val="0"/>
              </a:spcBef>
              <a:spcAft>
                <a:spcPts val="0"/>
              </a:spcAft>
              <a:buClr>
                <a:schemeClr val="lt1"/>
              </a:buClr>
              <a:buSzPts val="3700"/>
              <a:buFont typeface="Montserrat SemiBold"/>
              <a:buNone/>
              <a:defRPr sz="3700">
                <a:solidFill>
                  <a:schemeClr val="lt1"/>
                </a:solidFill>
                <a:latin typeface="Montserrat SemiBold"/>
                <a:ea typeface="Montserrat SemiBold"/>
                <a:cs typeface="Montserrat SemiBold"/>
                <a:sym typeface="Montserrat SemiBold"/>
              </a:defRPr>
            </a:lvl1pPr>
            <a:lvl2pPr lvl="1" rtl="0">
              <a:spcBef>
                <a:spcPts val="0"/>
              </a:spcBef>
              <a:spcAft>
                <a:spcPts val="0"/>
              </a:spcAft>
              <a:buClr>
                <a:schemeClr val="lt1"/>
              </a:buClr>
              <a:buSzPts val="3700"/>
              <a:buFont typeface="Montserrat SemiBold"/>
              <a:buNone/>
              <a:defRPr sz="3700">
                <a:solidFill>
                  <a:schemeClr val="lt1"/>
                </a:solidFill>
                <a:latin typeface="Montserrat SemiBold"/>
                <a:ea typeface="Montserrat SemiBold"/>
                <a:cs typeface="Montserrat SemiBold"/>
                <a:sym typeface="Montserrat SemiBold"/>
              </a:defRPr>
            </a:lvl2pPr>
            <a:lvl3pPr lvl="2" rtl="0">
              <a:spcBef>
                <a:spcPts val="0"/>
              </a:spcBef>
              <a:spcAft>
                <a:spcPts val="0"/>
              </a:spcAft>
              <a:buClr>
                <a:schemeClr val="lt1"/>
              </a:buClr>
              <a:buSzPts val="3700"/>
              <a:buFont typeface="Montserrat SemiBold"/>
              <a:buNone/>
              <a:defRPr sz="3700">
                <a:solidFill>
                  <a:schemeClr val="lt1"/>
                </a:solidFill>
                <a:latin typeface="Montserrat SemiBold"/>
                <a:ea typeface="Montserrat SemiBold"/>
                <a:cs typeface="Montserrat SemiBold"/>
                <a:sym typeface="Montserrat SemiBold"/>
              </a:defRPr>
            </a:lvl3pPr>
            <a:lvl4pPr lvl="3" rtl="0">
              <a:spcBef>
                <a:spcPts val="0"/>
              </a:spcBef>
              <a:spcAft>
                <a:spcPts val="0"/>
              </a:spcAft>
              <a:buClr>
                <a:schemeClr val="lt1"/>
              </a:buClr>
              <a:buSzPts val="3700"/>
              <a:buFont typeface="Montserrat SemiBold"/>
              <a:buNone/>
              <a:defRPr sz="3700">
                <a:solidFill>
                  <a:schemeClr val="lt1"/>
                </a:solidFill>
                <a:latin typeface="Montserrat SemiBold"/>
                <a:ea typeface="Montserrat SemiBold"/>
                <a:cs typeface="Montserrat SemiBold"/>
                <a:sym typeface="Montserrat SemiBold"/>
              </a:defRPr>
            </a:lvl4pPr>
            <a:lvl5pPr lvl="4" rtl="0">
              <a:spcBef>
                <a:spcPts val="0"/>
              </a:spcBef>
              <a:spcAft>
                <a:spcPts val="0"/>
              </a:spcAft>
              <a:buClr>
                <a:schemeClr val="lt1"/>
              </a:buClr>
              <a:buSzPts val="3700"/>
              <a:buFont typeface="Montserrat SemiBold"/>
              <a:buNone/>
              <a:defRPr sz="3700">
                <a:solidFill>
                  <a:schemeClr val="lt1"/>
                </a:solidFill>
                <a:latin typeface="Montserrat SemiBold"/>
                <a:ea typeface="Montserrat SemiBold"/>
                <a:cs typeface="Montserrat SemiBold"/>
                <a:sym typeface="Montserrat SemiBold"/>
              </a:defRPr>
            </a:lvl5pPr>
            <a:lvl6pPr lvl="5" rtl="0">
              <a:spcBef>
                <a:spcPts val="0"/>
              </a:spcBef>
              <a:spcAft>
                <a:spcPts val="0"/>
              </a:spcAft>
              <a:buClr>
                <a:schemeClr val="lt1"/>
              </a:buClr>
              <a:buSzPts val="3700"/>
              <a:buFont typeface="Montserrat SemiBold"/>
              <a:buNone/>
              <a:defRPr sz="3700">
                <a:solidFill>
                  <a:schemeClr val="lt1"/>
                </a:solidFill>
                <a:latin typeface="Montserrat SemiBold"/>
                <a:ea typeface="Montserrat SemiBold"/>
                <a:cs typeface="Montserrat SemiBold"/>
                <a:sym typeface="Montserrat SemiBold"/>
              </a:defRPr>
            </a:lvl6pPr>
            <a:lvl7pPr lvl="6" rtl="0">
              <a:spcBef>
                <a:spcPts val="0"/>
              </a:spcBef>
              <a:spcAft>
                <a:spcPts val="0"/>
              </a:spcAft>
              <a:buClr>
                <a:schemeClr val="lt1"/>
              </a:buClr>
              <a:buSzPts val="3700"/>
              <a:buFont typeface="Montserrat SemiBold"/>
              <a:buNone/>
              <a:defRPr sz="3700">
                <a:solidFill>
                  <a:schemeClr val="lt1"/>
                </a:solidFill>
                <a:latin typeface="Montserrat SemiBold"/>
                <a:ea typeface="Montserrat SemiBold"/>
                <a:cs typeface="Montserrat SemiBold"/>
                <a:sym typeface="Montserrat SemiBold"/>
              </a:defRPr>
            </a:lvl7pPr>
            <a:lvl8pPr lvl="7" rtl="0">
              <a:spcBef>
                <a:spcPts val="0"/>
              </a:spcBef>
              <a:spcAft>
                <a:spcPts val="0"/>
              </a:spcAft>
              <a:buClr>
                <a:schemeClr val="lt1"/>
              </a:buClr>
              <a:buSzPts val="3700"/>
              <a:buFont typeface="Montserrat SemiBold"/>
              <a:buNone/>
              <a:defRPr sz="3700">
                <a:solidFill>
                  <a:schemeClr val="lt1"/>
                </a:solidFill>
                <a:latin typeface="Montserrat SemiBold"/>
                <a:ea typeface="Montserrat SemiBold"/>
                <a:cs typeface="Montserrat SemiBold"/>
                <a:sym typeface="Montserrat SemiBold"/>
              </a:defRPr>
            </a:lvl8pPr>
            <a:lvl9pPr lvl="8" rtl="0">
              <a:spcBef>
                <a:spcPts val="0"/>
              </a:spcBef>
              <a:spcAft>
                <a:spcPts val="0"/>
              </a:spcAft>
              <a:buClr>
                <a:schemeClr val="lt1"/>
              </a:buClr>
              <a:buSzPts val="3700"/>
              <a:buFont typeface="Montserrat SemiBold"/>
              <a:buNone/>
              <a:defRPr sz="3700">
                <a:solidFill>
                  <a:schemeClr val="lt1"/>
                </a:solidFill>
                <a:latin typeface="Montserrat SemiBold"/>
                <a:ea typeface="Montserrat SemiBold"/>
                <a:cs typeface="Montserrat SemiBold"/>
                <a:sym typeface="Montserrat SemiBold"/>
              </a:defRPr>
            </a:lvl9pPr>
          </a:lstStyle>
          <a:p>
            <a:endParaRPr/>
          </a:p>
        </p:txBody>
      </p:sp>
      <p:sp>
        <p:nvSpPr>
          <p:cNvPr id="782" name="Google Shape;782;p58"/>
          <p:cNvSpPr txBox="1">
            <a:spLocks noGrp="1"/>
          </p:cNvSpPr>
          <p:nvPr>
            <p:ph type="title"/>
          </p:nvPr>
        </p:nvSpPr>
        <p:spPr>
          <a:xfrm>
            <a:off x="1990350" y="2201850"/>
            <a:ext cx="19257300" cy="1370400"/>
          </a:xfrm>
          <a:prstGeom prst="rect">
            <a:avLst/>
          </a:prstGeom>
          <a:noFill/>
          <a:ln>
            <a:noFill/>
          </a:ln>
        </p:spPr>
        <p:txBody>
          <a:bodyPr spcFirstLastPara="1" wrap="square" lIns="91450" tIns="91450" rIns="91450" bIns="91450" anchor="t" anchorCtr="0">
            <a:noAutofit/>
          </a:bodyPr>
          <a:lstStyle>
            <a:lvl1pPr lvl="0" rtl="0">
              <a:spcBef>
                <a:spcPts val="0"/>
              </a:spcBef>
              <a:spcAft>
                <a:spcPts val="0"/>
              </a:spcAft>
              <a:buClr>
                <a:schemeClr val="lt1"/>
              </a:buClr>
              <a:buSzPts val="7200"/>
              <a:buFont typeface="Montserrat Black"/>
              <a:buNone/>
              <a:defRPr sz="7200">
                <a:solidFill>
                  <a:schemeClr val="lt1"/>
                </a:solidFill>
                <a:latin typeface="Montserrat Black"/>
                <a:ea typeface="Montserrat Black"/>
                <a:cs typeface="Montserrat Black"/>
                <a:sym typeface="Montserrat Black"/>
              </a:defRPr>
            </a:lvl1pPr>
            <a:lvl2pPr lvl="1" rtl="0">
              <a:spcBef>
                <a:spcPts val="0"/>
              </a:spcBef>
              <a:spcAft>
                <a:spcPts val="0"/>
              </a:spcAft>
              <a:buClr>
                <a:schemeClr val="lt1"/>
              </a:buClr>
              <a:buSzPts val="7200"/>
              <a:buNone/>
              <a:defRPr sz="7200">
                <a:solidFill>
                  <a:schemeClr val="lt1"/>
                </a:solidFill>
              </a:defRPr>
            </a:lvl2pPr>
            <a:lvl3pPr lvl="2" rtl="0">
              <a:spcBef>
                <a:spcPts val="0"/>
              </a:spcBef>
              <a:spcAft>
                <a:spcPts val="0"/>
              </a:spcAft>
              <a:buClr>
                <a:schemeClr val="lt1"/>
              </a:buClr>
              <a:buSzPts val="7200"/>
              <a:buNone/>
              <a:defRPr sz="7200">
                <a:solidFill>
                  <a:schemeClr val="lt1"/>
                </a:solidFill>
              </a:defRPr>
            </a:lvl3pPr>
            <a:lvl4pPr lvl="3" rtl="0">
              <a:spcBef>
                <a:spcPts val="0"/>
              </a:spcBef>
              <a:spcAft>
                <a:spcPts val="0"/>
              </a:spcAft>
              <a:buClr>
                <a:schemeClr val="lt1"/>
              </a:buClr>
              <a:buSzPts val="7200"/>
              <a:buNone/>
              <a:defRPr sz="7200">
                <a:solidFill>
                  <a:schemeClr val="lt1"/>
                </a:solidFill>
              </a:defRPr>
            </a:lvl4pPr>
            <a:lvl5pPr lvl="4" rtl="0">
              <a:spcBef>
                <a:spcPts val="0"/>
              </a:spcBef>
              <a:spcAft>
                <a:spcPts val="0"/>
              </a:spcAft>
              <a:buClr>
                <a:schemeClr val="lt1"/>
              </a:buClr>
              <a:buSzPts val="7200"/>
              <a:buNone/>
              <a:defRPr sz="7200">
                <a:solidFill>
                  <a:schemeClr val="lt1"/>
                </a:solidFill>
              </a:defRPr>
            </a:lvl5pPr>
            <a:lvl6pPr lvl="5" rtl="0">
              <a:spcBef>
                <a:spcPts val="0"/>
              </a:spcBef>
              <a:spcAft>
                <a:spcPts val="0"/>
              </a:spcAft>
              <a:buClr>
                <a:schemeClr val="lt1"/>
              </a:buClr>
              <a:buSzPts val="7200"/>
              <a:buNone/>
              <a:defRPr sz="7200">
                <a:solidFill>
                  <a:schemeClr val="lt1"/>
                </a:solidFill>
              </a:defRPr>
            </a:lvl6pPr>
            <a:lvl7pPr lvl="6" rtl="0">
              <a:spcBef>
                <a:spcPts val="0"/>
              </a:spcBef>
              <a:spcAft>
                <a:spcPts val="0"/>
              </a:spcAft>
              <a:buClr>
                <a:schemeClr val="lt1"/>
              </a:buClr>
              <a:buSzPts val="7200"/>
              <a:buNone/>
              <a:defRPr sz="7200">
                <a:solidFill>
                  <a:schemeClr val="lt1"/>
                </a:solidFill>
              </a:defRPr>
            </a:lvl7pPr>
            <a:lvl8pPr lvl="7" rtl="0">
              <a:spcBef>
                <a:spcPts val="0"/>
              </a:spcBef>
              <a:spcAft>
                <a:spcPts val="0"/>
              </a:spcAft>
              <a:buClr>
                <a:schemeClr val="lt1"/>
              </a:buClr>
              <a:buSzPts val="7200"/>
              <a:buNone/>
              <a:defRPr sz="7200">
                <a:solidFill>
                  <a:schemeClr val="lt1"/>
                </a:solidFill>
              </a:defRPr>
            </a:lvl8pPr>
            <a:lvl9pPr lvl="8" rtl="0">
              <a:spcBef>
                <a:spcPts val="0"/>
              </a:spcBef>
              <a:spcAft>
                <a:spcPts val="0"/>
              </a:spcAft>
              <a:buClr>
                <a:schemeClr val="lt1"/>
              </a:buClr>
              <a:buSzPts val="7200"/>
              <a:buNone/>
              <a:defRPr sz="7200">
                <a:solidFill>
                  <a:schemeClr val="lt1"/>
                </a:solidFill>
              </a:defRPr>
            </a:lvl9pPr>
          </a:lstStyle>
          <a:p>
            <a:endParaRPr/>
          </a:p>
        </p:txBody>
      </p:sp>
      <p:sp>
        <p:nvSpPr>
          <p:cNvPr id="783" name="Google Shape;783;p58"/>
          <p:cNvSpPr txBox="1">
            <a:spLocks noGrp="1"/>
          </p:cNvSpPr>
          <p:nvPr>
            <p:ph type="subTitle" idx="4"/>
          </p:nvPr>
        </p:nvSpPr>
        <p:spPr>
          <a:xfrm>
            <a:off x="2050300" y="3798050"/>
            <a:ext cx="20078700" cy="1681500"/>
          </a:xfrm>
          <a:prstGeom prst="rect">
            <a:avLst/>
          </a:prstGeom>
          <a:noFill/>
          <a:ln>
            <a:noFill/>
          </a:ln>
        </p:spPr>
        <p:txBody>
          <a:bodyPr spcFirstLastPara="1" wrap="square" lIns="91450" tIns="91450" rIns="91450" bIns="91450" anchor="t" anchorCtr="0">
            <a:noAutofit/>
          </a:bodyPr>
          <a:lstStyle>
            <a:lvl1pPr lvl="0" rtl="0">
              <a:spcBef>
                <a:spcPts val="0"/>
              </a:spcBef>
              <a:spcAft>
                <a:spcPts val="0"/>
              </a:spcAft>
              <a:buClr>
                <a:schemeClr val="lt1"/>
              </a:buClr>
              <a:buSzPts val="3700"/>
              <a:buFont typeface="Montserrat"/>
              <a:buNone/>
              <a:defRPr sz="3700">
                <a:solidFill>
                  <a:schemeClr val="lt1"/>
                </a:solidFill>
                <a:latin typeface="Montserrat"/>
                <a:ea typeface="Montserrat"/>
                <a:cs typeface="Montserrat"/>
                <a:sym typeface="Montserrat"/>
              </a:defRPr>
            </a:lvl1pPr>
            <a:lvl2pPr lvl="1" rtl="0">
              <a:spcBef>
                <a:spcPts val="0"/>
              </a:spcBef>
              <a:spcAft>
                <a:spcPts val="0"/>
              </a:spcAft>
              <a:buClr>
                <a:schemeClr val="lt1"/>
              </a:buClr>
              <a:buSzPts val="3700"/>
              <a:buNone/>
              <a:defRPr sz="3700">
                <a:solidFill>
                  <a:schemeClr val="lt1"/>
                </a:solidFill>
              </a:defRPr>
            </a:lvl2pPr>
            <a:lvl3pPr lvl="2" rtl="0">
              <a:spcBef>
                <a:spcPts val="0"/>
              </a:spcBef>
              <a:spcAft>
                <a:spcPts val="0"/>
              </a:spcAft>
              <a:buClr>
                <a:schemeClr val="lt1"/>
              </a:buClr>
              <a:buSzPts val="3700"/>
              <a:buNone/>
              <a:defRPr sz="3700">
                <a:solidFill>
                  <a:schemeClr val="lt1"/>
                </a:solidFill>
              </a:defRPr>
            </a:lvl3pPr>
            <a:lvl4pPr lvl="3" rtl="0">
              <a:spcBef>
                <a:spcPts val="0"/>
              </a:spcBef>
              <a:spcAft>
                <a:spcPts val="0"/>
              </a:spcAft>
              <a:buClr>
                <a:schemeClr val="lt1"/>
              </a:buClr>
              <a:buSzPts val="3700"/>
              <a:buNone/>
              <a:defRPr sz="3700">
                <a:solidFill>
                  <a:schemeClr val="lt1"/>
                </a:solidFill>
              </a:defRPr>
            </a:lvl4pPr>
            <a:lvl5pPr lvl="4" rtl="0">
              <a:spcBef>
                <a:spcPts val="0"/>
              </a:spcBef>
              <a:spcAft>
                <a:spcPts val="0"/>
              </a:spcAft>
              <a:buClr>
                <a:schemeClr val="lt1"/>
              </a:buClr>
              <a:buSzPts val="3700"/>
              <a:buNone/>
              <a:defRPr sz="3700">
                <a:solidFill>
                  <a:schemeClr val="lt1"/>
                </a:solidFill>
              </a:defRPr>
            </a:lvl5pPr>
            <a:lvl6pPr lvl="5" rtl="0">
              <a:spcBef>
                <a:spcPts val="0"/>
              </a:spcBef>
              <a:spcAft>
                <a:spcPts val="0"/>
              </a:spcAft>
              <a:buClr>
                <a:schemeClr val="lt1"/>
              </a:buClr>
              <a:buSzPts val="3700"/>
              <a:buNone/>
              <a:defRPr sz="3700">
                <a:solidFill>
                  <a:schemeClr val="lt1"/>
                </a:solidFill>
              </a:defRPr>
            </a:lvl6pPr>
            <a:lvl7pPr lvl="6" rtl="0">
              <a:spcBef>
                <a:spcPts val="0"/>
              </a:spcBef>
              <a:spcAft>
                <a:spcPts val="0"/>
              </a:spcAft>
              <a:buClr>
                <a:schemeClr val="lt1"/>
              </a:buClr>
              <a:buSzPts val="3700"/>
              <a:buNone/>
              <a:defRPr sz="3700">
                <a:solidFill>
                  <a:schemeClr val="lt1"/>
                </a:solidFill>
              </a:defRPr>
            </a:lvl7pPr>
            <a:lvl8pPr lvl="7" rtl="0">
              <a:spcBef>
                <a:spcPts val="0"/>
              </a:spcBef>
              <a:spcAft>
                <a:spcPts val="0"/>
              </a:spcAft>
              <a:buClr>
                <a:schemeClr val="lt1"/>
              </a:buClr>
              <a:buSzPts val="3700"/>
              <a:buNone/>
              <a:defRPr sz="3700">
                <a:solidFill>
                  <a:schemeClr val="lt1"/>
                </a:solidFill>
              </a:defRPr>
            </a:lvl8pPr>
            <a:lvl9pPr lvl="8" rtl="0">
              <a:spcBef>
                <a:spcPts val="0"/>
              </a:spcBef>
              <a:spcAft>
                <a:spcPts val="0"/>
              </a:spcAft>
              <a:buClr>
                <a:schemeClr val="lt1"/>
              </a:buClr>
              <a:buSzPts val="3700"/>
              <a:buNone/>
              <a:defRPr sz="3700">
                <a:solidFill>
                  <a:schemeClr val="lt1"/>
                </a:solidFill>
              </a:defRPr>
            </a:lvl9pPr>
          </a:lstStyle>
          <a:p>
            <a:endParaRPr/>
          </a:p>
        </p:txBody>
      </p:sp>
      <p:grpSp>
        <p:nvGrpSpPr>
          <p:cNvPr id="784" name="Google Shape;784;p58"/>
          <p:cNvGrpSpPr/>
          <p:nvPr/>
        </p:nvGrpSpPr>
        <p:grpSpPr>
          <a:xfrm>
            <a:off x="2149475" y="5124450"/>
            <a:ext cx="20078700" cy="1681200"/>
            <a:chOff x="2126500" y="6162200"/>
            <a:chExt cx="20078700" cy="1681200"/>
          </a:xfrm>
        </p:grpSpPr>
        <p:sp>
          <p:nvSpPr>
            <p:cNvPr id="785" name="Google Shape;785;p58"/>
            <p:cNvSpPr/>
            <p:nvPr/>
          </p:nvSpPr>
          <p:spPr>
            <a:xfrm>
              <a:off x="2126500" y="6210925"/>
              <a:ext cx="20078700" cy="1594500"/>
            </a:xfrm>
            <a:prstGeom prst="rect">
              <a:avLst/>
            </a:prstGeom>
            <a:noFill/>
            <a:ln w="76200" cap="flat" cmpd="sng">
              <a:solidFill>
                <a:srgbClr val="C1F400"/>
              </a:solidFill>
              <a:prstDash val="solid"/>
              <a:round/>
              <a:headEnd type="none" w="sm" len="sm"/>
              <a:tailEnd type="none" w="sm" len="sm"/>
            </a:ln>
          </p:spPr>
          <p:txBody>
            <a:bodyPr spcFirstLastPara="1" wrap="square" lIns="91450" tIns="91450" rIns="91450" bIns="91450" anchor="ctr" anchorCtr="0">
              <a:noAutofit/>
            </a:bodyPr>
            <a:lstStyle/>
            <a:p>
              <a:pPr marL="0" lvl="0" indent="0" algn="ctr" rtl="0">
                <a:spcBef>
                  <a:spcPts val="0"/>
                </a:spcBef>
                <a:spcAft>
                  <a:spcPts val="0"/>
                </a:spcAft>
                <a:buNone/>
              </a:pPr>
              <a:endParaRPr sz="1300"/>
            </a:p>
          </p:txBody>
        </p:sp>
        <p:sp>
          <p:nvSpPr>
            <p:cNvPr id="786" name="Google Shape;786;p58"/>
            <p:cNvSpPr/>
            <p:nvPr/>
          </p:nvSpPr>
          <p:spPr>
            <a:xfrm>
              <a:off x="2148125" y="6162200"/>
              <a:ext cx="717300" cy="1681200"/>
            </a:xfrm>
            <a:prstGeom prst="rtTriangle">
              <a:avLst/>
            </a:prstGeom>
            <a:solidFill>
              <a:srgbClr val="C1F400"/>
            </a:solidFill>
            <a:ln>
              <a:noFill/>
            </a:ln>
          </p:spPr>
          <p:txBody>
            <a:bodyPr spcFirstLastPara="1" wrap="square" lIns="91450" tIns="91450" rIns="91450" bIns="91450" anchor="ctr" anchorCtr="0">
              <a:noAutofit/>
            </a:bodyPr>
            <a:lstStyle/>
            <a:p>
              <a:pPr marL="0" lvl="0" indent="0" algn="ctr" rtl="0">
                <a:spcBef>
                  <a:spcPts val="0"/>
                </a:spcBef>
                <a:spcAft>
                  <a:spcPts val="0"/>
                </a:spcAft>
                <a:buNone/>
              </a:pPr>
              <a:endParaRPr sz="1300"/>
            </a:p>
          </p:txBody>
        </p:sp>
      </p:grpSp>
      <p:sp>
        <p:nvSpPr>
          <p:cNvPr id="787" name="Google Shape;787;p58"/>
          <p:cNvSpPr txBox="1">
            <a:spLocks noGrp="1"/>
          </p:cNvSpPr>
          <p:nvPr>
            <p:ph type="subTitle" idx="5"/>
          </p:nvPr>
        </p:nvSpPr>
        <p:spPr>
          <a:xfrm>
            <a:off x="3178175" y="5627150"/>
            <a:ext cx="18378300" cy="691200"/>
          </a:xfrm>
          <a:prstGeom prst="rect">
            <a:avLst/>
          </a:prstGeom>
          <a:noFill/>
          <a:ln>
            <a:noFill/>
          </a:ln>
        </p:spPr>
        <p:txBody>
          <a:bodyPr spcFirstLastPara="1" wrap="square" lIns="91450" tIns="91450" rIns="91450" bIns="91450" anchor="t" anchorCtr="0">
            <a:normAutofit/>
          </a:bodyPr>
          <a:lstStyle>
            <a:lvl1pPr lvl="0" rtl="0">
              <a:spcBef>
                <a:spcPts val="0"/>
              </a:spcBef>
              <a:spcAft>
                <a:spcPts val="0"/>
              </a:spcAft>
              <a:buClr>
                <a:schemeClr val="lt1"/>
              </a:buClr>
              <a:buSzPts val="3700"/>
              <a:buFont typeface="Montserrat SemiBold"/>
              <a:buNone/>
              <a:defRPr sz="3700">
                <a:solidFill>
                  <a:schemeClr val="lt1"/>
                </a:solidFill>
                <a:latin typeface="Montserrat SemiBold"/>
                <a:ea typeface="Montserrat SemiBold"/>
                <a:cs typeface="Montserrat SemiBold"/>
                <a:sym typeface="Montserrat SemiBold"/>
              </a:defRPr>
            </a:lvl1pPr>
            <a:lvl2pPr lvl="1" rtl="0">
              <a:spcBef>
                <a:spcPts val="0"/>
              </a:spcBef>
              <a:spcAft>
                <a:spcPts val="0"/>
              </a:spcAft>
              <a:buClr>
                <a:schemeClr val="lt1"/>
              </a:buClr>
              <a:buSzPts val="3700"/>
              <a:buFont typeface="Montserrat SemiBold"/>
              <a:buNone/>
              <a:defRPr sz="3700">
                <a:solidFill>
                  <a:schemeClr val="lt1"/>
                </a:solidFill>
                <a:latin typeface="Montserrat SemiBold"/>
                <a:ea typeface="Montserrat SemiBold"/>
                <a:cs typeface="Montserrat SemiBold"/>
                <a:sym typeface="Montserrat SemiBold"/>
              </a:defRPr>
            </a:lvl2pPr>
            <a:lvl3pPr lvl="2" rtl="0">
              <a:spcBef>
                <a:spcPts val="0"/>
              </a:spcBef>
              <a:spcAft>
                <a:spcPts val="0"/>
              </a:spcAft>
              <a:buClr>
                <a:schemeClr val="lt1"/>
              </a:buClr>
              <a:buSzPts val="3700"/>
              <a:buFont typeface="Montserrat SemiBold"/>
              <a:buNone/>
              <a:defRPr sz="3700">
                <a:solidFill>
                  <a:schemeClr val="lt1"/>
                </a:solidFill>
                <a:latin typeface="Montserrat SemiBold"/>
                <a:ea typeface="Montserrat SemiBold"/>
                <a:cs typeface="Montserrat SemiBold"/>
                <a:sym typeface="Montserrat SemiBold"/>
              </a:defRPr>
            </a:lvl3pPr>
            <a:lvl4pPr lvl="3" rtl="0">
              <a:spcBef>
                <a:spcPts val="0"/>
              </a:spcBef>
              <a:spcAft>
                <a:spcPts val="0"/>
              </a:spcAft>
              <a:buClr>
                <a:schemeClr val="lt1"/>
              </a:buClr>
              <a:buSzPts val="3700"/>
              <a:buFont typeface="Montserrat SemiBold"/>
              <a:buNone/>
              <a:defRPr sz="3700">
                <a:solidFill>
                  <a:schemeClr val="lt1"/>
                </a:solidFill>
                <a:latin typeface="Montserrat SemiBold"/>
                <a:ea typeface="Montserrat SemiBold"/>
                <a:cs typeface="Montserrat SemiBold"/>
                <a:sym typeface="Montserrat SemiBold"/>
              </a:defRPr>
            </a:lvl4pPr>
            <a:lvl5pPr lvl="4" rtl="0">
              <a:spcBef>
                <a:spcPts val="0"/>
              </a:spcBef>
              <a:spcAft>
                <a:spcPts val="0"/>
              </a:spcAft>
              <a:buClr>
                <a:schemeClr val="lt1"/>
              </a:buClr>
              <a:buSzPts val="3700"/>
              <a:buFont typeface="Montserrat SemiBold"/>
              <a:buNone/>
              <a:defRPr sz="3700">
                <a:solidFill>
                  <a:schemeClr val="lt1"/>
                </a:solidFill>
                <a:latin typeface="Montserrat SemiBold"/>
                <a:ea typeface="Montserrat SemiBold"/>
                <a:cs typeface="Montserrat SemiBold"/>
                <a:sym typeface="Montserrat SemiBold"/>
              </a:defRPr>
            </a:lvl5pPr>
            <a:lvl6pPr lvl="5" rtl="0">
              <a:spcBef>
                <a:spcPts val="0"/>
              </a:spcBef>
              <a:spcAft>
                <a:spcPts val="0"/>
              </a:spcAft>
              <a:buClr>
                <a:schemeClr val="lt1"/>
              </a:buClr>
              <a:buSzPts val="3700"/>
              <a:buFont typeface="Montserrat SemiBold"/>
              <a:buNone/>
              <a:defRPr sz="3700">
                <a:solidFill>
                  <a:schemeClr val="lt1"/>
                </a:solidFill>
                <a:latin typeface="Montserrat SemiBold"/>
                <a:ea typeface="Montserrat SemiBold"/>
                <a:cs typeface="Montserrat SemiBold"/>
                <a:sym typeface="Montserrat SemiBold"/>
              </a:defRPr>
            </a:lvl6pPr>
            <a:lvl7pPr lvl="6" rtl="0">
              <a:spcBef>
                <a:spcPts val="0"/>
              </a:spcBef>
              <a:spcAft>
                <a:spcPts val="0"/>
              </a:spcAft>
              <a:buClr>
                <a:schemeClr val="lt1"/>
              </a:buClr>
              <a:buSzPts val="3700"/>
              <a:buFont typeface="Montserrat SemiBold"/>
              <a:buNone/>
              <a:defRPr sz="3700">
                <a:solidFill>
                  <a:schemeClr val="lt1"/>
                </a:solidFill>
                <a:latin typeface="Montserrat SemiBold"/>
                <a:ea typeface="Montserrat SemiBold"/>
                <a:cs typeface="Montserrat SemiBold"/>
                <a:sym typeface="Montserrat SemiBold"/>
              </a:defRPr>
            </a:lvl7pPr>
            <a:lvl8pPr lvl="7" rtl="0">
              <a:spcBef>
                <a:spcPts val="0"/>
              </a:spcBef>
              <a:spcAft>
                <a:spcPts val="0"/>
              </a:spcAft>
              <a:buClr>
                <a:schemeClr val="lt1"/>
              </a:buClr>
              <a:buSzPts val="3700"/>
              <a:buFont typeface="Montserrat SemiBold"/>
              <a:buNone/>
              <a:defRPr sz="3700">
                <a:solidFill>
                  <a:schemeClr val="lt1"/>
                </a:solidFill>
                <a:latin typeface="Montserrat SemiBold"/>
                <a:ea typeface="Montserrat SemiBold"/>
                <a:cs typeface="Montserrat SemiBold"/>
                <a:sym typeface="Montserrat SemiBold"/>
              </a:defRPr>
            </a:lvl8pPr>
            <a:lvl9pPr lvl="8" rtl="0">
              <a:spcBef>
                <a:spcPts val="0"/>
              </a:spcBef>
              <a:spcAft>
                <a:spcPts val="0"/>
              </a:spcAft>
              <a:buClr>
                <a:schemeClr val="lt1"/>
              </a:buClr>
              <a:buSzPts val="3700"/>
              <a:buFont typeface="Montserrat SemiBold"/>
              <a:buNone/>
              <a:defRPr sz="3700">
                <a:solidFill>
                  <a:schemeClr val="lt1"/>
                </a:solidFill>
                <a:latin typeface="Montserrat SemiBold"/>
                <a:ea typeface="Montserrat SemiBold"/>
                <a:cs typeface="Montserrat SemiBold"/>
                <a:sym typeface="Montserrat SemiBold"/>
              </a:defRPr>
            </a:lvl9pPr>
          </a:lstStyle>
          <a:p>
            <a:endParaRP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Title slide" type="title">
  <p:cSld name="1_Title slide">
    <p:spTree>
      <p:nvGrpSpPr>
        <p:cNvPr id="1" name="Shape 788"/>
        <p:cNvGrpSpPr/>
        <p:nvPr/>
      </p:nvGrpSpPr>
      <p:grpSpPr>
        <a:xfrm>
          <a:off x="0" y="0"/>
          <a:ext cx="0" cy="0"/>
          <a:chOff x="0" y="0"/>
          <a:chExt cx="0" cy="0"/>
        </a:xfrm>
      </p:grpSpPr>
      <p:sp>
        <p:nvSpPr>
          <p:cNvPr id="789" name="Google Shape;789;p59"/>
          <p:cNvSpPr txBox="1">
            <a:spLocks noGrp="1"/>
          </p:cNvSpPr>
          <p:nvPr>
            <p:ph type="ctrTitle"/>
          </p:nvPr>
        </p:nvSpPr>
        <p:spPr>
          <a:xfrm>
            <a:off x="831006" y="1985533"/>
            <a:ext cx="22715700" cy="5473500"/>
          </a:xfrm>
          <a:prstGeom prst="rect">
            <a:avLst/>
          </a:prstGeom>
          <a:noFill/>
          <a:ln>
            <a:noFill/>
          </a:ln>
        </p:spPr>
        <p:txBody>
          <a:bodyPr spcFirstLastPara="1" wrap="square" lIns="91425" tIns="91425" rIns="91425" bIns="91425" anchor="b" anchorCtr="0">
            <a:noAutofit/>
          </a:bodyPr>
          <a:lstStyle>
            <a:lvl1pPr lvl="0" algn="ctr" rtl="0">
              <a:spcBef>
                <a:spcPts val="0"/>
              </a:spcBef>
              <a:spcAft>
                <a:spcPts val="0"/>
              </a:spcAft>
              <a:buSzPts val="13900"/>
              <a:buChar char="●"/>
              <a:defRPr sz="13900"/>
            </a:lvl1pPr>
            <a:lvl2pPr lvl="1" algn="ctr" rtl="0">
              <a:spcBef>
                <a:spcPts val="0"/>
              </a:spcBef>
              <a:spcAft>
                <a:spcPts val="0"/>
              </a:spcAft>
              <a:buSzPts val="13900"/>
              <a:buChar char="○"/>
              <a:defRPr sz="13900"/>
            </a:lvl2pPr>
            <a:lvl3pPr lvl="2" algn="ctr" rtl="0">
              <a:spcBef>
                <a:spcPts val="0"/>
              </a:spcBef>
              <a:spcAft>
                <a:spcPts val="0"/>
              </a:spcAft>
              <a:buSzPts val="13900"/>
              <a:buChar char="■"/>
              <a:defRPr sz="13900"/>
            </a:lvl3pPr>
            <a:lvl4pPr lvl="3" algn="ctr" rtl="0">
              <a:spcBef>
                <a:spcPts val="0"/>
              </a:spcBef>
              <a:spcAft>
                <a:spcPts val="0"/>
              </a:spcAft>
              <a:buSzPts val="13900"/>
              <a:buChar char="●"/>
              <a:defRPr sz="13900"/>
            </a:lvl4pPr>
            <a:lvl5pPr lvl="4" algn="ctr" rtl="0">
              <a:spcBef>
                <a:spcPts val="0"/>
              </a:spcBef>
              <a:spcAft>
                <a:spcPts val="0"/>
              </a:spcAft>
              <a:buSzPts val="13900"/>
              <a:buChar char="○"/>
              <a:defRPr sz="13900"/>
            </a:lvl5pPr>
            <a:lvl6pPr lvl="5" algn="ctr" rtl="0">
              <a:spcBef>
                <a:spcPts val="0"/>
              </a:spcBef>
              <a:spcAft>
                <a:spcPts val="0"/>
              </a:spcAft>
              <a:buSzPts val="13900"/>
              <a:buChar char="■"/>
              <a:defRPr sz="13900"/>
            </a:lvl6pPr>
            <a:lvl7pPr lvl="6" algn="ctr" rtl="0">
              <a:spcBef>
                <a:spcPts val="0"/>
              </a:spcBef>
              <a:spcAft>
                <a:spcPts val="0"/>
              </a:spcAft>
              <a:buSzPts val="13900"/>
              <a:buChar char="●"/>
              <a:defRPr sz="13900"/>
            </a:lvl7pPr>
            <a:lvl8pPr lvl="7" algn="ctr" rtl="0">
              <a:spcBef>
                <a:spcPts val="0"/>
              </a:spcBef>
              <a:spcAft>
                <a:spcPts val="0"/>
              </a:spcAft>
              <a:buSzPts val="13900"/>
              <a:buChar char="○"/>
              <a:defRPr sz="13900"/>
            </a:lvl8pPr>
            <a:lvl9pPr lvl="8" algn="ctr" rtl="0">
              <a:spcBef>
                <a:spcPts val="0"/>
              </a:spcBef>
              <a:spcAft>
                <a:spcPts val="0"/>
              </a:spcAft>
              <a:buSzPts val="13900"/>
              <a:buChar char="■"/>
              <a:defRPr sz="13900"/>
            </a:lvl9pPr>
          </a:lstStyle>
          <a:p>
            <a:endParaRPr/>
          </a:p>
        </p:txBody>
      </p:sp>
      <p:sp>
        <p:nvSpPr>
          <p:cNvPr id="790" name="Google Shape;790;p59"/>
          <p:cNvSpPr txBox="1">
            <a:spLocks noGrp="1"/>
          </p:cNvSpPr>
          <p:nvPr>
            <p:ph type="subTitle" idx="1"/>
          </p:nvPr>
        </p:nvSpPr>
        <p:spPr>
          <a:xfrm>
            <a:off x="830984" y="7557667"/>
            <a:ext cx="22715700" cy="2113500"/>
          </a:xfrm>
          <a:prstGeom prst="rect">
            <a:avLst/>
          </a:prstGeom>
          <a:noFill/>
          <a:ln>
            <a:noFill/>
          </a:ln>
        </p:spPr>
        <p:txBody>
          <a:bodyPr spcFirstLastPara="1" wrap="square" lIns="91425" tIns="91425" rIns="91425" bIns="91425" anchor="ctr" anchorCtr="0">
            <a:noAutofit/>
          </a:bodyPr>
          <a:lstStyle>
            <a:lvl1pPr lvl="0" algn="ctr" rtl="0">
              <a:lnSpc>
                <a:spcPct val="100000"/>
              </a:lnSpc>
              <a:spcBef>
                <a:spcPts val="0"/>
              </a:spcBef>
              <a:spcAft>
                <a:spcPts val="0"/>
              </a:spcAft>
              <a:buSzPts val="7500"/>
              <a:buNone/>
              <a:defRPr sz="7500"/>
            </a:lvl1pPr>
            <a:lvl2pPr lvl="1" algn="ctr" rtl="0">
              <a:lnSpc>
                <a:spcPct val="100000"/>
              </a:lnSpc>
              <a:spcBef>
                <a:spcPts val="0"/>
              </a:spcBef>
              <a:spcAft>
                <a:spcPts val="0"/>
              </a:spcAft>
              <a:buSzPts val="7500"/>
              <a:buNone/>
              <a:defRPr sz="7500"/>
            </a:lvl2pPr>
            <a:lvl3pPr lvl="2" algn="ctr" rtl="0">
              <a:lnSpc>
                <a:spcPct val="100000"/>
              </a:lnSpc>
              <a:spcBef>
                <a:spcPts val="0"/>
              </a:spcBef>
              <a:spcAft>
                <a:spcPts val="0"/>
              </a:spcAft>
              <a:buSzPts val="7500"/>
              <a:buNone/>
              <a:defRPr sz="7500"/>
            </a:lvl3pPr>
            <a:lvl4pPr lvl="3" algn="ctr" rtl="0">
              <a:lnSpc>
                <a:spcPct val="100000"/>
              </a:lnSpc>
              <a:spcBef>
                <a:spcPts val="0"/>
              </a:spcBef>
              <a:spcAft>
                <a:spcPts val="0"/>
              </a:spcAft>
              <a:buSzPts val="7500"/>
              <a:buNone/>
              <a:defRPr sz="7500"/>
            </a:lvl4pPr>
            <a:lvl5pPr lvl="4" algn="ctr" rtl="0">
              <a:lnSpc>
                <a:spcPct val="100000"/>
              </a:lnSpc>
              <a:spcBef>
                <a:spcPts val="0"/>
              </a:spcBef>
              <a:spcAft>
                <a:spcPts val="0"/>
              </a:spcAft>
              <a:buSzPts val="7500"/>
              <a:buNone/>
              <a:defRPr sz="7500"/>
            </a:lvl5pPr>
            <a:lvl6pPr lvl="5" algn="ctr" rtl="0">
              <a:lnSpc>
                <a:spcPct val="100000"/>
              </a:lnSpc>
              <a:spcBef>
                <a:spcPts val="0"/>
              </a:spcBef>
              <a:spcAft>
                <a:spcPts val="0"/>
              </a:spcAft>
              <a:buSzPts val="7500"/>
              <a:buNone/>
              <a:defRPr sz="7500"/>
            </a:lvl6pPr>
            <a:lvl7pPr lvl="6" algn="ctr" rtl="0">
              <a:lnSpc>
                <a:spcPct val="100000"/>
              </a:lnSpc>
              <a:spcBef>
                <a:spcPts val="0"/>
              </a:spcBef>
              <a:spcAft>
                <a:spcPts val="0"/>
              </a:spcAft>
              <a:buSzPts val="7500"/>
              <a:buNone/>
              <a:defRPr sz="7500"/>
            </a:lvl7pPr>
            <a:lvl8pPr lvl="7" algn="ctr" rtl="0">
              <a:lnSpc>
                <a:spcPct val="100000"/>
              </a:lnSpc>
              <a:spcBef>
                <a:spcPts val="0"/>
              </a:spcBef>
              <a:spcAft>
                <a:spcPts val="0"/>
              </a:spcAft>
              <a:buSzPts val="7500"/>
              <a:buNone/>
              <a:defRPr sz="7500"/>
            </a:lvl8pPr>
            <a:lvl9pPr lvl="8" algn="ctr" rtl="0">
              <a:lnSpc>
                <a:spcPct val="100000"/>
              </a:lnSpc>
              <a:spcBef>
                <a:spcPts val="0"/>
              </a:spcBef>
              <a:spcAft>
                <a:spcPts val="0"/>
              </a:spcAft>
              <a:buSzPts val="7500"/>
              <a:buNone/>
              <a:defRPr sz="7500"/>
            </a:lvl9pPr>
          </a:lstStyle>
          <a:p>
            <a:endParaRPr/>
          </a:p>
        </p:txBody>
      </p:sp>
      <p:sp>
        <p:nvSpPr>
          <p:cNvPr id="791" name="Google Shape;791;p59"/>
          <p:cNvSpPr txBox="1">
            <a:spLocks noGrp="1"/>
          </p:cNvSpPr>
          <p:nvPr>
            <p:ph type="sldNum" idx="12"/>
          </p:nvPr>
        </p:nvSpPr>
        <p:spPr>
          <a:xfrm>
            <a:off x="22587337" y="12435245"/>
            <a:ext cx="1462800" cy="1049700"/>
          </a:xfrm>
          <a:prstGeom prst="rect">
            <a:avLst/>
          </a:prstGeom>
        </p:spPr>
        <p:txBody>
          <a:bodyPr spcFirstLastPara="1" wrap="square" lIns="91425" tIns="45700" rIns="91425" bIns="4570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Six Bullet Points 1">
  <p:cSld name="Six Bullet Points 1">
    <p:bg>
      <p:bgPr>
        <a:solidFill>
          <a:srgbClr val="002A44"/>
        </a:solidFill>
        <a:effectLst/>
      </p:bgPr>
    </p:bg>
    <p:spTree>
      <p:nvGrpSpPr>
        <p:cNvPr id="1" name="Shape 792"/>
        <p:cNvGrpSpPr/>
        <p:nvPr/>
      </p:nvGrpSpPr>
      <p:grpSpPr>
        <a:xfrm>
          <a:off x="0" y="0"/>
          <a:ext cx="0" cy="0"/>
          <a:chOff x="0" y="0"/>
          <a:chExt cx="0" cy="0"/>
        </a:xfrm>
      </p:grpSpPr>
      <p:pic>
        <p:nvPicPr>
          <p:cNvPr id="793" name="Google Shape;793;p60"/>
          <p:cNvPicPr preferRelativeResize="0"/>
          <p:nvPr/>
        </p:nvPicPr>
        <p:blipFill rotWithShape="1">
          <a:blip r:embed="rId2">
            <a:alphaModFix/>
          </a:blip>
          <a:srcRect b="93557"/>
          <a:stretch/>
        </p:blipFill>
        <p:spPr>
          <a:xfrm>
            <a:off x="0" y="13111675"/>
            <a:ext cx="24377651" cy="604325"/>
          </a:xfrm>
          <a:prstGeom prst="rect">
            <a:avLst/>
          </a:prstGeom>
          <a:noFill/>
          <a:ln>
            <a:noFill/>
          </a:ln>
        </p:spPr>
      </p:pic>
      <p:sp>
        <p:nvSpPr>
          <p:cNvPr id="794" name="Google Shape;794;p60"/>
          <p:cNvSpPr/>
          <p:nvPr/>
        </p:nvSpPr>
        <p:spPr>
          <a:xfrm>
            <a:off x="22412037" y="536597"/>
            <a:ext cx="1515111" cy="1515111"/>
          </a:xfrm>
          <a:custGeom>
            <a:avLst/>
            <a:gdLst/>
            <a:ahLst/>
            <a:cxnLst/>
            <a:rect l="l" t="t" r="r" b="b"/>
            <a:pathLst>
              <a:path w="1137044" h="1137044" extrusionOk="0">
                <a:moveTo>
                  <a:pt x="0" y="0"/>
                </a:moveTo>
                <a:lnTo>
                  <a:pt x="1137044" y="0"/>
                </a:lnTo>
                <a:lnTo>
                  <a:pt x="1137044" y="1137044"/>
                </a:lnTo>
                <a:lnTo>
                  <a:pt x="0" y="1137044"/>
                </a:lnTo>
                <a:lnTo>
                  <a:pt x="0" y="0"/>
                </a:lnTo>
                <a:close/>
              </a:path>
            </a:pathLst>
          </a:custGeom>
          <a:blipFill rotWithShape="1">
            <a:blip r:embed="rId3">
              <a:alphaModFix/>
            </a:blip>
            <a:stretch>
              <a:fillRect/>
            </a:stretch>
          </a:blipFill>
          <a:ln>
            <a:noFill/>
          </a:ln>
        </p:spPr>
      </p:sp>
      <p:sp>
        <p:nvSpPr>
          <p:cNvPr id="795" name="Google Shape;795;p60"/>
          <p:cNvSpPr txBox="1">
            <a:spLocks noGrp="1"/>
          </p:cNvSpPr>
          <p:nvPr>
            <p:ph type="title"/>
          </p:nvPr>
        </p:nvSpPr>
        <p:spPr>
          <a:xfrm>
            <a:off x="1990350" y="2201850"/>
            <a:ext cx="19257600" cy="1370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7200"/>
              <a:buFont typeface="Montserrat Black"/>
              <a:buNone/>
              <a:defRPr sz="7200">
                <a:solidFill>
                  <a:schemeClr val="lt1"/>
                </a:solidFill>
                <a:latin typeface="Montserrat Black"/>
                <a:ea typeface="Montserrat Black"/>
                <a:cs typeface="Montserrat Black"/>
                <a:sym typeface="Montserrat Black"/>
              </a:defRPr>
            </a:lvl1pPr>
            <a:lvl2pPr lvl="1" rtl="0">
              <a:spcBef>
                <a:spcPts val="0"/>
              </a:spcBef>
              <a:spcAft>
                <a:spcPts val="0"/>
              </a:spcAft>
              <a:buClr>
                <a:schemeClr val="lt1"/>
              </a:buClr>
              <a:buSzPts val="7200"/>
              <a:buNone/>
              <a:defRPr sz="7200">
                <a:solidFill>
                  <a:schemeClr val="lt1"/>
                </a:solidFill>
              </a:defRPr>
            </a:lvl2pPr>
            <a:lvl3pPr lvl="2" rtl="0">
              <a:spcBef>
                <a:spcPts val="0"/>
              </a:spcBef>
              <a:spcAft>
                <a:spcPts val="0"/>
              </a:spcAft>
              <a:buClr>
                <a:schemeClr val="lt1"/>
              </a:buClr>
              <a:buSzPts val="7200"/>
              <a:buNone/>
              <a:defRPr sz="7200">
                <a:solidFill>
                  <a:schemeClr val="lt1"/>
                </a:solidFill>
              </a:defRPr>
            </a:lvl3pPr>
            <a:lvl4pPr lvl="3" rtl="0">
              <a:spcBef>
                <a:spcPts val="0"/>
              </a:spcBef>
              <a:spcAft>
                <a:spcPts val="0"/>
              </a:spcAft>
              <a:buClr>
                <a:schemeClr val="lt1"/>
              </a:buClr>
              <a:buSzPts val="7200"/>
              <a:buNone/>
              <a:defRPr sz="7200">
                <a:solidFill>
                  <a:schemeClr val="lt1"/>
                </a:solidFill>
              </a:defRPr>
            </a:lvl4pPr>
            <a:lvl5pPr lvl="4" rtl="0">
              <a:spcBef>
                <a:spcPts val="0"/>
              </a:spcBef>
              <a:spcAft>
                <a:spcPts val="0"/>
              </a:spcAft>
              <a:buClr>
                <a:schemeClr val="lt1"/>
              </a:buClr>
              <a:buSzPts val="7200"/>
              <a:buNone/>
              <a:defRPr sz="7200">
                <a:solidFill>
                  <a:schemeClr val="lt1"/>
                </a:solidFill>
              </a:defRPr>
            </a:lvl5pPr>
            <a:lvl6pPr lvl="5" rtl="0">
              <a:spcBef>
                <a:spcPts val="0"/>
              </a:spcBef>
              <a:spcAft>
                <a:spcPts val="0"/>
              </a:spcAft>
              <a:buClr>
                <a:schemeClr val="lt1"/>
              </a:buClr>
              <a:buSzPts val="7200"/>
              <a:buNone/>
              <a:defRPr sz="7200">
                <a:solidFill>
                  <a:schemeClr val="lt1"/>
                </a:solidFill>
              </a:defRPr>
            </a:lvl6pPr>
            <a:lvl7pPr lvl="6" rtl="0">
              <a:spcBef>
                <a:spcPts val="0"/>
              </a:spcBef>
              <a:spcAft>
                <a:spcPts val="0"/>
              </a:spcAft>
              <a:buClr>
                <a:schemeClr val="lt1"/>
              </a:buClr>
              <a:buSzPts val="7200"/>
              <a:buNone/>
              <a:defRPr sz="7200">
                <a:solidFill>
                  <a:schemeClr val="lt1"/>
                </a:solidFill>
              </a:defRPr>
            </a:lvl7pPr>
            <a:lvl8pPr lvl="7" rtl="0">
              <a:spcBef>
                <a:spcPts val="0"/>
              </a:spcBef>
              <a:spcAft>
                <a:spcPts val="0"/>
              </a:spcAft>
              <a:buClr>
                <a:schemeClr val="lt1"/>
              </a:buClr>
              <a:buSzPts val="7200"/>
              <a:buNone/>
              <a:defRPr sz="7200">
                <a:solidFill>
                  <a:schemeClr val="lt1"/>
                </a:solidFill>
              </a:defRPr>
            </a:lvl8pPr>
            <a:lvl9pPr lvl="8" rtl="0">
              <a:spcBef>
                <a:spcPts val="0"/>
              </a:spcBef>
              <a:spcAft>
                <a:spcPts val="0"/>
              </a:spcAft>
              <a:buClr>
                <a:schemeClr val="lt1"/>
              </a:buClr>
              <a:buSzPts val="7200"/>
              <a:buNone/>
              <a:defRPr sz="7200">
                <a:solidFill>
                  <a:schemeClr val="lt1"/>
                </a:solidFill>
              </a:defRPr>
            </a:lvl9pPr>
          </a:lstStyle>
          <a:p>
            <a:endParaRPr/>
          </a:p>
        </p:txBody>
      </p:sp>
      <p:sp>
        <p:nvSpPr>
          <p:cNvPr id="796" name="Google Shape;796;p60"/>
          <p:cNvSpPr txBox="1">
            <a:spLocks noGrp="1"/>
          </p:cNvSpPr>
          <p:nvPr>
            <p:ph type="subTitle" idx="1"/>
          </p:nvPr>
        </p:nvSpPr>
        <p:spPr>
          <a:xfrm>
            <a:off x="2050300" y="3798050"/>
            <a:ext cx="20078700" cy="16812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3600"/>
              <a:buFont typeface="Montserrat"/>
              <a:buNone/>
              <a:defRPr sz="3600">
                <a:solidFill>
                  <a:schemeClr val="lt1"/>
                </a:solidFill>
                <a:latin typeface="Montserrat"/>
                <a:ea typeface="Montserrat"/>
                <a:cs typeface="Montserrat"/>
                <a:sym typeface="Montserrat"/>
              </a:defRPr>
            </a:lvl1pPr>
            <a:lvl2pPr lvl="1" rtl="0">
              <a:spcBef>
                <a:spcPts val="0"/>
              </a:spcBef>
              <a:spcAft>
                <a:spcPts val="0"/>
              </a:spcAft>
              <a:buClr>
                <a:schemeClr val="lt1"/>
              </a:buClr>
              <a:buSzPts val="3600"/>
              <a:buNone/>
              <a:defRPr sz="3600">
                <a:solidFill>
                  <a:schemeClr val="lt1"/>
                </a:solidFill>
              </a:defRPr>
            </a:lvl2pPr>
            <a:lvl3pPr lvl="2" rtl="0">
              <a:spcBef>
                <a:spcPts val="0"/>
              </a:spcBef>
              <a:spcAft>
                <a:spcPts val="0"/>
              </a:spcAft>
              <a:buClr>
                <a:schemeClr val="lt1"/>
              </a:buClr>
              <a:buSzPts val="3600"/>
              <a:buNone/>
              <a:defRPr sz="3600">
                <a:solidFill>
                  <a:schemeClr val="lt1"/>
                </a:solidFill>
              </a:defRPr>
            </a:lvl3pPr>
            <a:lvl4pPr lvl="3" rtl="0">
              <a:spcBef>
                <a:spcPts val="0"/>
              </a:spcBef>
              <a:spcAft>
                <a:spcPts val="0"/>
              </a:spcAft>
              <a:buClr>
                <a:schemeClr val="lt1"/>
              </a:buClr>
              <a:buSzPts val="3600"/>
              <a:buNone/>
              <a:defRPr sz="3600">
                <a:solidFill>
                  <a:schemeClr val="lt1"/>
                </a:solidFill>
              </a:defRPr>
            </a:lvl4pPr>
            <a:lvl5pPr lvl="4" rtl="0">
              <a:spcBef>
                <a:spcPts val="0"/>
              </a:spcBef>
              <a:spcAft>
                <a:spcPts val="0"/>
              </a:spcAft>
              <a:buClr>
                <a:schemeClr val="lt1"/>
              </a:buClr>
              <a:buSzPts val="3600"/>
              <a:buNone/>
              <a:defRPr sz="3600">
                <a:solidFill>
                  <a:schemeClr val="lt1"/>
                </a:solidFill>
              </a:defRPr>
            </a:lvl5pPr>
            <a:lvl6pPr lvl="5" rtl="0">
              <a:spcBef>
                <a:spcPts val="0"/>
              </a:spcBef>
              <a:spcAft>
                <a:spcPts val="0"/>
              </a:spcAft>
              <a:buClr>
                <a:schemeClr val="lt1"/>
              </a:buClr>
              <a:buSzPts val="3600"/>
              <a:buNone/>
              <a:defRPr sz="3600">
                <a:solidFill>
                  <a:schemeClr val="lt1"/>
                </a:solidFill>
              </a:defRPr>
            </a:lvl6pPr>
            <a:lvl7pPr lvl="6" rtl="0">
              <a:spcBef>
                <a:spcPts val="0"/>
              </a:spcBef>
              <a:spcAft>
                <a:spcPts val="0"/>
              </a:spcAft>
              <a:buClr>
                <a:schemeClr val="lt1"/>
              </a:buClr>
              <a:buSzPts val="3600"/>
              <a:buNone/>
              <a:defRPr sz="3600">
                <a:solidFill>
                  <a:schemeClr val="lt1"/>
                </a:solidFill>
              </a:defRPr>
            </a:lvl7pPr>
            <a:lvl8pPr lvl="7" rtl="0">
              <a:spcBef>
                <a:spcPts val="0"/>
              </a:spcBef>
              <a:spcAft>
                <a:spcPts val="0"/>
              </a:spcAft>
              <a:buClr>
                <a:schemeClr val="lt1"/>
              </a:buClr>
              <a:buSzPts val="3600"/>
              <a:buNone/>
              <a:defRPr sz="3600">
                <a:solidFill>
                  <a:schemeClr val="lt1"/>
                </a:solidFill>
              </a:defRPr>
            </a:lvl8pPr>
            <a:lvl9pPr lvl="8" rtl="0">
              <a:spcBef>
                <a:spcPts val="0"/>
              </a:spcBef>
              <a:spcAft>
                <a:spcPts val="0"/>
              </a:spcAft>
              <a:buClr>
                <a:schemeClr val="lt1"/>
              </a:buClr>
              <a:buSzPts val="3600"/>
              <a:buNone/>
              <a:defRPr sz="3600">
                <a:solidFill>
                  <a:schemeClr val="lt1"/>
                </a:solidFill>
              </a:defRPr>
            </a:lvl9pPr>
          </a:lstStyle>
          <a:p>
            <a:endParaRPr/>
          </a:p>
        </p:txBody>
      </p:sp>
      <p:sp>
        <p:nvSpPr>
          <p:cNvPr id="797" name="Google Shape;797;p60"/>
          <p:cNvSpPr/>
          <p:nvPr/>
        </p:nvSpPr>
        <p:spPr>
          <a:xfrm>
            <a:off x="2167172" y="6117646"/>
            <a:ext cx="514200" cy="514200"/>
          </a:xfrm>
          <a:prstGeom prst="ellipse">
            <a:avLst/>
          </a:prstGeom>
          <a:solidFill>
            <a:srgbClr val="C1F4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98" name="Google Shape;798;p60"/>
          <p:cNvSpPr/>
          <p:nvPr/>
        </p:nvSpPr>
        <p:spPr>
          <a:xfrm>
            <a:off x="2167172" y="7905996"/>
            <a:ext cx="514200" cy="514200"/>
          </a:xfrm>
          <a:prstGeom prst="ellipse">
            <a:avLst/>
          </a:prstGeom>
          <a:solidFill>
            <a:srgbClr val="C1F4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99" name="Google Shape;799;p60"/>
          <p:cNvSpPr/>
          <p:nvPr/>
        </p:nvSpPr>
        <p:spPr>
          <a:xfrm>
            <a:off x="2167172" y="9812996"/>
            <a:ext cx="514200" cy="514200"/>
          </a:xfrm>
          <a:prstGeom prst="ellipse">
            <a:avLst/>
          </a:prstGeom>
          <a:solidFill>
            <a:srgbClr val="C1F4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00" name="Google Shape;800;p60"/>
          <p:cNvSpPr txBox="1">
            <a:spLocks noGrp="1"/>
          </p:cNvSpPr>
          <p:nvPr>
            <p:ph type="subTitle" idx="2"/>
          </p:nvPr>
        </p:nvSpPr>
        <p:spPr>
          <a:xfrm>
            <a:off x="3043649" y="6117650"/>
            <a:ext cx="9073800" cy="753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400"/>
              <a:buFont typeface="Montserrat SemiBold"/>
              <a:buNone/>
              <a:defRPr sz="2400">
                <a:solidFill>
                  <a:srgbClr val="C1F400"/>
                </a:solidFill>
                <a:latin typeface="Montserrat SemiBold"/>
                <a:ea typeface="Montserrat SemiBold"/>
                <a:cs typeface="Montserrat SemiBold"/>
                <a:sym typeface="Montserrat SemiBold"/>
              </a:defRPr>
            </a:lvl1pPr>
            <a:lvl2pPr lvl="1"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2pPr>
            <a:lvl3pPr lvl="2"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3pPr>
            <a:lvl4pPr lvl="3"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4pPr>
            <a:lvl5pPr lvl="4"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5pPr>
            <a:lvl6pPr lvl="5"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6pPr>
            <a:lvl7pPr lvl="6"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7pPr>
            <a:lvl8pPr lvl="7"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8pPr>
            <a:lvl9pPr lvl="8"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9pPr>
          </a:lstStyle>
          <a:p>
            <a:endParaRPr/>
          </a:p>
        </p:txBody>
      </p:sp>
      <p:sp>
        <p:nvSpPr>
          <p:cNvPr id="801" name="Google Shape;801;p60"/>
          <p:cNvSpPr txBox="1">
            <a:spLocks noGrp="1"/>
          </p:cNvSpPr>
          <p:nvPr>
            <p:ph type="subTitle" idx="3"/>
          </p:nvPr>
        </p:nvSpPr>
        <p:spPr>
          <a:xfrm>
            <a:off x="3043649" y="7906000"/>
            <a:ext cx="9073800" cy="753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400"/>
              <a:buFont typeface="Montserrat SemiBold"/>
              <a:buNone/>
              <a:defRPr sz="2400">
                <a:solidFill>
                  <a:srgbClr val="C1F400"/>
                </a:solidFill>
                <a:latin typeface="Montserrat SemiBold"/>
                <a:ea typeface="Montserrat SemiBold"/>
                <a:cs typeface="Montserrat SemiBold"/>
                <a:sym typeface="Montserrat SemiBold"/>
              </a:defRPr>
            </a:lvl1pPr>
            <a:lvl2pPr lvl="1"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2pPr>
            <a:lvl3pPr lvl="2"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3pPr>
            <a:lvl4pPr lvl="3"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4pPr>
            <a:lvl5pPr lvl="4"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5pPr>
            <a:lvl6pPr lvl="5"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6pPr>
            <a:lvl7pPr lvl="6"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7pPr>
            <a:lvl8pPr lvl="7"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8pPr>
            <a:lvl9pPr lvl="8"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9pPr>
          </a:lstStyle>
          <a:p>
            <a:endParaRPr/>
          </a:p>
        </p:txBody>
      </p:sp>
      <p:sp>
        <p:nvSpPr>
          <p:cNvPr id="802" name="Google Shape;802;p60"/>
          <p:cNvSpPr txBox="1">
            <a:spLocks noGrp="1"/>
          </p:cNvSpPr>
          <p:nvPr>
            <p:ph type="subTitle" idx="4"/>
          </p:nvPr>
        </p:nvSpPr>
        <p:spPr>
          <a:xfrm>
            <a:off x="3043649" y="9813000"/>
            <a:ext cx="9073800" cy="753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400"/>
              <a:buFont typeface="Montserrat SemiBold"/>
              <a:buNone/>
              <a:defRPr sz="2400">
                <a:solidFill>
                  <a:srgbClr val="C1F400"/>
                </a:solidFill>
                <a:latin typeface="Montserrat SemiBold"/>
                <a:ea typeface="Montserrat SemiBold"/>
                <a:cs typeface="Montserrat SemiBold"/>
                <a:sym typeface="Montserrat SemiBold"/>
              </a:defRPr>
            </a:lvl1pPr>
            <a:lvl2pPr lvl="1"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2pPr>
            <a:lvl3pPr lvl="2"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3pPr>
            <a:lvl4pPr lvl="3"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4pPr>
            <a:lvl5pPr lvl="4"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5pPr>
            <a:lvl6pPr lvl="5"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6pPr>
            <a:lvl7pPr lvl="6"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7pPr>
            <a:lvl8pPr lvl="7"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8pPr>
            <a:lvl9pPr lvl="8"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9pPr>
          </a:lstStyle>
          <a:p>
            <a:endParaRPr/>
          </a:p>
        </p:txBody>
      </p:sp>
      <p:sp>
        <p:nvSpPr>
          <p:cNvPr id="803" name="Google Shape;803;p60"/>
          <p:cNvSpPr/>
          <p:nvPr/>
        </p:nvSpPr>
        <p:spPr>
          <a:xfrm>
            <a:off x="12640247" y="6117646"/>
            <a:ext cx="514200" cy="514200"/>
          </a:xfrm>
          <a:prstGeom prst="ellipse">
            <a:avLst/>
          </a:prstGeom>
          <a:solidFill>
            <a:srgbClr val="C1F4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04" name="Google Shape;804;p60"/>
          <p:cNvSpPr/>
          <p:nvPr/>
        </p:nvSpPr>
        <p:spPr>
          <a:xfrm>
            <a:off x="12640247" y="7905996"/>
            <a:ext cx="514200" cy="514200"/>
          </a:xfrm>
          <a:prstGeom prst="ellipse">
            <a:avLst/>
          </a:prstGeom>
          <a:solidFill>
            <a:srgbClr val="C1F4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05" name="Google Shape;805;p60"/>
          <p:cNvSpPr/>
          <p:nvPr/>
        </p:nvSpPr>
        <p:spPr>
          <a:xfrm>
            <a:off x="12640247" y="9812996"/>
            <a:ext cx="514200" cy="514200"/>
          </a:xfrm>
          <a:prstGeom prst="ellipse">
            <a:avLst/>
          </a:prstGeom>
          <a:solidFill>
            <a:srgbClr val="C1F4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06" name="Google Shape;806;p60"/>
          <p:cNvSpPr txBox="1">
            <a:spLocks noGrp="1"/>
          </p:cNvSpPr>
          <p:nvPr>
            <p:ph type="subTitle" idx="5"/>
          </p:nvPr>
        </p:nvSpPr>
        <p:spPr>
          <a:xfrm>
            <a:off x="13516724" y="6117650"/>
            <a:ext cx="9073800" cy="753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400"/>
              <a:buFont typeface="Montserrat SemiBold"/>
              <a:buNone/>
              <a:defRPr sz="2400">
                <a:solidFill>
                  <a:srgbClr val="C1F400"/>
                </a:solidFill>
                <a:latin typeface="Montserrat SemiBold"/>
                <a:ea typeface="Montserrat SemiBold"/>
                <a:cs typeface="Montserrat SemiBold"/>
                <a:sym typeface="Montserrat SemiBold"/>
              </a:defRPr>
            </a:lvl1pPr>
            <a:lvl2pPr lvl="1"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2pPr>
            <a:lvl3pPr lvl="2"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3pPr>
            <a:lvl4pPr lvl="3"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4pPr>
            <a:lvl5pPr lvl="4"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5pPr>
            <a:lvl6pPr lvl="5"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6pPr>
            <a:lvl7pPr lvl="6"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7pPr>
            <a:lvl8pPr lvl="7"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8pPr>
            <a:lvl9pPr lvl="8"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9pPr>
          </a:lstStyle>
          <a:p>
            <a:endParaRPr/>
          </a:p>
        </p:txBody>
      </p:sp>
      <p:sp>
        <p:nvSpPr>
          <p:cNvPr id="807" name="Google Shape;807;p60"/>
          <p:cNvSpPr txBox="1">
            <a:spLocks noGrp="1"/>
          </p:cNvSpPr>
          <p:nvPr>
            <p:ph type="subTitle" idx="6"/>
          </p:nvPr>
        </p:nvSpPr>
        <p:spPr>
          <a:xfrm>
            <a:off x="13516724" y="7906000"/>
            <a:ext cx="9073800" cy="753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400"/>
              <a:buFont typeface="Montserrat SemiBold"/>
              <a:buNone/>
              <a:defRPr sz="2400">
                <a:solidFill>
                  <a:srgbClr val="C1F400"/>
                </a:solidFill>
                <a:latin typeface="Montserrat SemiBold"/>
                <a:ea typeface="Montserrat SemiBold"/>
                <a:cs typeface="Montserrat SemiBold"/>
                <a:sym typeface="Montserrat SemiBold"/>
              </a:defRPr>
            </a:lvl1pPr>
            <a:lvl2pPr lvl="1"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2pPr>
            <a:lvl3pPr lvl="2"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3pPr>
            <a:lvl4pPr lvl="3"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4pPr>
            <a:lvl5pPr lvl="4"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5pPr>
            <a:lvl6pPr lvl="5"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6pPr>
            <a:lvl7pPr lvl="6"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7pPr>
            <a:lvl8pPr lvl="7"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8pPr>
            <a:lvl9pPr lvl="8"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9pPr>
          </a:lstStyle>
          <a:p>
            <a:endParaRPr/>
          </a:p>
        </p:txBody>
      </p:sp>
      <p:sp>
        <p:nvSpPr>
          <p:cNvPr id="808" name="Google Shape;808;p60"/>
          <p:cNvSpPr txBox="1">
            <a:spLocks noGrp="1"/>
          </p:cNvSpPr>
          <p:nvPr>
            <p:ph type="subTitle" idx="7"/>
          </p:nvPr>
        </p:nvSpPr>
        <p:spPr>
          <a:xfrm>
            <a:off x="13516724" y="9813000"/>
            <a:ext cx="9073800" cy="7533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400"/>
              <a:buFont typeface="Montserrat SemiBold"/>
              <a:buNone/>
              <a:defRPr sz="2400">
                <a:solidFill>
                  <a:srgbClr val="C1F400"/>
                </a:solidFill>
                <a:latin typeface="Montserrat SemiBold"/>
                <a:ea typeface="Montserrat SemiBold"/>
                <a:cs typeface="Montserrat SemiBold"/>
                <a:sym typeface="Montserrat SemiBold"/>
              </a:defRPr>
            </a:lvl1pPr>
            <a:lvl2pPr lvl="1"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2pPr>
            <a:lvl3pPr lvl="2"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3pPr>
            <a:lvl4pPr lvl="3"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4pPr>
            <a:lvl5pPr lvl="4"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5pPr>
            <a:lvl6pPr lvl="5"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6pPr>
            <a:lvl7pPr lvl="6"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7pPr>
            <a:lvl8pPr lvl="7"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8pPr>
            <a:lvl9pPr lvl="8" rtl="0">
              <a:spcBef>
                <a:spcPts val="0"/>
              </a:spcBef>
              <a:spcAft>
                <a:spcPts val="0"/>
              </a:spcAft>
              <a:buClr>
                <a:srgbClr val="C1F400"/>
              </a:buClr>
              <a:buSzPts val="2500"/>
              <a:buFont typeface="Montserrat SemiBold"/>
              <a:buNone/>
              <a:defRPr sz="2500">
                <a:solidFill>
                  <a:srgbClr val="C1F400"/>
                </a:solidFill>
                <a:latin typeface="Montserrat SemiBold"/>
                <a:ea typeface="Montserrat SemiBold"/>
                <a:cs typeface="Montserrat SemiBold"/>
                <a:sym typeface="Montserrat SemiBold"/>
              </a:defRPr>
            </a:lvl9pPr>
          </a:lstStyle>
          <a:p>
            <a:endParaRPr/>
          </a:p>
        </p:txBody>
      </p:sp>
      <p:pic>
        <p:nvPicPr>
          <p:cNvPr id="809" name="Google Shape;809;p60"/>
          <p:cNvPicPr preferRelativeResize="0"/>
          <p:nvPr/>
        </p:nvPicPr>
        <p:blipFill rotWithShape="1">
          <a:blip r:embed="rId2">
            <a:alphaModFix/>
          </a:blip>
          <a:srcRect t="83846"/>
          <a:stretch/>
        </p:blipFill>
        <p:spPr>
          <a:xfrm>
            <a:off x="-2992950" y="-451525"/>
            <a:ext cx="24377651" cy="1515099"/>
          </a:xfrm>
          <a:prstGeom prst="rect">
            <a:avLst/>
          </a:prstGeom>
          <a:noFill/>
          <a:ln>
            <a:noFill/>
          </a:ln>
        </p:spPr>
      </p:pic>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810"/>
        <p:cNvGrpSpPr/>
        <p:nvPr/>
      </p:nvGrpSpPr>
      <p:grpSpPr>
        <a:xfrm>
          <a:off x="0" y="0"/>
          <a:ext cx="0" cy="0"/>
          <a:chOff x="0" y="0"/>
          <a:chExt cx="0" cy="0"/>
        </a:xfrm>
      </p:grpSpPr>
      <p:sp>
        <p:nvSpPr>
          <p:cNvPr id="811" name="Google Shape;811;p61"/>
          <p:cNvSpPr txBox="1">
            <a:spLocks noGrp="1"/>
          </p:cNvSpPr>
          <p:nvPr>
            <p:ph type="dt" idx="10"/>
          </p:nvPr>
        </p:nvSpPr>
        <p:spPr>
          <a:xfrm>
            <a:off x="1218882" y="12712704"/>
            <a:ext cx="5688000" cy="730500"/>
          </a:xfrm>
          <a:prstGeom prst="rect">
            <a:avLst/>
          </a:prstGeom>
          <a:noFill/>
          <a:ln>
            <a:noFill/>
          </a:ln>
        </p:spPr>
        <p:txBody>
          <a:bodyPr spcFirstLastPara="1" wrap="square" lIns="243750" tIns="121850" rIns="243750" bIns="12185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812" name="Google Shape;812;p61"/>
          <p:cNvSpPr txBox="1">
            <a:spLocks noGrp="1"/>
          </p:cNvSpPr>
          <p:nvPr>
            <p:ph type="ftr" idx="11"/>
          </p:nvPr>
        </p:nvSpPr>
        <p:spPr>
          <a:xfrm>
            <a:off x="8329030" y="12712704"/>
            <a:ext cx="7719600" cy="730500"/>
          </a:xfrm>
          <a:prstGeom prst="rect">
            <a:avLst/>
          </a:prstGeom>
          <a:noFill/>
          <a:ln>
            <a:noFill/>
          </a:ln>
        </p:spPr>
        <p:txBody>
          <a:bodyPr spcFirstLastPara="1" wrap="square" lIns="243750" tIns="121850" rIns="243750" bIns="12185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813" name="Google Shape;813;p61"/>
          <p:cNvSpPr txBox="1">
            <a:spLocks noGrp="1"/>
          </p:cNvSpPr>
          <p:nvPr>
            <p:ph type="sldNum" idx="12"/>
          </p:nvPr>
        </p:nvSpPr>
        <p:spPr>
          <a:xfrm>
            <a:off x="17470649" y="12712704"/>
            <a:ext cx="5688000" cy="730500"/>
          </a:xfrm>
          <a:prstGeom prst="rect">
            <a:avLst/>
          </a:prstGeom>
          <a:noFill/>
          <a:ln>
            <a:noFill/>
          </a:ln>
        </p:spPr>
        <p:txBody>
          <a:bodyPr spcFirstLastPara="1" wrap="square" lIns="243750" tIns="121850" rIns="243750" bIns="12185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814" name="Google Shape;814;p61"/>
          <p:cNvSpPr txBox="1">
            <a:spLocks noGrp="1"/>
          </p:cNvSpPr>
          <p:nvPr>
            <p:ph type="title"/>
          </p:nvPr>
        </p:nvSpPr>
        <p:spPr>
          <a:xfrm>
            <a:off x="811181" y="6831584"/>
            <a:ext cx="12736800" cy="2211900"/>
          </a:xfrm>
          <a:prstGeom prst="rect">
            <a:avLst/>
          </a:prstGeom>
          <a:noFill/>
          <a:ln>
            <a:noFill/>
          </a:ln>
        </p:spPr>
        <p:txBody>
          <a:bodyPr spcFirstLastPara="1" wrap="square" lIns="487575" tIns="487575" rIns="487575" bIns="121850" anchor="t" anchorCtr="0">
            <a:normAutofit/>
          </a:bodyPr>
          <a:lstStyle>
            <a:lvl1pPr lvl="0" algn="l" rtl="0">
              <a:spcBef>
                <a:spcPts val="0"/>
              </a:spcBef>
              <a:spcAft>
                <a:spcPts val="0"/>
              </a:spcAft>
              <a:buClr>
                <a:schemeClr val="dk1"/>
              </a:buClr>
              <a:buSzPts val="8500"/>
              <a:buFont typeface="Helvetica Neue"/>
              <a:buChar char="●"/>
              <a:defRPr sz="8500">
                <a:solidFill>
                  <a:schemeClr val="dk1"/>
                </a:solidFill>
              </a:defRPr>
            </a:lvl1pPr>
            <a:lvl2pPr lvl="1" rtl="0">
              <a:spcBef>
                <a:spcPts val="0"/>
              </a:spcBef>
              <a:spcAft>
                <a:spcPts val="0"/>
              </a:spcAft>
              <a:buSzPts val="3700"/>
              <a:buNone/>
              <a:defRPr sz="3700"/>
            </a:lvl2pPr>
            <a:lvl3pPr lvl="2" rtl="0">
              <a:spcBef>
                <a:spcPts val="0"/>
              </a:spcBef>
              <a:spcAft>
                <a:spcPts val="0"/>
              </a:spcAft>
              <a:buSzPts val="3700"/>
              <a:buNone/>
              <a:defRPr sz="3700"/>
            </a:lvl3pPr>
            <a:lvl4pPr lvl="3" rtl="0">
              <a:spcBef>
                <a:spcPts val="0"/>
              </a:spcBef>
              <a:spcAft>
                <a:spcPts val="0"/>
              </a:spcAft>
              <a:buSzPts val="3700"/>
              <a:buNone/>
              <a:defRPr sz="3700"/>
            </a:lvl4pPr>
            <a:lvl5pPr lvl="4" rtl="0">
              <a:spcBef>
                <a:spcPts val="0"/>
              </a:spcBef>
              <a:spcAft>
                <a:spcPts val="0"/>
              </a:spcAft>
              <a:buSzPts val="3700"/>
              <a:buNone/>
              <a:defRPr sz="3700"/>
            </a:lvl5pPr>
            <a:lvl6pPr lvl="5" rtl="0">
              <a:spcBef>
                <a:spcPts val="0"/>
              </a:spcBef>
              <a:spcAft>
                <a:spcPts val="0"/>
              </a:spcAft>
              <a:buSzPts val="3700"/>
              <a:buNone/>
              <a:defRPr sz="3700"/>
            </a:lvl6pPr>
            <a:lvl7pPr lvl="6" rtl="0">
              <a:spcBef>
                <a:spcPts val="0"/>
              </a:spcBef>
              <a:spcAft>
                <a:spcPts val="0"/>
              </a:spcAft>
              <a:buSzPts val="3700"/>
              <a:buNone/>
              <a:defRPr sz="3700"/>
            </a:lvl7pPr>
            <a:lvl8pPr lvl="7" rtl="0">
              <a:spcBef>
                <a:spcPts val="0"/>
              </a:spcBef>
              <a:spcAft>
                <a:spcPts val="0"/>
              </a:spcAft>
              <a:buSzPts val="3700"/>
              <a:buNone/>
              <a:defRPr sz="3700"/>
            </a:lvl8pPr>
            <a:lvl9pPr lvl="8" rtl="0">
              <a:spcBef>
                <a:spcPts val="0"/>
              </a:spcBef>
              <a:spcAft>
                <a:spcPts val="0"/>
              </a:spcAft>
              <a:buSzPts val="3700"/>
              <a:buNone/>
              <a:defRPr sz="3700"/>
            </a:lvl9pPr>
          </a:lstStyle>
          <a:p>
            <a:endParaRPr/>
          </a:p>
        </p:txBody>
      </p:sp>
      <p:pic>
        <p:nvPicPr>
          <p:cNvPr id="815" name="Google Shape;815;p61"/>
          <p:cNvPicPr preferRelativeResize="0"/>
          <p:nvPr/>
        </p:nvPicPr>
        <p:blipFill rotWithShape="1">
          <a:blip r:embed="rId2">
            <a:alphaModFix/>
          </a:blip>
          <a:srcRect/>
          <a:stretch/>
        </p:blipFill>
        <p:spPr>
          <a:xfrm>
            <a:off x="933402" y="1574800"/>
            <a:ext cx="2650577" cy="2664905"/>
          </a:xfrm>
          <a:prstGeom prst="rect">
            <a:avLst/>
          </a:prstGeom>
          <a:noFill/>
          <a:ln>
            <a:noFill/>
          </a:ln>
        </p:spPr>
      </p:pic>
      <p:sp>
        <p:nvSpPr>
          <p:cNvPr id="816" name="Google Shape;816;p61"/>
          <p:cNvSpPr/>
          <p:nvPr/>
        </p:nvSpPr>
        <p:spPr>
          <a:xfrm>
            <a:off x="0" y="0"/>
            <a:ext cx="24377700" cy="444900"/>
          </a:xfrm>
          <a:prstGeom prst="rect">
            <a:avLst/>
          </a:prstGeom>
          <a:solidFill>
            <a:srgbClr val="B31B1B"/>
          </a:solidFill>
          <a:ln>
            <a:noFill/>
          </a:ln>
        </p:spPr>
        <p:txBody>
          <a:bodyPr spcFirstLastPara="1" wrap="square" lIns="243750" tIns="121850" rIns="243750" bIns="121850" anchor="ctr" anchorCtr="0">
            <a:noAutofit/>
          </a:bodyPr>
          <a:lstStyle/>
          <a:p>
            <a:pPr marL="0" marR="0" lvl="0" indent="0" algn="ctr" rtl="0">
              <a:spcBef>
                <a:spcPts val="0"/>
              </a:spcBef>
              <a:spcAft>
                <a:spcPts val="0"/>
              </a:spcAft>
              <a:buNone/>
            </a:pPr>
            <a:endParaRPr sz="4800" b="0" i="0" u="none" strike="noStrike" cap="none">
              <a:solidFill>
                <a:schemeClr val="lt1"/>
              </a:solidFill>
              <a:latin typeface="Times"/>
              <a:ea typeface="Times"/>
              <a:cs typeface="Times"/>
              <a:sym typeface="Times"/>
            </a:endParaRPr>
          </a:p>
        </p:txBody>
      </p:sp>
      <p:sp>
        <p:nvSpPr>
          <p:cNvPr id="817" name="Google Shape;817;p61"/>
          <p:cNvSpPr txBox="1">
            <a:spLocks noGrp="1"/>
          </p:cNvSpPr>
          <p:nvPr>
            <p:ph type="body" idx="1"/>
          </p:nvPr>
        </p:nvSpPr>
        <p:spPr>
          <a:xfrm>
            <a:off x="812588" y="9296400"/>
            <a:ext cx="12735000" cy="2031900"/>
          </a:xfrm>
          <a:prstGeom prst="rect">
            <a:avLst/>
          </a:prstGeom>
          <a:noFill/>
          <a:ln>
            <a:noFill/>
          </a:ln>
        </p:spPr>
        <p:txBody>
          <a:bodyPr spcFirstLastPara="1" wrap="square" lIns="487575" tIns="0" rIns="487575" bIns="0" anchor="t" anchorCtr="0">
            <a:noAutofit/>
          </a:bodyPr>
          <a:lstStyle>
            <a:lvl1pPr marL="457200" lvl="0" indent="-228600" algn="l" rtl="0">
              <a:spcBef>
                <a:spcPts val="1000"/>
              </a:spcBef>
              <a:spcAft>
                <a:spcPts val="0"/>
              </a:spcAft>
              <a:buClr>
                <a:schemeClr val="dk1"/>
              </a:buClr>
              <a:buSzPts val="4800"/>
              <a:buNone/>
              <a:defRPr sz="4800">
                <a:solidFill>
                  <a:schemeClr val="dk1"/>
                </a:solidFill>
              </a:defRPr>
            </a:lvl1pPr>
            <a:lvl2pPr marL="914400" lvl="1" indent="-533400" algn="l" rtl="0">
              <a:spcBef>
                <a:spcPts val="1000"/>
              </a:spcBef>
              <a:spcAft>
                <a:spcPts val="0"/>
              </a:spcAft>
              <a:buClr>
                <a:schemeClr val="accent2"/>
              </a:buClr>
              <a:buSzPts val="4800"/>
              <a:buChar char="○"/>
              <a:defRPr sz="3700"/>
            </a:lvl2pPr>
            <a:lvl3pPr marL="1371600" lvl="2" indent="-533400" algn="l" rtl="0">
              <a:spcBef>
                <a:spcPts val="1000"/>
              </a:spcBef>
              <a:spcAft>
                <a:spcPts val="0"/>
              </a:spcAft>
              <a:buClr>
                <a:schemeClr val="accent2"/>
              </a:buClr>
              <a:buSzPts val="4800"/>
              <a:buChar char="■"/>
              <a:defRPr sz="3700"/>
            </a:lvl3pPr>
            <a:lvl4pPr marL="1828800" lvl="3" indent="-533400" algn="l" rtl="0">
              <a:spcBef>
                <a:spcPts val="1000"/>
              </a:spcBef>
              <a:spcAft>
                <a:spcPts val="0"/>
              </a:spcAft>
              <a:buClr>
                <a:schemeClr val="accent2"/>
              </a:buClr>
              <a:buSzPts val="4800"/>
              <a:buChar char="●"/>
              <a:defRPr sz="3700"/>
            </a:lvl4pPr>
            <a:lvl5pPr marL="2286000" lvl="4" indent="-533400" algn="l" rtl="0">
              <a:spcBef>
                <a:spcPts val="1000"/>
              </a:spcBef>
              <a:spcAft>
                <a:spcPts val="0"/>
              </a:spcAft>
              <a:buClr>
                <a:schemeClr val="accent2"/>
              </a:buClr>
              <a:buSzPts val="4800"/>
              <a:buChar char="○"/>
              <a:defRPr sz="3700"/>
            </a:lvl5pPr>
            <a:lvl6pPr marL="2743200" lvl="5" indent="-533400" algn="l" rtl="0">
              <a:spcBef>
                <a:spcPts val="1000"/>
              </a:spcBef>
              <a:spcAft>
                <a:spcPts val="0"/>
              </a:spcAft>
              <a:buClr>
                <a:schemeClr val="dk1"/>
              </a:buClr>
              <a:buSzPts val="4800"/>
              <a:buChar char="■"/>
              <a:defRPr sz="3700"/>
            </a:lvl6pPr>
            <a:lvl7pPr marL="3200400" lvl="6" indent="-533400" algn="l" rtl="0">
              <a:spcBef>
                <a:spcPts val="1000"/>
              </a:spcBef>
              <a:spcAft>
                <a:spcPts val="0"/>
              </a:spcAft>
              <a:buClr>
                <a:schemeClr val="dk1"/>
              </a:buClr>
              <a:buSzPts val="4800"/>
              <a:buChar char="●"/>
              <a:defRPr sz="3700"/>
            </a:lvl7pPr>
            <a:lvl8pPr marL="3657600" lvl="7" indent="-533400" algn="l" rtl="0">
              <a:spcBef>
                <a:spcPts val="1000"/>
              </a:spcBef>
              <a:spcAft>
                <a:spcPts val="0"/>
              </a:spcAft>
              <a:buClr>
                <a:schemeClr val="dk1"/>
              </a:buClr>
              <a:buSzPts val="4800"/>
              <a:buChar char="○"/>
              <a:defRPr sz="3700"/>
            </a:lvl8pPr>
            <a:lvl9pPr marL="4114800" lvl="8" indent="-533400" algn="l" rtl="0">
              <a:spcBef>
                <a:spcPts val="1000"/>
              </a:spcBef>
              <a:spcAft>
                <a:spcPts val="0"/>
              </a:spcAft>
              <a:buClr>
                <a:schemeClr val="dk1"/>
              </a:buClr>
              <a:buSzPts val="4800"/>
              <a:buChar char="■"/>
              <a:defRPr sz="3700"/>
            </a:lvl9pPr>
          </a:lstStyle>
          <a:p>
            <a:endParaRP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Small Logo Grid 1">
  <p:cSld name="Small Logo Grid 1">
    <p:spTree>
      <p:nvGrpSpPr>
        <p:cNvPr id="1" name="Shape 818"/>
        <p:cNvGrpSpPr/>
        <p:nvPr/>
      </p:nvGrpSpPr>
      <p:grpSpPr>
        <a:xfrm>
          <a:off x="0" y="0"/>
          <a:ext cx="0" cy="0"/>
          <a:chOff x="0" y="0"/>
          <a:chExt cx="0" cy="0"/>
        </a:xfrm>
      </p:grpSpPr>
      <p:pic>
        <p:nvPicPr>
          <p:cNvPr id="819" name="Google Shape;819;p62"/>
          <p:cNvPicPr preferRelativeResize="0"/>
          <p:nvPr/>
        </p:nvPicPr>
        <p:blipFill rotWithShape="1">
          <a:blip r:embed="rId2">
            <a:alphaModFix/>
          </a:blip>
          <a:srcRect/>
          <a:stretch/>
        </p:blipFill>
        <p:spPr>
          <a:xfrm>
            <a:off x="0" y="-2678850"/>
            <a:ext cx="24377651" cy="9379682"/>
          </a:xfrm>
          <a:prstGeom prst="rect">
            <a:avLst/>
          </a:prstGeom>
          <a:noFill/>
          <a:ln>
            <a:noFill/>
          </a:ln>
        </p:spPr>
      </p:pic>
      <p:sp>
        <p:nvSpPr>
          <p:cNvPr id="820" name="Google Shape;820;p62"/>
          <p:cNvSpPr>
            <a:spLocks noGrp="1"/>
          </p:cNvSpPr>
          <p:nvPr>
            <p:ph type="pic" idx="2"/>
          </p:nvPr>
        </p:nvSpPr>
        <p:spPr>
          <a:xfrm>
            <a:off x="8271875" y="7099525"/>
            <a:ext cx="3522300" cy="1201200"/>
          </a:xfrm>
          <a:prstGeom prst="rect">
            <a:avLst/>
          </a:prstGeom>
          <a:noFill/>
          <a:ln>
            <a:noFill/>
          </a:ln>
        </p:spPr>
      </p:sp>
      <p:sp>
        <p:nvSpPr>
          <p:cNvPr id="821" name="Google Shape;821;p62"/>
          <p:cNvSpPr>
            <a:spLocks noGrp="1"/>
          </p:cNvSpPr>
          <p:nvPr>
            <p:ph type="pic" idx="3"/>
          </p:nvPr>
        </p:nvSpPr>
        <p:spPr>
          <a:xfrm>
            <a:off x="8271875" y="8540674"/>
            <a:ext cx="3522300" cy="1201200"/>
          </a:xfrm>
          <a:prstGeom prst="rect">
            <a:avLst/>
          </a:prstGeom>
          <a:noFill/>
          <a:ln>
            <a:noFill/>
          </a:ln>
        </p:spPr>
      </p:sp>
      <p:sp>
        <p:nvSpPr>
          <p:cNvPr id="822" name="Google Shape;822;p62"/>
          <p:cNvSpPr>
            <a:spLocks noGrp="1"/>
          </p:cNvSpPr>
          <p:nvPr>
            <p:ph type="pic" idx="4"/>
          </p:nvPr>
        </p:nvSpPr>
        <p:spPr>
          <a:xfrm>
            <a:off x="8271875" y="9981824"/>
            <a:ext cx="3522300" cy="1201200"/>
          </a:xfrm>
          <a:prstGeom prst="rect">
            <a:avLst/>
          </a:prstGeom>
          <a:noFill/>
          <a:ln>
            <a:noFill/>
          </a:ln>
        </p:spPr>
      </p:sp>
      <p:sp>
        <p:nvSpPr>
          <p:cNvPr id="823" name="Google Shape;823;p62"/>
          <p:cNvSpPr>
            <a:spLocks noGrp="1"/>
          </p:cNvSpPr>
          <p:nvPr>
            <p:ph type="pic" idx="5"/>
          </p:nvPr>
        </p:nvSpPr>
        <p:spPr>
          <a:xfrm>
            <a:off x="11987655" y="7099525"/>
            <a:ext cx="3522300" cy="1201200"/>
          </a:xfrm>
          <a:prstGeom prst="rect">
            <a:avLst/>
          </a:prstGeom>
          <a:noFill/>
          <a:ln>
            <a:noFill/>
          </a:ln>
        </p:spPr>
      </p:sp>
      <p:sp>
        <p:nvSpPr>
          <p:cNvPr id="824" name="Google Shape;824;p62"/>
          <p:cNvSpPr>
            <a:spLocks noGrp="1"/>
          </p:cNvSpPr>
          <p:nvPr>
            <p:ph type="pic" idx="6"/>
          </p:nvPr>
        </p:nvSpPr>
        <p:spPr>
          <a:xfrm>
            <a:off x="11987655" y="8540674"/>
            <a:ext cx="3522300" cy="1201200"/>
          </a:xfrm>
          <a:prstGeom prst="rect">
            <a:avLst/>
          </a:prstGeom>
          <a:noFill/>
          <a:ln>
            <a:noFill/>
          </a:ln>
        </p:spPr>
      </p:sp>
      <p:sp>
        <p:nvSpPr>
          <p:cNvPr id="825" name="Google Shape;825;p62"/>
          <p:cNvSpPr>
            <a:spLocks noGrp="1"/>
          </p:cNvSpPr>
          <p:nvPr>
            <p:ph type="pic" idx="7"/>
          </p:nvPr>
        </p:nvSpPr>
        <p:spPr>
          <a:xfrm>
            <a:off x="11987655" y="9981824"/>
            <a:ext cx="3522300" cy="1201200"/>
          </a:xfrm>
          <a:prstGeom prst="rect">
            <a:avLst/>
          </a:prstGeom>
          <a:noFill/>
          <a:ln>
            <a:noFill/>
          </a:ln>
        </p:spPr>
      </p:sp>
      <p:sp>
        <p:nvSpPr>
          <p:cNvPr id="826" name="Google Shape;826;p62"/>
          <p:cNvSpPr>
            <a:spLocks noGrp="1"/>
          </p:cNvSpPr>
          <p:nvPr>
            <p:ph type="pic" idx="8"/>
          </p:nvPr>
        </p:nvSpPr>
        <p:spPr>
          <a:xfrm>
            <a:off x="15703436" y="7099525"/>
            <a:ext cx="3522300" cy="1201200"/>
          </a:xfrm>
          <a:prstGeom prst="rect">
            <a:avLst/>
          </a:prstGeom>
          <a:noFill/>
          <a:ln>
            <a:noFill/>
          </a:ln>
        </p:spPr>
      </p:sp>
      <p:sp>
        <p:nvSpPr>
          <p:cNvPr id="827" name="Google Shape;827;p62"/>
          <p:cNvSpPr>
            <a:spLocks noGrp="1"/>
          </p:cNvSpPr>
          <p:nvPr>
            <p:ph type="pic" idx="9"/>
          </p:nvPr>
        </p:nvSpPr>
        <p:spPr>
          <a:xfrm>
            <a:off x="15703436" y="8540674"/>
            <a:ext cx="3522300" cy="1201200"/>
          </a:xfrm>
          <a:prstGeom prst="rect">
            <a:avLst/>
          </a:prstGeom>
          <a:noFill/>
          <a:ln>
            <a:noFill/>
          </a:ln>
        </p:spPr>
      </p:sp>
      <p:sp>
        <p:nvSpPr>
          <p:cNvPr id="828" name="Google Shape;828;p62"/>
          <p:cNvSpPr>
            <a:spLocks noGrp="1"/>
          </p:cNvSpPr>
          <p:nvPr>
            <p:ph type="pic" idx="13"/>
          </p:nvPr>
        </p:nvSpPr>
        <p:spPr>
          <a:xfrm>
            <a:off x="15703436" y="9981824"/>
            <a:ext cx="3522300" cy="1201200"/>
          </a:xfrm>
          <a:prstGeom prst="rect">
            <a:avLst/>
          </a:prstGeom>
          <a:noFill/>
          <a:ln>
            <a:noFill/>
          </a:ln>
        </p:spPr>
      </p:sp>
      <p:sp>
        <p:nvSpPr>
          <p:cNvPr id="829" name="Google Shape;829;p62"/>
          <p:cNvSpPr>
            <a:spLocks noGrp="1"/>
          </p:cNvSpPr>
          <p:nvPr>
            <p:ph type="pic" idx="14"/>
          </p:nvPr>
        </p:nvSpPr>
        <p:spPr>
          <a:xfrm>
            <a:off x="8271875" y="11422973"/>
            <a:ext cx="3522300" cy="1201200"/>
          </a:xfrm>
          <a:prstGeom prst="rect">
            <a:avLst/>
          </a:prstGeom>
          <a:noFill/>
          <a:ln>
            <a:noFill/>
          </a:ln>
        </p:spPr>
      </p:sp>
      <p:sp>
        <p:nvSpPr>
          <p:cNvPr id="830" name="Google Shape;830;p62"/>
          <p:cNvSpPr>
            <a:spLocks noGrp="1"/>
          </p:cNvSpPr>
          <p:nvPr>
            <p:ph type="pic" idx="15"/>
          </p:nvPr>
        </p:nvSpPr>
        <p:spPr>
          <a:xfrm>
            <a:off x="11987655" y="11422973"/>
            <a:ext cx="3522300" cy="1201200"/>
          </a:xfrm>
          <a:prstGeom prst="rect">
            <a:avLst/>
          </a:prstGeom>
          <a:noFill/>
          <a:ln>
            <a:noFill/>
          </a:ln>
        </p:spPr>
      </p:sp>
      <p:sp>
        <p:nvSpPr>
          <p:cNvPr id="831" name="Google Shape;831;p62"/>
          <p:cNvSpPr>
            <a:spLocks noGrp="1"/>
          </p:cNvSpPr>
          <p:nvPr>
            <p:ph type="pic" idx="16"/>
          </p:nvPr>
        </p:nvSpPr>
        <p:spPr>
          <a:xfrm>
            <a:off x="15703436" y="11422973"/>
            <a:ext cx="3522300" cy="1201200"/>
          </a:xfrm>
          <a:prstGeom prst="rect">
            <a:avLst/>
          </a:prstGeom>
          <a:noFill/>
          <a:ln>
            <a:noFill/>
          </a:ln>
        </p:spPr>
      </p:sp>
      <p:sp>
        <p:nvSpPr>
          <p:cNvPr id="832" name="Google Shape;832;p62"/>
          <p:cNvSpPr>
            <a:spLocks noGrp="1"/>
          </p:cNvSpPr>
          <p:nvPr>
            <p:ph type="pic" idx="17"/>
          </p:nvPr>
        </p:nvSpPr>
        <p:spPr>
          <a:xfrm>
            <a:off x="19419211" y="7099525"/>
            <a:ext cx="3522300" cy="1201200"/>
          </a:xfrm>
          <a:prstGeom prst="rect">
            <a:avLst/>
          </a:prstGeom>
          <a:noFill/>
          <a:ln>
            <a:noFill/>
          </a:ln>
        </p:spPr>
      </p:sp>
      <p:sp>
        <p:nvSpPr>
          <p:cNvPr id="833" name="Google Shape;833;p62"/>
          <p:cNvSpPr>
            <a:spLocks noGrp="1"/>
          </p:cNvSpPr>
          <p:nvPr>
            <p:ph type="pic" idx="18"/>
          </p:nvPr>
        </p:nvSpPr>
        <p:spPr>
          <a:xfrm>
            <a:off x="19419211" y="8540674"/>
            <a:ext cx="3522300" cy="1201200"/>
          </a:xfrm>
          <a:prstGeom prst="rect">
            <a:avLst/>
          </a:prstGeom>
          <a:noFill/>
          <a:ln>
            <a:noFill/>
          </a:ln>
        </p:spPr>
      </p:sp>
      <p:sp>
        <p:nvSpPr>
          <p:cNvPr id="834" name="Google Shape;834;p62"/>
          <p:cNvSpPr>
            <a:spLocks noGrp="1"/>
          </p:cNvSpPr>
          <p:nvPr>
            <p:ph type="pic" idx="19"/>
          </p:nvPr>
        </p:nvSpPr>
        <p:spPr>
          <a:xfrm>
            <a:off x="19419211" y="9981824"/>
            <a:ext cx="3522300" cy="1201200"/>
          </a:xfrm>
          <a:prstGeom prst="rect">
            <a:avLst/>
          </a:prstGeom>
          <a:noFill/>
          <a:ln>
            <a:noFill/>
          </a:ln>
        </p:spPr>
      </p:sp>
      <p:sp>
        <p:nvSpPr>
          <p:cNvPr id="835" name="Google Shape;835;p62"/>
          <p:cNvSpPr>
            <a:spLocks noGrp="1"/>
          </p:cNvSpPr>
          <p:nvPr>
            <p:ph type="pic" idx="20"/>
          </p:nvPr>
        </p:nvSpPr>
        <p:spPr>
          <a:xfrm>
            <a:off x="19419211" y="11422973"/>
            <a:ext cx="3522300" cy="1201200"/>
          </a:xfrm>
          <a:prstGeom prst="rect">
            <a:avLst/>
          </a:prstGeom>
          <a:noFill/>
          <a:ln>
            <a:noFill/>
          </a:ln>
        </p:spPr>
      </p:sp>
      <p:sp>
        <p:nvSpPr>
          <p:cNvPr id="836" name="Google Shape;836;p62"/>
          <p:cNvSpPr txBox="1">
            <a:spLocks noGrp="1"/>
          </p:cNvSpPr>
          <p:nvPr>
            <p:ph type="title"/>
          </p:nvPr>
        </p:nvSpPr>
        <p:spPr>
          <a:xfrm>
            <a:off x="1990350" y="1382700"/>
            <a:ext cx="19257600" cy="32232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2A44"/>
              </a:buClr>
              <a:buSzPts val="6400"/>
              <a:buFont typeface="Montserrat Black"/>
              <a:buNone/>
              <a:defRPr sz="6400" b="0" i="0" u="none" strike="noStrike" cap="none">
                <a:solidFill>
                  <a:srgbClr val="002A44"/>
                </a:solidFill>
                <a:latin typeface="Montserrat Black"/>
                <a:ea typeface="Montserrat Black"/>
                <a:cs typeface="Montserrat Black"/>
                <a:sym typeface="Montserrat Black"/>
              </a:defRPr>
            </a:lvl1pPr>
            <a:lvl2pPr marR="0" lvl="1" algn="l" rtl="0">
              <a:lnSpc>
                <a:spcPct val="100000"/>
              </a:lnSpc>
              <a:spcBef>
                <a:spcPts val="0"/>
              </a:spcBef>
              <a:spcAft>
                <a:spcPts val="0"/>
              </a:spcAft>
              <a:buClr>
                <a:srgbClr val="002A44"/>
              </a:buClr>
              <a:buSzPts val="6400"/>
              <a:buFont typeface="Arial"/>
              <a:buNone/>
              <a:defRPr sz="6400" b="0" i="0" u="none" strike="noStrike" cap="none">
                <a:solidFill>
                  <a:srgbClr val="002A44"/>
                </a:solidFill>
                <a:latin typeface="Arial"/>
                <a:ea typeface="Arial"/>
                <a:cs typeface="Arial"/>
                <a:sym typeface="Arial"/>
              </a:defRPr>
            </a:lvl2pPr>
            <a:lvl3pPr marR="0" lvl="2" algn="l" rtl="0">
              <a:lnSpc>
                <a:spcPct val="100000"/>
              </a:lnSpc>
              <a:spcBef>
                <a:spcPts val="0"/>
              </a:spcBef>
              <a:spcAft>
                <a:spcPts val="0"/>
              </a:spcAft>
              <a:buClr>
                <a:srgbClr val="002A44"/>
              </a:buClr>
              <a:buSzPts val="6400"/>
              <a:buFont typeface="Arial"/>
              <a:buNone/>
              <a:defRPr sz="6400" b="0" i="0" u="none" strike="noStrike" cap="none">
                <a:solidFill>
                  <a:srgbClr val="002A44"/>
                </a:solidFill>
                <a:latin typeface="Arial"/>
                <a:ea typeface="Arial"/>
                <a:cs typeface="Arial"/>
                <a:sym typeface="Arial"/>
              </a:defRPr>
            </a:lvl3pPr>
            <a:lvl4pPr marR="0" lvl="3" algn="l" rtl="0">
              <a:lnSpc>
                <a:spcPct val="100000"/>
              </a:lnSpc>
              <a:spcBef>
                <a:spcPts val="0"/>
              </a:spcBef>
              <a:spcAft>
                <a:spcPts val="0"/>
              </a:spcAft>
              <a:buClr>
                <a:srgbClr val="002A44"/>
              </a:buClr>
              <a:buSzPts val="6400"/>
              <a:buFont typeface="Arial"/>
              <a:buNone/>
              <a:defRPr sz="6400" b="0" i="0" u="none" strike="noStrike" cap="none">
                <a:solidFill>
                  <a:srgbClr val="002A44"/>
                </a:solidFill>
                <a:latin typeface="Arial"/>
                <a:ea typeface="Arial"/>
                <a:cs typeface="Arial"/>
                <a:sym typeface="Arial"/>
              </a:defRPr>
            </a:lvl4pPr>
            <a:lvl5pPr marR="0" lvl="4" algn="l" rtl="0">
              <a:lnSpc>
                <a:spcPct val="100000"/>
              </a:lnSpc>
              <a:spcBef>
                <a:spcPts val="0"/>
              </a:spcBef>
              <a:spcAft>
                <a:spcPts val="0"/>
              </a:spcAft>
              <a:buClr>
                <a:srgbClr val="002A44"/>
              </a:buClr>
              <a:buSzPts val="6400"/>
              <a:buFont typeface="Arial"/>
              <a:buNone/>
              <a:defRPr sz="6400" b="0" i="0" u="none" strike="noStrike" cap="none">
                <a:solidFill>
                  <a:srgbClr val="002A44"/>
                </a:solidFill>
                <a:latin typeface="Arial"/>
                <a:ea typeface="Arial"/>
                <a:cs typeface="Arial"/>
                <a:sym typeface="Arial"/>
              </a:defRPr>
            </a:lvl5pPr>
            <a:lvl6pPr marR="0" lvl="5" algn="l" rtl="0">
              <a:lnSpc>
                <a:spcPct val="100000"/>
              </a:lnSpc>
              <a:spcBef>
                <a:spcPts val="0"/>
              </a:spcBef>
              <a:spcAft>
                <a:spcPts val="0"/>
              </a:spcAft>
              <a:buClr>
                <a:srgbClr val="002A44"/>
              </a:buClr>
              <a:buSzPts val="6400"/>
              <a:buFont typeface="Arial"/>
              <a:buNone/>
              <a:defRPr sz="6400" b="0" i="0" u="none" strike="noStrike" cap="none">
                <a:solidFill>
                  <a:srgbClr val="002A44"/>
                </a:solidFill>
                <a:latin typeface="Arial"/>
                <a:ea typeface="Arial"/>
                <a:cs typeface="Arial"/>
                <a:sym typeface="Arial"/>
              </a:defRPr>
            </a:lvl6pPr>
            <a:lvl7pPr marR="0" lvl="6" algn="l" rtl="0">
              <a:lnSpc>
                <a:spcPct val="100000"/>
              </a:lnSpc>
              <a:spcBef>
                <a:spcPts val="0"/>
              </a:spcBef>
              <a:spcAft>
                <a:spcPts val="0"/>
              </a:spcAft>
              <a:buClr>
                <a:srgbClr val="002A44"/>
              </a:buClr>
              <a:buSzPts val="6400"/>
              <a:buFont typeface="Arial"/>
              <a:buNone/>
              <a:defRPr sz="6400" b="0" i="0" u="none" strike="noStrike" cap="none">
                <a:solidFill>
                  <a:srgbClr val="002A44"/>
                </a:solidFill>
                <a:latin typeface="Arial"/>
                <a:ea typeface="Arial"/>
                <a:cs typeface="Arial"/>
                <a:sym typeface="Arial"/>
              </a:defRPr>
            </a:lvl7pPr>
            <a:lvl8pPr marR="0" lvl="7" algn="l" rtl="0">
              <a:lnSpc>
                <a:spcPct val="100000"/>
              </a:lnSpc>
              <a:spcBef>
                <a:spcPts val="0"/>
              </a:spcBef>
              <a:spcAft>
                <a:spcPts val="0"/>
              </a:spcAft>
              <a:buClr>
                <a:srgbClr val="002A44"/>
              </a:buClr>
              <a:buSzPts val="6400"/>
              <a:buFont typeface="Arial"/>
              <a:buNone/>
              <a:defRPr sz="6400" b="0" i="0" u="none" strike="noStrike" cap="none">
                <a:solidFill>
                  <a:srgbClr val="002A44"/>
                </a:solidFill>
                <a:latin typeface="Arial"/>
                <a:ea typeface="Arial"/>
                <a:cs typeface="Arial"/>
                <a:sym typeface="Arial"/>
              </a:defRPr>
            </a:lvl8pPr>
            <a:lvl9pPr marR="0" lvl="8" algn="l" rtl="0">
              <a:lnSpc>
                <a:spcPct val="100000"/>
              </a:lnSpc>
              <a:spcBef>
                <a:spcPts val="0"/>
              </a:spcBef>
              <a:spcAft>
                <a:spcPts val="0"/>
              </a:spcAft>
              <a:buClr>
                <a:srgbClr val="002A44"/>
              </a:buClr>
              <a:buSzPts val="6400"/>
              <a:buFont typeface="Arial"/>
              <a:buNone/>
              <a:defRPr sz="6400" b="0" i="0" u="none" strike="noStrike" cap="none">
                <a:solidFill>
                  <a:srgbClr val="002A44"/>
                </a:solidFill>
                <a:latin typeface="Arial"/>
                <a:ea typeface="Arial"/>
                <a:cs typeface="Arial"/>
                <a:sym typeface="Arial"/>
              </a:defRPr>
            </a:lvl9pPr>
          </a:lstStyle>
          <a:p>
            <a:endParaRPr/>
          </a:p>
        </p:txBody>
      </p:sp>
      <p:sp>
        <p:nvSpPr>
          <p:cNvPr id="837" name="Google Shape;837;p62"/>
          <p:cNvSpPr txBox="1">
            <a:spLocks noGrp="1"/>
          </p:cNvSpPr>
          <p:nvPr>
            <p:ph type="subTitle" idx="1"/>
          </p:nvPr>
        </p:nvSpPr>
        <p:spPr>
          <a:xfrm>
            <a:off x="1990350" y="7099525"/>
            <a:ext cx="5160600" cy="55836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002A44"/>
              </a:buClr>
              <a:buSzPts val="2400"/>
              <a:buFont typeface="Open Sans"/>
              <a:buNone/>
              <a:defRPr sz="2400" b="0" i="0" u="none" strike="noStrike" cap="none">
                <a:solidFill>
                  <a:srgbClr val="002A44"/>
                </a:solidFill>
                <a:latin typeface="Open Sans"/>
                <a:ea typeface="Open Sans"/>
                <a:cs typeface="Open Sans"/>
                <a:sym typeface="Open Sans"/>
              </a:defRPr>
            </a:lvl1pPr>
            <a:lvl2pPr marR="0" lvl="1" algn="l" rtl="0">
              <a:lnSpc>
                <a:spcPct val="100000"/>
              </a:lnSpc>
              <a:spcBef>
                <a:spcPts val="0"/>
              </a:spcBef>
              <a:spcAft>
                <a:spcPts val="0"/>
              </a:spcAft>
              <a:buClr>
                <a:srgbClr val="000000"/>
              </a:buClr>
              <a:buSzPts val="2400"/>
              <a:buFont typeface="Open Sans"/>
              <a:buNone/>
              <a:defRPr sz="2400" b="0" i="0" u="none" strike="noStrike" cap="none">
                <a:solidFill>
                  <a:srgbClr val="000000"/>
                </a:solidFill>
                <a:latin typeface="Open Sans"/>
                <a:ea typeface="Open Sans"/>
                <a:cs typeface="Open Sans"/>
                <a:sym typeface="Open Sans"/>
              </a:defRPr>
            </a:lvl2pPr>
            <a:lvl3pPr marR="0" lvl="2" algn="l" rtl="0">
              <a:lnSpc>
                <a:spcPct val="100000"/>
              </a:lnSpc>
              <a:spcBef>
                <a:spcPts val="0"/>
              </a:spcBef>
              <a:spcAft>
                <a:spcPts val="0"/>
              </a:spcAft>
              <a:buClr>
                <a:srgbClr val="000000"/>
              </a:buClr>
              <a:buSzPts val="2400"/>
              <a:buFont typeface="Open Sans"/>
              <a:buNone/>
              <a:defRPr sz="2400" b="0" i="0" u="none" strike="noStrike" cap="none">
                <a:solidFill>
                  <a:srgbClr val="000000"/>
                </a:solidFill>
                <a:latin typeface="Open Sans"/>
                <a:ea typeface="Open Sans"/>
                <a:cs typeface="Open Sans"/>
                <a:sym typeface="Open Sans"/>
              </a:defRPr>
            </a:lvl3pPr>
            <a:lvl4pPr marR="0" lvl="3" algn="l" rtl="0">
              <a:lnSpc>
                <a:spcPct val="100000"/>
              </a:lnSpc>
              <a:spcBef>
                <a:spcPts val="0"/>
              </a:spcBef>
              <a:spcAft>
                <a:spcPts val="0"/>
              </a:spcAft>
              <a:buClr>
                <a:srgbClr val="000000"/>
              </a:buClr>
              <a:buSzPts val="2400"/>
              <a:buFont typeface="Open Sans"/>
              <a:buNone/>
              <a:defRPr sz="2400" b="0" i="0" u="none" strike="noStrike" cap="none">
                <a:solidFill>
                  <a:srgbClr val="000000"/>
                </a:solidFill>
                <a:latin typeface="Open Sans"/>
                <a:ea typeface="Open Sans"/>
                <a:cs typeface="Open Sans"/>
                <a:sym typeface="Open Sans"/>
              </a:defRPr>
            </a:lvl4pPr>
            <a:lvl5pPr marR="0" lvl="4" algn="l" rtl="0">
              <a:lnSpc>
                <a:spcPct val="100000"/>
              </a:lnSpc>
              <a:spcBef>
                <a:spcPts val="0"/>
              </a:spcBef>
              <a:spcAft>
                <a:spcPts val="0"/>
              </a:spcAft>
              <a:buClr>
                <a:srgbClr val="000000"/>
              </a:buClr>
              <a:buSzPts val="2400"/>
              <a:buFont typeface="Open Sans"/>
              <a:buNone/>
              <a:defRPr sz="2400" b="0" i="0" u="none" strike="noStrike" cap="none">
                <a:solidFill>
                  <a:srgbClr val="000000"/>
                </a:solidFill>
                <a:latin typeface="Open Sans"/>
                <a:ea typeface="Open Sans"/>
                <a:cs typeface="Open Sans"/>
                <a:sym typeface="Open Sans"/>
              </a:defRPr>
            </a:lvl5pPr>
            <a:lvl6pPr marR="0" lvl="5" algn="l" rtl="0">
              <a:lnSpc>
                <a:spcPct val="100000"/>
              </a:lnSpc>
              <a:spcBef>
                <a:spcPts val="0"/>
              </a:spcBef>
              <a:spcAft>
                <a:spcPts val="0"/>
              </a:spcAft>
              <a:buClr>
                <a:srgbClr val="000000"/>
              </a:buClr>
              <a:buSzPts val="2400"/>
              <a:buFont typeface="Open Sans"/>
              <a:buNone/>
              <a:defRPr sz="2400" b="0" i="0" u="none" strike="noStrike" cap="none">
                <a:solidFill>
                  <a:srgbClr val="000000"/>
                </a:solidFill>
                <a:latin typeface="Open Sans"/>
                <a:ea typeface="Open Sans"/>
                <a:cs typeface="Open Sans"/>
                <a:sym typeface="Open Sans"/>
              </a:defRPr>
            </a:lvl6pPr>
            <a:lvl7pPr marR="0" lvl="6" algn="l" rtl="0">
              <a:lnSpc>
                <a:spcPct val="100000"/>
              </a:lnSpc>
              <a:spcBef>
                <a:spcPts val="0"/>
              </a:spcBef>
              <a:spcAft>
                <a:spcPts val="0"/>
              </a:spcAft>
              <a:buClr>
                <a:srgbClr val="000000"/>
              </a:buClr>
              <a:buSzPts val="2400"/>
              <a:buFont typeface="Open Sans"/>
              <a:buNone/>
              <a:defRPr sz="2400" b="0" i="0" u="none" strike="noStrike" cap="none">
                <a:solidFill>
                  <a:srgbClr val="000000"/>
                </a:solidFill>
                <a:latin typeface="Open Sans"/>
                <a:ea typeface="Open Sans"/>
                <a:cs typeface="Open Sans"/>
                <a:sym typeface="Open Sans"/>
              </a:defRPr>
            </a:lvl7pPr>
            <a:lvl8pPr marR="0" lvl="7" algn="l" rtl="0">
              <a:lnSpc>
                <a:spcPct val="100000"/>
              </a:lnSpc>
              <a:spcBef>
                <a:spcPts val="0"/>
              </a:spcBef>
              <a:spcAft>
                <a:spcPts val="0"/>
              </a:spcAft>
              <a:buClr>
                <a:srgbClr val="000000"/>
              </a:buClr>
              <a:buSzPts val="2400"/>
              <a:buFont typeface="Open Sans"/>
              <a:buNone/>
              <a:defRPr sz="2400" b="0" i="0" u="none" strike="noStrike" cap="none">
                <a:solidFill>
                  <a:srgbClr val="000000"/>
                </a:solidFill>
                <a:latin typeface="Open Sans"/>
                <a:ea typeface="Open Sans"/>
                <a:cs typeface="Open Sans"/>
                <a:sym typeface="Open Sans"/>
              </a:defRPr>
            </a:lvl8pPr>
            <a:lvl9pPr marR="0" lvl="8" algn="l" rtl="0">
              <a:lnSpc>
                <a:spcPct val="100000"/>
              </a:lnSpc>
              <a:spcBef>
                <a:spcPts val="0"/>
              </a:spcBef>
              <a:spcAft>
                <a:spcPts val="0"/>
              </a:spcAft>
              <a:buClr>
                <a:srgbClr val="000000"/>
              </a:buClr>
              <a:buSzPts val="2400"/>
              <a:buFont typeface="Open Sans"/>
              <a:buNone/>
              <a:defRPr sz="2400" b="0" i="0" u="none" strike="noStrike" cap="none">
                <a:solidFill>
                  <a:srgbClr val="000000"/>
                </a:solidFill>
                <a:latin typeface="Open Sans"/>
                <a:ea typeface="Open Sans"/>
                <a:cs typeface="Open Sans"/>
                <a:sym typeface="Open Sans"/>
              </a:defRPr>
            </a:lvl9pPr>
          </a:lstStyle>
          <a:p>
            <a:endParaRPr/>
          </a:p>
        </p:txBody>
      </p:sp>
      <p:sp>
        <p:nvSpPr>
          <p:cNvPr id="838" name="Google Shape;838;p62"/>
          <p:cNvSpPr/>
          <p:nvPr/>
        </p:nvSpPr>
        <p:spPr>
          <a:xfrm>
            <a:off x="22412037" y="536597"/>
            <a:ext cx="1515111" cy="1515111"/>
          </a:xfrm>
          <a:custGeom>
            <a:avLst/>
            <a:gdLst/>
            <a:ahLst/>
            <a:cxnLst/>
            <a:rect l="l" t="t" r="r" b="b"/>
            <a:pathLst>
              <a:path w="1137044" h="1137044" extrusionOk="0">
                <a:moveTo>
                  <a:pt x="0" y="0"/>
                </a:moveTo>
                <a:lnTo>
                  <a:pt x="1137044" y="0"/>
                </a:lnTo>
                <a:lnTo>
                  <a:pt x="1137044" y="1137044"/>
                </a:lnTo>
                <a:lnTo>
                  <a:pt x="0" y="1137044"/>
                </a:lnTo>
                <a:lnTo>
                  <a:pt x="0" y="0"/>
                </a:lnTo>
                <a:close/>
              </a:path>
            </a:pathLst>
          </a:custGeom>
          <a:blipFill rotWithShape="1">
            <a:blip r:embed="rId3">
              <a:alphaModFix/>
            </a:blip>
            <a:stretch>
              <a:fillRect/>
            </a:stretch>
          </a:blipFill>
          <a:ln>
            <a:noFill/>
          </a:ln>
        </p:spPr>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Normal_Title Only_White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sp>
        <p:nvSpPr>
          <p:cNvPr id="6" name="Rectangle 5">
            <a:extLst>
              <a:ext uri="{FF2B5EF4-FFF2-40B4-BE49-F238E27FC236}">
                <a16:creationId xmlns:a16="http://schemas.microsoft.com/office/drawing/2014/main" id="{3AC8196E-6037-4640-AD75-692AC1A70CBC}"/>
              </a:ext>
            </a:extLst>
          </p:cNvPr>
          <p:cNvSpPr>
            <a:spLocks noChangeAspect="1"/>
          </p:cNvSpPr>
          <p:nvPr userDrawn="1"/>
        </p:nvSpPr>
        <p:spPr>
          <a:xfrm>
            <a:off x="0" y="214055"/>
            <a:ext cx="9386535" cy="281626"/>
          </a:xfrm>
          <a:prstGeom prst="rect">
            <a:avLst/>
          </a:prstGeom>
          <a:gradFill>
            <a:gsLst>
              <a:gs pos="100000">
                <a:schemeClr val="accent1"/>
              </a:gs>
              <a:gs pos="0">
                <a:schemeClr val="accent5"/>
              </a:gs>
            </a:gsLst>
            <a:lin ang="0" scaled="0"/>
          </a:gradFill>
        </p:spPr>
        <p:txBody>
          <a:bodyPr vert="horz" lIns="359906" tIns="359906" rIns="359906" bIns="359906" rtlCol="0" anchor="t" anchorCtr="0">
            <a:noAutofit/>
          </a:bodyPr>
          <a:lstStyle/>
          <a:p>
            <a:pPr lvl="0">
              <a:lnSpc>
                <a:spcPct val="70000"/>
              </a:lnSpc>
              <a:spcBef>
                <a:spcPct val="0"/>
              </a:spcBef>
              <a:buNone/>
            </a:pPr>
            <a:endParaRPr lang="en-US" sz="17596" baseline="0">
              <a:solidFill>
                <a:schemeClr val="bg1"/>
              </a:solidFill>
              <a:latin typeface="KPMG Bold" panose="020B0803030202040204" pitchFamily="34" charset="0"/>
              <a:ea typeface="+mj-ea"/>
              <a:cs typeface="+mj-cs"/>
            </a:endParaRPr>
          </a:p>
        </p:txBody>
      </p:sp>
    </p:spTree>
    <p:extLst>
      <p:ext uri="{BB962C8B-B14F-4D97-AF65-F5344CB8AC3E}">
        <p14:creationId xmlns:p14="http://schemas.microsoft.com/office/powerpoint/2010/main" val="41284864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Summary Slide with main idea and key points">
  <p:cSld name="Summary Slide with main idea and key points">
    <p:spTree>
      <p:nvGrpSpPr>
        <p:cNvPr id="1" name="Shape 67"/>
        <p:cNvGrpSpPr/>
        <p:nvPr/>
      </p:nvGrpSpPr>
      <p:grpSpPr>
        <a:xfrm>
          <a:off x="0" y="0"/>
          <a:ext cx="0" cy="0"/>
          <a:chOff x="0" y="0"/>
          <a:chExt cx="0" cy="0"/>
        </a:xfrm>
      </p:grpSpPr>
      <p:sp>
        <p:nvSpPr>
          <p:cNvPr id="68" name="Google Shape;68;p7"/>
          <p:cNvSpPr/>
          <p:nvPr/>
        </p:nvSpPr>
        <p:spPr>
          <a:xfrm>
            <a:off x="-115950" y="9805300"/>
            <a:ext cx="24535500" cy="3910800"/>
          </a:xfrm>
          <a:prstGeom prst="rect">
            <a:avLst/>
          </a:prstGeom>
          <a:solidFill>
            <a:srgbClr val="002A4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69" name="Google Shape;69;p7"/>
          <p:cNvPicPr preferRelativeResize="0"/>
          <p:nvPr/>
        </p:nvPicPr>
        <p:blipFill>
          <a:blip r:embed="rId2">
            <a:alphaModFix/>
          </a:blip>
          <a:stretch>
            <a:fillRect/>
          </a:stretch>
        </p:blipFill>
        <p:spPr>
          <a:xfrm>
            <a:off x="-76200" y="4620075"/>
            <a:ext cx="24535501" cy="9096026"/>
          </a:xfrm>
          <a:prstGeom prst="rect">
            <a:avLst/>
          </a:prstGeom>
          <a:noFill/>
          <a:ln>
            <a:noFill/>
          </a:ln>
        </p:spPr>
      </p:pic>
      <p:sp>
        <p:nvSpPr>
          <p:cNvPr id="70" name="Google Shape;70;p7"/>
          <p:cNvSpPr/>
          <p:nvPr/>
        </p:nvSpPr>
        <p:spPr>
          <a:xfrm>
            <a:off x="1990350" y="7446675"/>
            <a:ext cx="2650500" cy="2650500"/>
          </a:xfrm>
          <a:prstGeom prst="ellipse">
            <a:avLst/>
          </a:prstGeom>
          <a:solidFill>
            <a:srgbClr val="002A44"/>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71" name="Google Shape;71;p7"/>
          <p:cNvSpPr/>
          <p:nvPr/>
        </p:nvSpPr>
        <p:spPr>
          <a:xfrm>
            <a:off x="9617375" y="7446675"/>
            <a:ext cx="2650500" cy="2650500"/>
          </a:xfrm>
          <a:prstGeom prst="ellipse">
            <a:avLst/>
          </a:prstGeom>
          <a:solidFill>
            <a:srgbClr val="002A44"/>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72" name="Google Shape;72;p7"/>
          <p:cNvSpPr/>
          <p:nvPr/>
        </p:nvSpPr>
        <p:spPr>
          <a:xfrm>
            <a:off x="17355650" y="7446675"/>
            <a:ext cx="2650500" cy="2650500"/>
          </a:xfrm>
          <a:prstGeom prst="ellipse">
            <a:avLst/>
          </a:prstGeom>
          <a:solidFill>
            <a:srgbClr val="002A44"/>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73" name="Google Shape;73;p7"/>
          <p:cNvSpPr>
            <a:spLocks noGrp="1"/>
          </p:cNvSpPr>
          <p:nvPr>
            <p:ph type="pic" idx="2"/>
          </p:nvPr>
        </p:nvSpPr>
        <p:spPr>
          <a:xfrm>
            <a:off x="2471025" y="7927350"/>
            <a:ext cx="1689000" cy="1689000"/>
          </a:xfrm>
          <a:prstGeom prst="ellipse">
            <a:avLst/>
          </a:prstGeom>
          <a:noFill/>
          <a:ln>
            <a:noFill/>
          </a:ln>
        </p:spPr>
      </p:sp>
      <p:sp>
        <p:nvSpPr>
          <p:cNvPr id="74" name="Google Shape;74;p7"/>
          <p:cNvSpPr/>
          <p:nvPr/>
        </p:nvSpPr>
        <p:spPr>
          <a:xfrm>
            <a:off x="22412037" y="536597"/>
            <a:ext cx="1515111" cy="1515111"/>
          </a:xfrm>
          <a:custGeom>
            <a:avLst/>
            <a:gdLst/>
            <a:ahLst/>
            <a:cxnLst/>
            <a:rect l="l" t="t" r="r" b="b"/>
            <a:pathLst>
              <a:path w="1137044" h="1137044" extrusionOk="0">
                <a:moveTo>
                  <a:pt x="0" y="0"/>
                </a:moveTo>
                <a:lnTo>
                  <a:pt x="1137044" y="0"/>
                </a:lnTo>
                <a:lnTo>
                  <a:pt x="1137044" y="1137044"/>
                </a:lnTo>
                <a:lnTo>
                  <a:pt x="0" y="1137044"/>
                </a:lnTo>
                <a:lnTo>
                  <a:pt x="0" y="0"/>
                </a:lnTo>
                <a:close/>
              </a:path>
            </a:pathLst>
          </a:custGeom>
          <a:blipFill rotWithShape="1">
            <a:blip r:embed="rId3">
              <a:alphaModFix/>
            </a:blip>
            <a:stretch>
              <a:fillRect/>
            </a:stretch>
          </a:blipFill>
          <a:ln>
            <a:noFill/>
          </a:ln>
        </p:spPr>
      </p:sp>
      <p:sp>
        <p:nvSpPr>
          <p:cNvPr id="75" name="Google Shape;75;p7"/>
          <p:cNvSpPr txBox="1">
            <a:spLocks noGrp="1"/>
          </p:cNvSpPr>
          <p:nvPr>
            <p:ph type="subTitle" idx="1"/>
          </p:nvPr>
        </p:nvSpPr>
        <p:spPr>
          <a:xfrm>
            <a:off x="2083675" y="5770913"/>
            <a:ext cx="19507200" cy="11619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rgbClr val="002A44"/>
              </a:buClr>
              <a:buSzPts val="2800"/>
              <a:buFont typeface="Montserrat SemiBold"/>
              <a:buNone/>
              <a:defRPr sz="2800">
                <a:solidFill>
                  <a:srgbClr val="002A44"/>
                </a:solidFill>
                <a:latin typeface="Montserrat SemiBold"/>
                <a:ea typeface="Montserrat SemiBold"/>
                <a:cs typeface="Montserrat SemiBold"/>
                <a:sym typeface="Montserrat SemiBold"/>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 name="Google Shape;76;p7"/>
          <p:cNvSpPr txBox="1">
            <a:spLocks noGrp="1"/>
          </p:cNvSpPr>
          <p:nvPr>
            <p:ph type="subTitle" idx="3"/>
          </p:nvPr>
        </p:nvSpPr>
        <p:spPr>
          <a:xfrm>
            <a:off x="2083675" y="10361975"/>
            <a:ext cx="5200800" cy="1775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2200"/>
              <a:buFont typeface="Open Sans"/>
              <a:buNone/>
              <a:defRPr sz="2200">
                <a:solidFill>
                  <a:srgbClr val="002A44"/>
                </a:solidFill>
                <a:latin typeface="Open Sans"/>
                <a:ea typeface="Open Sans"/>
                <a:cs typeface="Open Sans"/>
                <a:sym typeface="Open Sans"/>
              </a:defRPr>
            </a:lvl1pPr>
            <a:lvl2pPr lvl="1" rtl="0">
              <a:spcBef>
                <a:spcPts val="0"/>
              </a:spcBef>
              <a:spcAft>
                <a:spcPts val="0"/>
              </a:spcAft>
              <a:buSzPts val="2200"/>
              <a:buNone/>
              <a:defRPr sz="2200"/>
            </a:lvl2pPr>
            <a:lvl3pPr lvl="2" rtl="0">
              <a:spcBef>
                <a:spcPts val="0"/>
              </a:spcBef>
              <a:spcAft>
                <a:spcPts val="0"/>
              </a:spcAft>
              <a:buSzPts val="2200"/>
              <a:buNone/>
              <a:defRPr sz="2200"/>
            </a:lvl3pPr>
            <a:lvl4pPr lvl="3" rtl="0">
              <a:spcBef>
                <a:spcPts val="0"/>
              </a:spcBef>
              <a:spcAft>
                <a:spcPts val="0"/>
              </a:spcAft>
              <a:buSzPts val="2200"/>
              <a:buNone/>
              <a:defRPr sz="2200"/>
            </a:lvl4pPr>
            <a:lvl5pPr lvl="4" rtl="0">
              <a:spcBef>
                <a:spcPts val="0"/>
              </a:spcBef>
              <a:spcAft>
                <a:spcPts val="0"/>
              </a:spcAft>
              <a:buSzPts val="2200"/>
              <a:buNone/>
              <a:defRPr sz="2200"/>
            </a:lvl5pPr>
            <a:lvl6pPr lvl="5" rtl="0">
              <a:spcBef>
                <a:spcPts val="0"/>
              </a:spcBef>
              <a:spcAft>
                <a:spcPts val="0"/>
              </a:spcAft>
              <a:buSzPts val="2200"/>
              <a:buNone/>
              <a:defRPr sz="2200"/>
            </a:lvl6pPr>
            <a:lvl7pPr lvl="6" rtl="0">
              <a:spcBef>
                <a:spcPts val="0"/>
              </a:spcBef>
              <a:spcAft>
                <a:spcPts val="0"/>
              </a:spcAft>
              <a:buSzPts val="2200"/>
              <a:buNone/>
              <a:defRPr sz="2200"/>
            </a:lvl7pPr>
            <a:lvl8pPr lvl="7" rtl="0">
              <a:spcBef>
                <a:spcPts val="0"/>
              </a:spcBef>
              <a:spcAft>
                <a:spcPts val="0"/>
              </a:spcAft>
              <a:buSzPts val="2200"/>
              <a:buNone/>
              <a:defRPr sz="2200"/>
            </a:lvl8pPr>
            <a:lvl9pPr lvl="8" rtl="0">
              <a:spcBef>
                <a:spcPts val="0"/>
              </a:spcBef>
              <a:spcAft>
                <a:spcPts val="0"/>
              </a:spcAft>
              <a:buSzPts val="2200"/>
              <a:buNone/>
              <a:defRPr sz="2200"/>
            </a:lvl9pPr>
          </a:lstStyle>
          <a:p>
            <a:endParaRPr/>
          </a:p>
        </p:txBody>
      </p:sp>
      <p:sp>
        <p:nvSpPr>
          <p:cNvPr id="77" name="Google Shape;77;p7"/>
          <p:cNvSpPr txBox="1">
            <a:spLocks noGrp="1"/>
          </p:cNvSpPr>
          <p:nvPr>
            <p:ph type="subTitle" idx="4"/>
          </p:nvPr>
        </p:nvSpPr>
        <p:spPr>
          <a:xfrm>
            <a:off x="9779875" y="1736550"/>
            <a:ext cx="12094200" cy="24381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3600"/>
              <a:buFont typeface="Montserrat"/>
              <a:buNone/>
              <a:defRPr sz="3600">
                <a:solidFill>
                  <a:srgbClr val="002A44"/>
                </a:solidFill>
                <a:latin typeface="Montserrat"/>
                <a:ea typeface="Montserrat"/>
                <a:cs typeface="Montserrat"/>
                <a:sym typeface="Montserrat"/>
              </a:defRPr>
            </a:lvl1pPr>
            <a:lvl2pPr lvl="1" rtl="0">
              <a:spcBef>
                <a:spcPts val="0"/>
              </a:spcBef>
              <a:spcAft>
                <a:spcPts val="0"/>
              </a:spcAft>
              <a:buSzPts val="3600"/>
              <a:buNone/>
              <a:defRPr sz="3600"/>
            </a:lvl2pPr>
            <a:lvl3pPr lvl="2" rtl="0">
              <a:spcBef>
                <a:spcPts val="0"/>
              </a:spcBef>
              <a:spcAft>
                <a:spcPts val="0"/>
              </a:spcAft>
              <a:buSzPts val="3600"/>
              <a:buNone/>
              <a:defRPr sz="3600"/>
            </a:lvl3pPr>
            <a:lvl4pPr lvl="3" rtl="0">
              <a:spcBef>
                <a:spcPts val="0"/>
              </a:spcBef>
              <a:spcAft>
                <a:spcPts val="0"/>
              </a:spcAft>
              <a:buSzPts val="3600"/>
              <a:buNone/>
              <a:defRPr sz="3600"/>
            </a:lvl4pPr>
            <a:lvl5pPr lvl="4" rtl="0">
              <a:spcBef>
                <a:spcPts val="0"/>
              </a:spcBef>
              <a:spcAft>
                <a:spcPts val="0"/>
              </a:spcAft>
              <a:buSzPts val="3600"/>
              <a:buNone/>
              <a:defRPr sz="3600"/>
            </a:lvl5pPr>
            <a:lvl6pPr lvl="5" rtl="0">
              <a:spcBef>
                <a:spcPts val="0"/>
              </a:spcBef>
              <a:spcAft>
                <a:spcPts val="0"/>
              </a:spcAft>
              <a:buSzPts val="3600"/>
              <a:buNone/>
              <a:defRPr sz="3600"/>
            </a:lvl6pPr>
            <a:lvl7pPr lvl="6" rtl="0">
              <a:spcBef>
                <a:spcPts val="0"/>
              </a:spcBef>
              <a:spcAft>
                <a:spcPts val="0"/>
              </a:spcAft>
              <a:buSzPts val="3600"/>
              <a:buNone/>
              <a:defRPr sz="3600"/>
            </a:lvl7pPr>
            <a:lvl8pPr lvl="7" rtl="0">
              <a:spcBef>
                <a:spcPts val="0"/>
              </a:spcBef>
              <a:spcAft>
                <a:spcPts val="0"/>
              </a:spcAft>
              <a:buSzPts val="3600"/>
              <a:buNone/>
              <a:defRPr sz="3600"/>
            </a:lvl8pPr>
            <a:lvl9pPr lvl="8" rtl="0">
              <a:spcBef>
                <a:spcPts val="0"/>
              </a:spcBef>
              <a:spcAft>
                <a:spcPts val="0"/>
              </a:spcAft>
              <a:buSzPts val="3600"/>
              <a:buNone/>
              <a:defRPr sz="3600"/>
            </a:lvl9pPr>
          </a:lstStyle>
          <a:p>
            <a:endParaRPr/>
          </a:p>
        </p:txBody>
      </p:sp>
      <p:sp>
        <p:nvSpPr>
          <p:cNvPr id="78" name="Google Shape;78;p7"/>
          <p:cNvSpPr txBox="1">
            <a:spLocks noGrp="1"/>
          </p:cNvSpPr>
          <p:nvPr>
            <p:ph type="title"/>
          </p:nvPr>
        </p:nvSpPr>
        <p:spPr>
          <a:xfrm>
            <a:off x="1990350" y="1630350"/>
            <a:ext cx="6875100" cy="26505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7200"/>
              <a:buFont typeface="Montserrat Black"/>
              <a:buNone/>
              <a:defRPr sz="7200">
                <a:solidFill>
                  <a:srgbClr val="002A44"/>
                </a:solidFill>
                <a:latin typeface="Montserrat Black"/>
                <a:ea typeface="Montserrat Black"/>
                <a:cs typeface="Montserrat Black"/>
                <a:sym typeface="Montserrat Black"/>
              </a:defRPr>
            </a:lvl1pPr>
            <a:lvl2pPr lvl="1" rtl="0">
              <a:spcBef>
                <a:spcPts val="0"/>
              </a:spcBef>
              <a:spcAft>
                <a:spcPts val="0"/>
              </a:spcAft>
              <a:buSzPts val="8400"/>
              <a:buNone/>
              <a:defRPr sz="8400"/>
            </a:lvl2pPr>
            <a:lvl3pPr lvl="2" rtl="0">
              <a:spcBef>
                <a:spcPts val="0"/>
              </a:spcBef>
              <a:spcAft>
                <a:spcPts val="0"/>
              </a:spcAft>
              <a:buSzPts val="8400"/>
              <a:buNone/>
              <a:defRPr sz="8400"/>
            </a:lvl3pPr>
            <a:lvl4pPr lvl="3" rtl="0">
              <a:spcBef>
                <a:spcPts val="0"/>
              </a:spcBef>
              <a:spcAft>
                <a:spcPts val="0"/>
              </a:spcAft>
              <a:buSzPts val="8400"/>
              <a:buNone/>
              <a:defRPr sz="8400"/>
            </a:lvl4pPr>
            <a:lvl5pPr lvl="4" rtl="0">
              <a:spcBef>
                <a:spcPts val="0"/>
              </a:spcBef>
              <a:spcAft>
                <a:spcPts val="0"/>
              </a:spcAft>
              <a:buSzPts val="8400"/>
              <a:buNone/>
              <a:defRPr sz="8400"/>
            </a:lvl5pPr>
            <a:lvl6pPr lvl="5" rtl="0">
              <a:spcBef>
                <a:spcPts val="0"/>
              </a:spcBef>
              <a:spcAft>
                <a:spcPts val="0"/>
              </a:spcAft>
              <a:buSzPts val="8400"/>
              <a:buNone/>
              <a:defRPr sz="8400"/>
            </a:lvl6pPr>
            <a:lvl7pPr lvl="6" rtl="0">
              <a:spcBef>
                <a:spcPts val="0"/>
              </a:spcBef>
              <a:spcAft>
                <a:spcPts val="0"/>
              </a:spcAft>
              <a:buSzPts val="8400"/>
              <a:buNone/>
              <a:defRPr sz="8400"/>
            </a:lvl7pPr>
            <a:lvl8pPr lvl="7" rtl="0">
              <a:spcBef>
                <a:spcPts val="0"/>
              </a:spcBef>
              <a:spcAft>
                <a:spcPts val="0"/>
              </a:spcAft>
              <a:buSzPts val="8400"/>
              <a:buNone/>
              <a:defRPr sz="8400"/>
            </a:lvl8pPr>
            <a:lvl9pPr lvl="8" rtl="0">
              <a:spcBef>
                <a:spcPts val="0"/>
              </a:spcBef>
              <a:spcAft>
                <a:spcPts val="0"/>
              </a:spcAft>
              <a:buSzPts val="8400"/>
              <a:buNone/>
              <a:defRPr sz="8400"/>
            </a:lvl9pPr>
          </a:lstStyle>
          <a:p>
            <a:endParaRPr/>
          </a:p>
        </p:txBody>
      </p:sp>
      <p:sp>
        <p:nvSpPr>
          <p:cNvPr id="79" name="Google Shape;79;p7"/>
          <p:cNvSpPr txBox="1">
            <a:spLocks noGrp="1"/>
          </p:cNvSpPr>
          <p:nvPr>
            <p:ph type="subTitle" idx="5"/>
          </p:nvPr>
        </p:nvSpPr>
        <p:spPr>
          <a:xfrm>
            <a:off x="9588425" y="10361975"/>
            <a:ext cx="5200800" cy="1775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2200"/>
              <a:buFont typeface="Open Sans"/>
              <a:buNone/>
              <a:defRPr sz="2200">
                <a:solidFill>
                  <a:srgbClr val="002A44"/>
                </a:solidFill>
                <a:latin typeface="Open Sans"/>
                <a:ea typeface="Open Sans"/>
                <a:cs typeface="Open Sans"/>
                <a:sym typeface="Open Sans"/>
              </a:defRPr>
            </a:lvl1pPr>
            <a:lvl2pPr lvl="1" rtl="0">
              <a:spcBef>
                <a:spcPts val="0"/>
              </a:spcBef>
              <a:spcAft>
                <a:spcPts val="0"/>
              </a:spcAft>
              <a:buSzPts val="2200"/>
              <a:buNone/>
              <a:defRPr sz="2200"/>
            </a:lvl2pPr>
            <a:lvl3pPr lvl="2" rtl="0">
              <a:spcBef>
                <a:spcPts val="0"/>
              </a:spcBef>
              <a:spcAft>
                <a:spcPts val="0"/>
              </a:spcAft>
              <a:buSzPts val="2200"/>
              <a:buNone/>
              <a:defRPr sz="2200"/>
            </a:lvl3pPr>
            <a:lvl4pPr lvl="3" rtl="0">
              <a:spcBef>
                <a:spcPts val="0"/>
              </a:spcBef>
              <a:spcAft>
                <a:spcPts val="0"/>
              </a:spcAft>
              <a:buSzPts val="2200"/>
              <a:buNone/>
              <a:defRPr sz="2200"/>
            </a:lvl4pPr>
            <a:lvl5pPr lvl="4" rtl="0">
              <a:spcBef>
                <a:spcPts val="0"/>
              </a:spcBef>
              <a:spcAft>
                <a:spcPts val="0"/>
              </a:spcAft>
              <a:buSzPts val="2200"/>
              <a:buNone/>
              <a:defRPr sz="2200"/>
            </a:lvl5pPr>
            <a:lvl6pPr lvl="5" rtl="0">
              <a:spcBef>
                <a:spcPts val="0"/>
              </a:spcBef>
              <a:spcAft>
                <a:spcPts val="0"/>
              </a:spcAft>
              <a:buSzPts val="2200"/>
              <a:buNone/>
              <a:defRPr sz="2200"/>
            </a:lvl6pPr>
            <a:lvl7pPr lvl="6" rtl="0">
              <a:spcBef>
                <a:spcPts val="0"/>
              </a:spcBef>
              <a:spcAft>
                <a:spcPts val="0"/>
              </a:spcAft>
              <a:buSzPts val="2200"/>
              <a:buNone/>
              <a:defRPr sz="2200"/>
            </a:lvl7pPr>
            <a:lvl8pPr lvl="7" rtl="0">
              <a:spcBef>
                <a:spcPts val="0"/>
              </a:spcBef>
              <a:spcAft>
                <a:spcPts val="0"/>
              </a:spcAft>
              <a:buSzPts val="2200"/>
              <a:buNone/>
              <a:defRPr sz="2200"/>
            </a:lvl8pPr>
            <a:lvl9pPr lvl="8" rtl="0">
              <a:spcBef>
                <a:spcPts val="0"/>
              </a:spcBef>
              <a:spcAft>
                <a:spcPts val="0"/>
              </a:spcAft>
              <a:buSzPts val="2200"/>
              <a:buNone/>
              <a:defRPr sz="2200"/>
            </a:lvl9pPr>
          </a:lstStyle>
          <a:p>
            <a:endParaRPr/>
          </a:p>
        </p:txBody>
      </p:sp>
      <p:sp>
        <p:nvSpPr>
          <p:cNvPr id="80" name="Google Shape;80;p7"/>
          <p:cNvSpPr txBox="1">
            <a:spLocks noGrp="1"/>
          </p:cNvSpPr>
          <p:nvPr>
            <p:ph type="subTitle" idx="6"/>
          </p:nvPr>
        </p:nvSpPr>
        <p:spPr>
          <a:xfrm>
            <a:off x="17355650" y="10361975"/>
            <a:ext cx="5200800" cy="1775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2200"/>
              <a:buFont typeface="Open Sans"/>
              <a:buNone/>
              <a:defRPr sz="2200">
                <a:solidFill>
                  <a:srgbClr val="002A44"/>
                </a:solidFill>
                <a:latin typeface="Open Sans"/>
                <a:ea typeface="Open Sans"/>
                <a:cs typeface="Open Sans"/>
                <a:sym typeface="Open Sans"/>
              </a:defRPr>
            </a:lvl1pPr>
            <a:lvl2pPr lvl="1" rtl="0">
              <a:spcBef>
                <a:spcPts val="0"/>
              </a:spcBef>
              <a:spcAft>
                <a:spcPts val="0"/>
              </a:spcAft>
              <a:buSzPts val="2200"/>
              <a:buNone/>
              <a:defRPr sz="2200"/>
            </a:lvl2pPr>
            <a:lvl3pPr lvl="2" rtl="0">
              <a:spcBef>
                <a:spcPts val="0"/>
              </a:spcBef>
              <a:spcAft>
                <a:spcPts val="0"/>
              </a:spcAft>
              <a:buSzPts val="2200"/>
              <a:buNone/>
              <a:defRPr sz="2200"/>
            </a:lvl3pPr>
            <a:lvl4pPr lvl="3" rtl="0">
              <a:spcBef>
                <a:spcPts val="0"/>
              </a:spcBef>
              <a:spcAft>
                <a:spcPts val="0"/>
              </a:spcAft>
              <a:buSzPts val="2200"/>
              <a:buNone/>
              <a:defRPr sz="2200"/>
            </a:lvl4pPr>
            <a:lvl5pPr lvl="4" rtl="0">
              <a:spcBef>
                <a:spcPts val="0"/>
              </a:spcBef>
              <a:spcAft>
                <a:spcPts val="0"/>
              </a:spcAft>
              <a:buSzPts val="2200"/>
              <a:buNone/>
              <a:defRPr sz="2200"/>
            </a:lvl5pPr>
            <a:lvl6pPr lvl="5" rtl="0">
              <a:spcBef>
                <a:spcPts val="0"/>
              </a:spcBef>
              <a:spcAft>
                <a:spcPts val="0"/>
              </a:spcAft>
              <a:buSzPts val="2200"/>
              <a:buNone/>
              <a:defRPr sz="2200"/>
            </a:lvl6pPr>
            <a:lvl7pPr lvl="6" rtl="0">
              <a:spcBef>
                <a:spcPts val="0"/>
              </a:spcBef>
              <a:spcAft>
                <a:spcPts val="0"/>
              </a:spcAft>
              <a:buSzPts val="2200"/>
              <a:buNone/>
              <a:defRPr sz="2200"/>
            </a:lvl7pPr>
            <a:lvl8pPr lvl="7" rtl="0">
              <a:spcBef>
                <a:spcPts val="0"/>
              </a:spcBef>
              <a:spcAft>
                <a:spcPts val="0"/>
              </a:spcAft>
              <a:buSzPts val="2200"/>
              <a:buNone/>
              <a:defRPr sz="2200"/>
            </a:lvl8pPr>
            <a:lvl9pPr lvl="8" rtl="0">
              <a:spcBef>
                <a:spcPts val="0"/>
              </a:spcBef>
              <a:spcAft>
                <a:spcPts val="0"/>
              </a:spcAft>
              <a:buSzPts val="2200"/>
              <a:buNone/>
              <a:defRPr sz="2200"/>
            </a:lvl9pPr>
          </a:lstStyle>
          <a:p>
            <a:endParaRPr/>
          </a:p>
        </p:txBody>
      </p:sp>
      <p:sp>
        <p:nvSpPr>
          <p:cNvPr id="81" name="Google Shape;81;p7"/>
          <p:cNvSpPr>
            <a:spLocks noGrp="1"/>
          </p:cNvSpPr>
          <p:nvPr>
            <p:ph type="pic" idx="7"/>
          </p:nvPr>
        </p:nvSpPr>
        <p:spPr>
          <a:xfrm>
            <a:off x="17836388" y="7927400"/>
            <a:ext cx="1689000" cy="1689000"/>
          </a:xfrm>
          <a:prstGeom prst="ellipse">
            <a:avLst/>
          </a:prstGeom>
          <a:noFill/>
          <a:ln>
            <a:noFill/>
          </a:ln>
        </p:spPr>
      </p:sp>
      <p:sp>
        <p:nvSpPr>
          <p:cNvPr id="82" name="Google Shape;82;p7"/>
          <p:cNvSpPr>
            <a:spLocks noGrp="1"/>
          </p:cNvSpPr>
          <p:nvPr>
            <p:ph type="pic" idx="8"/>
          </p:nvPr>
        </p:nvSpPr>
        <p:spPr>
          <a:xfrm>
            <a:off x="10098125" y="7927400"/>
            <a:ext cx="1689000" cy="1689000"/>
          </a:xfrm>
          <a:prstGeom prst="ellipse">
            <a:avLst/>
          </a:prstGeom>
          <a:noFill/>
          <a:ln>
            <a:noFill/>
          </a:ln>
        </p:spPr>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Title Slide 3">
  <p:cSld name="Title Slide 3">
    <p:bg>
      <p:bgPr>
        <a:solidFill>
          <a:srgbClr val="C1F400"/>
        </a:solidFill>
        <a:effectLst/>
      </p:bgPr>
    </p:bg>
    <p:spTree>
      <p:nvGrpSpPr>
        <p:cNvPr id="1" name="Shape 32"/>
        <p:cNvGrpSpPr/>
        <p:nvPr/>
      </p:nvGrpSpPr>
      <p:grpSpPr>
        <a:xfrm>
          <a:off x="0" y="0"/>
          <a:ext cx="0" cy="0"/>
          <a:chOff x="0" y="0"/>
          <a:chExt cx="0" cy="0"/>
        </a:xfrm>
      </p:grpSpPr>
      <p:pic>
        <p:nvPicPr>
          <p:cNvPr id="33" name="Google Shape;33;p4"/>
          <p:cNvPicPr preferRelativeResize="0"/>
          <p:nvPr/>
        </p:nvPicPr>
        <p:blipFill rotWithShape="1">
          <a:blip r:embed="rId2">
            <a:alphaModFix/>
          </a:blip>
          <a:srcRect t="18049" b="18056"/>
          <a:stretch/>
        </p:blipFill>
        <p:spPr>
          <a:xfrm flipH="1">
            <a:off x="0" y="-699009"/>
            <a:ext cx="24377650" cy="5724335"/>
          </a:xfrm>
          <a:prstGeom prst="rect">
            <a:avLst/>
          </a:prstGeom>
          <a:solidFill>
            <a:schemeClr val="lt2"/>
          </a:solidFill>
          <a:ln>
            <a:noFill/>
          </a:ln>
        </p:spPr>
      </p:pic>
      <p:pic>
        <p:nvPicPr>
          <p:cNvPr id="34" name="Google Shape;34;p4"/>
          <p:cNvPicPr preferRelativeResize="0"/>
          <p:nvPr/>
        </p:nvPicPr>
        <p:blipFill>
          <a:blip r:embed="rId3">
            <a:alphaModFix/>
          </a:blip>
          <a:stretch>
            <a:fillRect/>
          </a:stretch>
        </p:blipFill>
        <p:spPr>
          <a:xfrm>
            <a:off x="0" y="3103025"/>
            <a:ext cx="24377651" cy="9337150"/>
          </a:xfrm>
          <a:prstGeom prst="rect">
            <a:avLst/>
          </a:prstGeom>
          <a:noFill/>
          <a:ln>
            <a:noFill/>
          </a:ln>
        </p:spPr>
      </p:pic>
      <p:sp>
        <p:nvSpPr>
          <p:cNvPr id="35" name="Google Shape;35;p4"/>
          <p:cNvSpPr/>
          <p:nvPr/>
        </p:nvSpPr>
        <p:spPr>
          <a:xfrm>
            <a:off x="19956001" y="4397425"/>
            <a:ext cx="3072638" cy="1745259"/>
          </a:xfrm>
          <a:custGeom>
            <a:avLst/>
            <a:gdLst/>
            <a:ahLst/>
            <a:cxnLst/>
            <a:rect l="l" t="t" r="r" b="b"/>
            <a:pathLst>
              <a:path w="3864954" h="2195294" extrusionOk="0">
                <a:moveTo>
                  <a:pt x="0" y="0"/>
                </a:moveTo>
                <a:lnTo>
                  <a:pt x="3864953" y="0"/>
                </a:lnTo>
                <a:lnTo>
                  <a:pt x="3864953" y="2195294"/>
                </a:lnTo>
                <a:lnTo>
                  <a:pt x="0" y="2195294"/>
                </a:lnTo>
                <a:lnTo>
                  <a:pt x="0" y="0"/>
                </a:lnTo>
                <a:close/>
              </a:path>
            </a:pathLst>
          </a:custGeom>
          <a:blipFill rotWithShape="1">
            <a:blip r:embed="rId4">
              <a:alphaModFix/>
            </a:blip>
            <a:stretch>
              <a:fillRect/>
            </a:stretch>
          </a:blipFill>
          <a:ln>
            <a:noFill/>
          </a:ln>
        </p:spPr>
      </p:sp>
      <p:sp>
        <p:nvSpPr>
          <p:cNvPr id="36" name="Google Shape;36;p4"/>
          <p:cNvSpPr txBox="1">
            <a:spLocks noGrp="1"/>
          </p:cNvSpPr>
          <p:nvPr>
            <p:ph type="title"/>
          </p:nvPr>
        </p:nvSpPr>
        <p:spPr>
          <a:xfrm>
            <a:off x="1970575" y="5125550"/>
            <a:ext cx="15421500" cy="3544800"/>
          </a:xfrm>
          <a:prstGeom prst="rect">
            <a:avLst/>
          </a:prstGeom>
          <a:noFill/>
          <a:ln>
            <a:noFill/>
          </a:ln>
        </p:spPr>
        <p:txBody>
          <a:bodyPr spcFirstLastPara="1" wrap="square" lIns="91425" tIns="91425" rIns="91425" bIns="91425" anchor="t" anchorCtr="0">
            <a:normAutofit/>
          </a:bodyPr>
          <a:lstStyle>
            <a:lvl1pPr lvl="0" rtl="0">
              <a:spcBef>
                <a:spcPts val="0"/>
              </a:spcBef>
              <a:spcAft>
                <a:spcPts val="0"/>
              </a:spcAft>
              <a:buClr>
                <a:schemeClr val="lt1"/>
              </a:buClr>
              <a:buSzPts val="10800"/>
              <a:buFont typeface="Montserrat Black"/>
              <a:buNone/>
              <a:defRPr sz="10800">
                <a:solidFill>
                  <a:schemeClr val="lt1"/>
                </a:solidFill>
                <a:latin typeface="Montserrat Black"/>
                <a:ea typeface="Montserrat Black"/>
                <a:cs typeface="Montserrat Black"/>
                <a:sym typeface="Montserrat Black"/>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37" name="Google Shape;37;p4"/>
          <p:cNvSpPr txBox="1">
            <a:spLocks noGrp="1"/>
          </p:cNvSpPr>
          <p:nvPr>
            <p:ph type="subTitle" idx="1"/>
          </p:nvPr>
        </p:nvSpPr>
        <p:spPr>
          <a:xfrm>
            <a:off x="1970575" y="8803900"/>
            <a:ext cx="20731800" cy="12405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rgbClr val="C1F400"/>
              </a:buClr>
              <a:buSzPts val="4900"/>
              <a:buFont typeface="Montserrat Medium"/>
              <a:buNone/>
              <a:defRPr sz="4900">
                <a:solidFill>
                  <a:srgbClr val="C1F400"/>
                </a:solidFill>
                <a:latin typeface="Montserrat Medium"/>
                <a:ea typeface="Montserrat Medium"/>
                <a:cs typeface="Montserrat Medium"/>
                <a:sym typeface="Montserrat Medium"/>
              </a:defRPr>
            </a:lvl1pPr>
            <a:lvl2pPr lvl="1" rtl="0">
              <a:spcBef>
                <a:spcPts val="0"/>
              </a:spcBef>
              <a:spcAft>
                <a:spcPts val="0"/>
              </a:spcAft>
              <a:buClr>
                <a:srgbClr val="C1F400"/>
              </a:buClr>
              <a:buSzPts val="1400"/>
              <a:buNone/>
              <a:defRPr>
                <a:solidFill>
                  <a:srgbClr val="C1F400"/>
                </a:solidFill>
              </a:defRPr>
            </a:lvl2pPr>
            <a:lvl3pPr lvl="2" rtl="0">
              <a:spcBef>
                <a:spcPts val="0"/>
              </a:spcBef>
              <a:spcAft>
                <a:spcPts val="0"/>
              </a:spcAft>
              <a:buClr>
                <a:srgbClr val="C1F400"/>
              </a:buClr>
              <a:buSzPts val="1400"/>
              <a:buNone/>
              <a:defRPr>
                <a:solidFill>
                  <a:srgbClr val="C1F400"/>
                </a:solidFill>
              </a:defRPr>
            </a:lvl3pPr>
            <a:lvl4pPr lvl="3" rtl="0">
              <a:spcBef>
                <a:spcPts val="0"/>
              </a:spcBef>
              <a:spcAft>
                <a:spcPts val="0"/>
              </a:spcAft>
              <a:buClr>
                <a:srgbClr val="C1F400"/>
              </a:buClr>
              <a:buSzPts val="1400"/>
              <a:buNone/>
              <a:defRPr>
                <a:solidFill>
                  <a:srgbClr val="C1F400"/>
                </a:solidFill>
              </a:defRPr>
            </a:lvl4pPr>
            <a:lvl5pPr lvl="4" rtl="0">
              <a:spcBef>
                <a:spcPts val="0"/>
              </a:spcBef>
              <a:spcAft>
                <a:spcPts val="0"/>
              </a:spcAft>
              <a:buClr>
                <a:srgbClr val="C1F400"/>
              </a:buClr>
              <a:buSzPts val="1400"/>
              <a:buNone/>
              <a:defRPr>
                <a:solidFill>
                  <a:srgbClr val="C1F400"/>
                </a:solidFill>
              </a:defRPr>
            </a:lvl5pPr>
            <a:lvl6pPr lvl="5" rtl="0">
              <a:spcBef>
                <a:spcPts val="0"/>
              </a:spcBef>
              <a:spcAft>
                <a:spcPts val="0"/>
              </a:spcAft>
              <a:buClr>
                <a:srgbClr val="C1F400"/>
              </a:buClr>
              <a:buSzPts val="1400"/>
              <a:buNone/>
              <a:defRPr>
                <a:solidFill>
                  <a:srgbClr val="C1F400"/>
                </a:solidFill>
              </a:defRPr>
            </a:lvl6pPr>
            <a:lvl7pPr lvl="6" rtl="0">
              <a:spcBef>
                <a:spcPts val="0"/>
              </a:spcBef>
              <a:spcAft>
                <a:spcPts val="0"/>
              </a:spcAft>
              <a:buClr>
                <a:srgbClr val="C1F400"/>
              </a:buClr>
              <a:buSzPts val="1400"/>
              <a:buNone/>
              <a:defRPr>
                <a:solidFill>
                  <a:srgbClr val="C1F400"/>
                </a:solidFill>
              </a:defRPr>
            </a:lvl7pPr>
            <a:lvl8pPr lvl="7" rtl="0">
              <a:spcBef>
                <a:spcPts val="0"/>
              </a:spcBef>
              <a:spcAft>
                <a:spcPts val="0"/>
              </a:spcAft>
              <a:buClr>
                <a:srgbClr val="C1F400"/>
              </a:buClr>
              <a:buSzPts val="1400"/>
              <a:buNone/>
              <a:defRPr>
                <a:solidFill>
                  <a:srgbClr val="C1F400"/>
                </a:solidFill>
              </a:defRPr>
            </a:lvl8pPr>
            <a:lvl9pPr lvl="8" rtl="0">
              <a:spcBef>
                <a:spcPts val="0"/>
              </a:spcBef>
              <a:spcAft>
                <a:spcPts val="0"/>
              </a:spcAft>
              <a:buClr>
                <a:srgbClr val="C1F400"/>
              </a:buClr>
              <a:buSzPts val="1400"/>
              <a:buNone/>
              <a:defRPr>
                <a:solidFill>
                  <a:srgbClr val="C1F400"/>
                </a:solidFill>
              </a:defRPr>
            </a:lvl9pPr>
          </a:lstStyle>
          <a:p>
            <a:endParaRPr/>
          </a:p>
        </p:txBody>
      </p:sp>
      <p:sp>
        <p:nvSpPr>
          <p:cNvPr id="38" name="Google Shape;38;p4"/>
          <p:cNvSpPr txBox="1">
            <a:spLocks noGrp="1"/>
          </p:cNvSpPr>
          <p:nvPr>
            <p:ph type="subTitle" idx="2"/>
          </p:nvPr>
        </p:nvSpPr>
        <p:spPr>
          <a:xfrm>
            <a:off x="17392050" y="11739600"/>
            <a:ext cx="5862900" cy="1240500"/>
          </a:xfrm>
          <a:prstGeom prst="rect">
            <a:avLst/>
          </a:prstGeom>
          <a:noFill/>
          <a:ln>
            <a:noFill/>
          </a:ln>
        </p:spPr>
        <p:txBody>
          <a:bodyPr spcFirstLastPara="1" wrap="square" lIns="91425" tIns="91425" rIns="91425" bIns="91425" anchor="ctr" anchorCtr="0">
            <a:noAutofit/>
          </a:bodyPr>
          <a:lstStyle>
            <a:lvl1pPr lvl="0" algn="r" rtl="0">
              <a:spcBef>
                <a:spcPts val="0"/>
              </a:spcBef>
              <a:spcAft>
                <a:spcPts val="0"/>
              </a:spcAft>
              <a:buClr>
                <a:srgbClr val="002A44"/>
              </a:buClr>
              <a:buSzPts val="2400"/>
              <a:buFont typeface="Montserrat SemiBold"/>
              <a:buNone/>
              <a:defRPr sz="2400">
                <a:solidFill>
                  <a:srgbClr val="002A44"/>
                </a:solidFill>
                <a:latin typeface="Montserrat SemiBold"/>
                <a:ea typeface="Montserrat SemiBold"/>
                <a:cs typeface="Montserrat SemiBold"/>
                <a:sym typeface="Montserrat SemiBold"/>
              </a:defRPr>
            </a:lvl1pPr>
            <a:lvl2pPr lvl="1" algn="r" rtl="0">
              <a:spcBef>
                <a:spcPts val="0"/>
              </a:spcBef>
              <a:spcAft>
                <a:spcPts val="0"/>
              </a:spcAft>
              <a:buClr>
                <a:srgbClr val="002A44"/>
              </a:buClr>
              <a:buSzPts val="2400"/>
              <a:buNone/>
              <a:defRPr sz="2400">
                <a:solidFill>
                  <a:srgbClr val="002A44"/>
                </a:solidFill>
              </a:defRPr>
            </a:lvl2pPr>
            <a:lvl3pPr lvl="2" algn="r" rtl="0">
              <a:spcBef>
                <a:spcPts val="0"/>
              </a:spcBef>
              <a:spcAft>
                <a:spcPts val="0"/>
              </a:spcAft>
              <a:buClr>
                <a:srgbClr val="002A44"/>
              </a:buClr>
              <a:buSzPts val="2400"/>
              <a:buNone/>
              <a:defRPr sz="2400">
                <a:solidFill>
                  <a:srgbClr val="002A44"/>
                </a:solidFill>
              </a:defRPr>
            </a:lvl3pPr>
            <a:lvl4pPr lvl="3" algn="r" rtl="0">
              <a:spcBef>
                <a:spcPts val="0"/>
              </a:spcBef>
              <a:spcAft>
                <a:spcPts val="0"/>
              </a:spcAft>
              <a:buClr>
                <a:srgbClr val="002A44"/>
              </a:buClr>
              <a:buSzPts val="2400"/>
              <a:buNone/>
              <a:defRPr sz="2400">
                <a:solidFill>
                  <a:srgbClr val="002A44"/>
                </a:solidFill>
              </a:defRPr>
            </a:lvl4pPr>
            <a:lvl5pPr lvl="4" algn="r" rtl="0">
              <a:spcBef>
                <a:spcPts val="0"/>
              </a:spcBef>
              <a:spcAft>
                <a:spcPts val="0"/>
              </a:spcAft>
              <a:buClr>
                <a:srgbClr val="002A44"/>
              </a:buClr>
              <a:buSzPts val="2400"/>
              <a:buNone/>
              <a:defRPr sz="2400">
                <a:solidFill>
                  <a:srgbClr val="002A44"/>
                </a:solidFill>
              </a:defRPr>
            </a:lvl5pPr>
            <a:lvl6pPr lvl="5" algn="r" rtl="0">
              <a:spcBef>
                <a:spcPts val="0"/>
              </a:spcBef>
              <a:spcAft>
                <a:spcPts val="0"/>
              </a:spcAft>
              <a:buClr>
                <a:srgbClr val="002A44"/>
              </a:buClr>
              <a:buSzPts val="2400"/>
              <a:buNone/>
              <a:defRPr sz="2400">
                <a:solidFill>
                  <a:srgbClr val="002A44"/>
                </a:solidFill>
              </a:defRPr>
            </a:lvl6pPr>
            <a:lvl7pPr lvl="6" algn="r" rtl="0">
              <a:spcBef>
                <a:spcPts val="0"/>
              </a:spcBef>
              <a:spcAft>
                <a:spcPts val="0"/>
              </a:spcAft>
              <a:buClr>
                <a:srgbClr val="002A44"/>
              </a:buClr>
              <a:buSzPts val="2400"/>
              <a:buNone/>
              <a:defRPr sz="2400">
                <a:solidFill>
                  <a:srgbClr val="002A44"/>
                </a:solidFill>
              </a:defRPr>
            </a:lvl7pPr>
            <a:lvl8pPr lvl="7" algn="r" rtl="0">
              <a:spcBef>
                <a:spcPts val="0"/>
              </a:spcBef>
              <a:spcAft>
                <a:spcPts val="0"/>
              </a:spcAft>
              <a:buClr>
                <a:srgbClr val="002A44"/>
              </a:buClr>
              <a:buSzPts val="2400"/>
              <a:buNone/>
              <a:defRPr sz="2400">
                <a:solidFill>
                  <a:srgbClr val="002A44"/>
                </a:solidFill>
              </a:defRPr>
            </a:lvl8pPr>
            <a:lvl9pPr lvl="8" algn="r" rtl="0">
              <a:spcBef>
                <a:spcPts val="0"/>
              </a:spcBef>
              <a:spcAft>
                <a:spcPts val="0"/>
              </a:spcAft>
              <a:buClr>
                <a:srgbClr val="002A44"/>
              </a:buClr>
              <a:buSzPts val="2400"/>
              <a:buNone/>
              <a:defRPr sz="2400">
                <a:solidFill>
                  <a:srgbClr val="002A44"/>
                </a:solidFill>
              </a:defRPr>
            </a:lvl9pPr>
          </a:lstStyle>
          <a:p>
            <a:endParaRPr/>
          </a:p>
        </p:txBody>
      </p:sp>
    </p:spTree>
    <p:extLst>
      <p:ext uri="{BB962C8B-B14F-4D97-AF65-F5344CB8AC3E}">
        <p14:creationId xmlns:p14="http://schemas.microsoft.com/office/powerpoint/2010/main" val="285180013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ADO Blue Title Page_Narrow Margins">
    <p:bg>
      <p:bgPr>
        <a:solidFill>
          <a:schemeClr val="accent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E3D7957-3E22-42D9-B3C7-AA483EE2564E}"/>
              </a:ext>
            </a:extLst>
          </p:cNvPr>
          <p:cNvGraphicFramePr>
            <a:graphicFrameLocks noChangeAspect="1"/>
          </p:cNvGraphicFramePr>
          <p:nvPr userDrawn="1">
            <p:custDataLst>
              <p:tags r:id="rId1"/>
            </p:custDataLst>
            <p:extLst>
              <p:ext uri="{D42A27DB-BD31-4B8C-83A1-F6EECF244321}">
                <p14:modId xmlns:p14="http://schemas.microsoft.com/office/powerpoint/2010/main" val="1918564394"/>
              </p:ext>
            </p:extLst>
          </p:nvPr>
        </p:nvGraphicFramePr>
        <p:xfrm>
          <a:off x="3175" y="3176"/>
          <a:ext cx="3175" cy="3176"/>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5" name="Object 4" hidden="1">
                        <a:extLst>
                          <a:ext uri="{FF2B5EF4-FFF2-40B4-BE49-F238E27FC236}">
                            <a16:creationId xmlns:a16="http://schemas.microsoft.com/office/drawing/2014/main" id="{9E3D7957-3E22-42D9-B3C7-AA483EE2564E}"/>
                          </a:ext>
                        </a:extLst>
                      </p:cNvPr>
                      <p:cNvPicPr/>
                      <p:nvPr/>
                    </p:nvPicPr>
                    <p:blipFill>
                      <a:blip r:embed="rId4"/>
                      <a:stretch>
                        <a:fillRect/>
                      </a:stretch>
                    </p:blipFill>
                    <p:spPr>
                      <a:xfrm>
                        <a:off x="3175" y="3176"/>
                        <a:ext cx="3175" cy="3176"/>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1E96C774-8B31-4EC8-BF6C-ACF71C2F0C15}"/>
              </a:ext>
            </a:extLst>
          </p:cNvPr>
          <p:cNvSpPr>
            <a:spLocks/>
          </p:cNvSpPr>
          <p:nvPr userDrawn="1"/>
        </p:nvSpPr>
        <p:spPr>
          <a:xfrm>
            <a:off x="533264" y="2970488"/>
            <a:ext cx="12551848" cy="8721244"/>
          </a:xfrm>
          <a:prstGeom prst="rect">
            <a:avLst/>
          </a:prstGeom>
          <a:noFill/>
          <a:extLst>
            <a:ext uri="{909E8E84-426E-40DD-AFC4-6F175D3DCCD1}">
              <a14:hiddenFill xmlns:a14="http://schemas.microsoft.com/office/drawing/2010/main">
                <a:gradFill>
                  <a:gsLst>
                    <a:gs pos="100000">
                      <a:schemeClr val="accent1"/>
                    </a:gs>
                    <a:gs pos="0">
                      <a:schemeClr val="accent5"/>
                    </a:gs>
                  </a:gsLst>
                  <a:lin ang="0" scaled="0"/>
                </a:gradFill>
              </a14:hiddenFill>
            </a:ext>
          </a:extLst>
        </p:spPr>
        <p:txBody>
          <a:bodyPr vert="horz" lIns="359906" tIns="359906" rIns="359906" bIns="359906" rtlCol="0" anchor="t" anchorCtr="0">
            <a:noAutofit/>
          </a:bodyPr>
          <a:lstStyle/>
          <a:p>
            <a:pPr lvl="0">
              <a:lnSpc>
                <a:spcPct val="70000"/>
              </a:lnSpc>
              <a:spcBef>
                <a:spcPct val="0"/>
              </a:spcBef>
              <a:buNone/>
            </a:pPr>
            <a:endParaRPr lang="en-US" sz="17596" baseline="0">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533262" y="3529398"/>
            <a:ext cx="11435699" cy="5760000"/>
          </a:xfrm>
          <a:noFill/>
          <a:ln w="3175">
            <a:noFill/>
            <a:prstDash val="lgDash"/>
          </a:ln>
        </p:spPr>
        <p:txBody>
          <a:bodyPr vert="horz" lIns="0" tIns="0" rIns="0" bIns="0" anchor="t" anchorCtr="0">
            <a:noAutofit/>
          </a:bodyPr>
          <a:lstStyle>
            <a:lvl1pPr algn="l">
              <a:defRPr sz="13197" baseline="0">
                <a:solidFill>
                  <a:schemeClr val="bg1"/>
                </a:solidFill>
              </a:defRPr>
            </a:lvl1pPr>
          </a:lstStyle>
          <a:p>
            <a:r>
              <a:rPr lang="en-GB"/>
              <a:t>KPMG Blue | </a:t>
            </a:r>
            <a:br>
              <a:rPr lang="en-GB"/>
            </a:br>
            <a:r>
              <a:rPr lang="en-GB"/>
              <a:t>Title slide text only</a:t>
            </a:r>
            <a:endParaRPr lang="en-US"/>
          </a:p>
        </p:txBody>
      </p:sp>
      <p:sp>
        <p:nvSpPr>
          <p:cNvPr id="7" name="Freeform 19">
            <a:extLst>
              <a:ext uri="{FF2B5EF4-FFF2-40B4-BE49-F238E27FC236}">
                <a16:creationId xmlns:a16="http://schemas.microsoft.com/office/drawing/2014/main" id="{A5A5FA9B-A901-4A1F-9358-436BDE66E0B5}"/>
              </a:ext>
            </a:extLst>
          </p:cNvPr>
          <p:cNvSpPr>
            <a:spLocks noChangeAspect="1" noEditPoints="1"/>
          </p:cNvSpPr>
          <p:nvPr userDrawn="1"/>
        </p:nvSpPr>
        <p:spPr bwMode="auto">
          <a:xfrm>
            <a:off x="533264" y="742625"/>
            <a:ext cx="1822323" cy="742622"/>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182832" tIns="91416" rIns="182832" bIns="91416" numCol="1" anchor="t" anchorCtr="0" compatLnSpc="1">
            <a:prstTxWarp prst="textNoShape">
              <a:avLst/>
            </a:prstTxWarp>
          </a:bodyPr>
          <a:lstStyle/>
          <a:p>
            <a:endParaRPr lang="en-GB" sz="3599"/>
          </a:p>
        </p:txBody>
      </p:sp>
      <p:sp>
        <p:nvSpPr>
          <p:cNvPr id="6" name="Text Placeholder 3"/>
          <p:cNvSpPr>
            <a:spLocks noGrp="1"/>
          </p:cNvSpPr>
          <p:nvPr>
            <p:ph type="body" sz="quarter" idx="11"/>
          </p:nvPr>
        </p:nvSpPr>
        <p:spPr>
          <a:xfrm>
            <a:off x="533262" y="11002430"/>
            <a:ext cx="11435699" cy="1620000"/>
          </a:xfrm>
          <a:ln w="3175">
            <a:noFill/>
            <a:prstDash val="lgDash"/>
          </a:ln>
        </p:spPr>
        <p:txBody>
          <a:bodyPr wrap="square" anchor="b">
            <a:noAutofit/>
          </a:bodyPr>
          <a:lstStyle>
            <a:lvl1pPr>
              <a:defRPr sz="2799">
                <a:solidFill>
                  <a:schemeClr val="bg1"/>
                </a:solidFill>
              </a:defRPr>
            </a:lvl1pPr>
            <a:lvl2pPr>
              <a:defRPr sz="2799">
                <a:solidFill>
                  <a:schemeClr val="bg1"/>
                </a:solidFill>
              </a:defRPr>
            </a:lvl2pPr>
            <a:lvl3pPr>
              <a:buClr>
                <a:schemeClr val="bg1"/>
              </a:buClr>
              <a:defRPr sz="2199">
                <a:solidFill>
                  <a:schemeClr val="bg1"/>
                </a:solidFill>
              </a:defRPr>
            </a:lvl3pPr>
            <a:lvl4pPr>
              <a:buClr>
                <a:schemeClr val="bg1"/>
              </a:buClr>
              <a:defRPr sz="2199">
                <a:solidFill>
                  <a:schemeClr val="bg1"/>
                </a:solidFill>
              </a:defRPr>
            </a:lvl4pPr>
            <a:lvl5pPr>
              <a:buClr>
                <a:schemeClr val="bg1"/>
              </a:buClr>
              <a:defRPr sz="2199">
                <a:solidFill>
                  <a:schemeClr val="bg1"/>
                </a:solidFill>
              </a:defRPr>
            </a:lvl5pPr>
          </a:lstStyle>
          <a:p>
            <a:pPr lvl="0"/>
            <a:r>
              <a:rPr lang="en-US"/>
              <a:t>Click to edit Master text styles</a:t>
            </a:r>
          </a:p>
          <a:p>
            <a:pPr lvl="1"/>
            <a:r>
              <a:rPr lang="en-US"/>
              <a:t>Second level</a:t>
            </a:r>
          </a:p>
        </p:txBody>
      </p:sp>
      <p:sp>
        <p:nvSpPr>
          <p:cNvPr id="10" name="Title 1">
            <a:extLst>
              <a:ext uri="{FF2B5EF4-FFF2-40B4-BE49-F238E27FC236}">
                <a16:creationId xmlns:a16="http://schemas.microsoft.com/office/drawing/2014/main" id="{C6639DF1-526A-4BDF-B03B-1BEDC7FDB78D}"/>
              </a:ext>
            </a:extLst>
          </p:cNvPr>
          <p:cNvSpPr txBox="1">
            <a:spLocks/>
          </p:cNvSpPr>
          <p:nvPr userDrawn="1"/>
        </p:nvSpPr>
        <p:spPr>
          <a:xfrm>
            <a:off x="16646401" y="11898159"/>
            <a:ext cx="6553247" cy="724274"/>
          </a:xfrm>
          <a:prstGeom prst="rect">
            <a:avLst/>
          </a:prstGeom>
          <a:noFill/>
          <a:ln w="3175">
            <a:noFill/>
            <a:prstDash val="lgDash"/>
          </a:ln>
        </p:spPr>
        <p:txBody>
          <a:bodyPr vert="horz" lIns="0" tIns="0" rIns="0" bIns="0" rtlCol="0" anchor="t" anchorCtr="0">
            <a:noAutofit/>
          </a:bodyPr>
          <a:lstStyle>
            <a:lvl1pPr algn="l" defTabSz="914400" rtl="0" eaLnBrk="1" latinLnBrk="0" hangingPunct="1">
              <a:lnSpc>
                <a:spcPct val="70000"/>
              </a:lnSpc>
              <a:spcBef>
                <a:spcPct val="0"/>
              </a:spcBef>
              <a:buNone/>
              <a:defRPr sz="6600" kern="1200" baseline="0">
                <a:solidFill>
                  <a:schemeClr val="bg1"/>
                </a:solidFill>
                <a:latin typeface="+mj-lt"/>
                <a:ea typeface="+mj-ea"/>
                <a:cs typeface="+mj-cs"/>
              </a:defRPr>
            </a:lvl1pPr>
          </a:lstStyle>
          <a:p>
            <a:pPr algn="ctr"/>
            <a:r>
              <a:rPr lang="en-GB" sz="6398"/>
              <a:t>Data Makes the Difference.</a:t>
            </a:r>
            <a:endParaRPr lang="en-US" sz="6398"/>
          </a:p>
        </p:txBody>
      </p:sp>
      <p:pic>
        <p:nvPicPr>
          <p:cNvPr id="12" name="Picture 11">
            <a:extLst>
              <a:ext uri="{FF2B5EF4-FFF2-40B4-BE49-F238E27FC236}">
                <a16:creationId xmlns:a16="http://schemas.microsoft.com/office/drawing/2014/main" id="{90E5DC4F-0E46-427E-B865-FB6880109488}"/>
              </a:ext>
            </a:extLst>
          </p:cNvPr>
          <p:cNvPicPr>
            <a:picLocks noChangeAspect="1"/>
          </p:cNvPicPr>
          <p:nvPr userDrawn="1"/>
        </p:nvPicPr>
        <p:blipFill>
          <a:blip r:embed="rId5">
            <a:alphaModFix amt="15000"/>
          </a:blip>
          <a:stretch>
            <a:fillRect/>
          </a:stretch>
        </p:blipFill>
        <p:spPr>
          <a:xfrm>
            <a:off x="17212258" y="5643427"/>
            <a:ext cx="5421532" cy="5480882"/>
          </a:xfrm>
          <a:prstGeom prst="rect">
            <a:avLst/>
          </a:prstGeom>
        </p:spPr>
      </p:pic>
    </p:spTree>
    <p:extLst>
      <p:ext uri="{BB962C8B-B14F-4D97-AF65-F5344CB8AC3E}">
        <p14:creationId xmlns:p14="http://schemas.microsoft.com/office/powerpoint/2010/main" val="3748317950"/>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2_Normal_Title Only_White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sp>
        <p:nvSpPr>
          <p:cNvPr id="6" name="Rectangle 5">
            <a:extLst>
              <a:ext uri="{FF2B5EF4-FFF2-40B4-BE49-F238E27FC236}">
                <a16:creationId xmlns:a16="http://schemas.microsoft.com/office/drawing/2014/main" id="{3AC8196E-6037-4640-AD75-692AC1A70CBC}"/>
              </a:ext>
            </a:extLst>
          </p:cNvPr>
          <p:cNvSpPr>
            <a:spLocks noChangeAspect="1"/>
          </p:cNvSpPr>
          <p:nvPr userDrawn="1"/>
        </p:nvSpPr>
        <p:spPr>
          <a:xfrm>
            <a:off x="0" y="214055"/>
            <a:ext cx="9386535" cy="281626"/>
          </a:xfrm>
          <a:prstGeom prst="rect">
            <a:avLst/>
          </a:prstGeom>
          <a:gradFill>
            <a:gsLst>
              <a:gs pos="100000">
                <a:schemeClr val="accent1"/>
              </a:gs>
              <a:gs pos="0">
                <a:schemeClr val="accent5"/>
              </a:gs>
            </a:gsLst>
            <a:lin ang="0" scaled="0"/>
          </a:gradFill>
        </p:spPr>
        <p:txBody>
          <a:bodyPr vert="horz" lIns="359906" tIns="359906" rIns="359906" bIns="359906" rtlCol="0" anchor="t" anchorCtr="0">
            <a:noAutofit/>
          </a:bodyPr>
          <a:lstStyle/>
          <a:p>
            <a:pPr lvl="0">
              <a:lnSpc>
                <a:spcPct val="70000"/>
              </a:lnSpc>
              <a:spcBef>
                <a:spcPct val="0"/>
              </a:spcBef>
              <a:buNone/>
            </a:pPr>
            <a:endParaRPr lang="en-US" sz="17596" baseline="0">
              <a:solidFill>
                <a:schemeClr val="bg1"/>
              </a:solidFill>
              <a:latin typeface="KPMG Bold" panose="020B0803030202040204" pitchFamily="34" charset="0"/>
              <a:ea typeface="+mj-ea"/>
              <a:cs typeface="+mj-cs"/>
            </a:endParaRPr>
          </a:p>
        </p:txBody>
      </p:sp>
    </p:spTree>
    <p:extLst>
      <p:ext uri="{BB962C8B-B14F-4D97-AF65-F5344CB8AC3E}">
        <p14:creationId xmlns:p14="http://schemas.microsoft.com/office/powerpoint/2010/main" val="22704221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1_TITLE SLIDE Right Vertical Window Image_Cobalt Blu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24377650" cy="13716000"/>
          </a:xfrm>
          <a:prstGeom prst="rect">
            <a:avLst/>
          </a:prstGeom>
        </p:spPr>
      </p:pic>
      <p:sp>
        <p:nvSpPr>
          <p:cNvPr id="2" name="Title 1"/>
          <p:cNvSpPr>
            <a:spLocks noGrp="1"/>
          </p:cNvSpPr>
          <p:nvPr>
            <p:ph type="ctrTitle" hasCustomPrompt="1"/>
          </p:nvPr>
        </p:nvSpPr>
        <p:spPr>
          <a:xfrm>
            <a:off x="1482218" y="2912777"/>
            <a:ext cx="11010428" cy="6885362"/>
          </a:xfrm>
          <a:noFill/>
          <a:ln w="3175">
            <a:noFill/>
            <a:prstDash val="lgDash"/>
          </a:ln>
        </p:spPr>
        <p:txBody>
          <a:bodyPr lIns="0" tIns="0" rIns="0" bIns="0" anchor="t" anchorCtr="0">
            <a:noAutofit/>
          </a:bodyPr>
          <a:lstStyle>
            <a:lvl1pPr algn="l">
              <a:defRPr sz="13197" baseline="0">
                <a:solidFill>
                  <a:schemeClr val="tx2"/>
                </a:solidFill>
              </a:defRPr>
            </a:lvl1pPr>
          </a:lstStyle>
          <a:p>
            <a:r>
              <a:rPr lang="en-GB"/>
              <a:t>Title slide text only</a:t>
            </a:r>
            <a:endParaRPr lang="en-US"/>
          </a:p>
        </p:txBody>
      </p:sp>
      <p:sp>
        <p:nvSpPr>
          <p:cNvPr id="6" name="Text Placeholder 3"/>
          <p:cNvSpPr>
            <a:spLocks noGrp="1"/>
          </p:cNvSpPr>
          <p:nvPr userDrawn="1">
            <p:ph type="body" sz="quarter" idx="11"/>
          </p:nvPr>
        </p:nvSpPr>
        <p:spPr>
          <a:xfrm>
            <a:off x="1482218" y="10014018"/>
            <a:ext cx="11010428" cy="1620000"/>
          </a:xfrm>
          <a:ln w="3175">
            <a:noFill/>
            <a:prstDash val="lgDash"/>
          </a:ln>
        </p:spPr>
        <p:txBody>
          <a:bodyPr wrap="square" anchor="b">
            <a:noAutofit/>
          </a:bodyPr>
          <a:lstStyle>
            <a:lvl1pPr>
              <a:defRPr sz="2799">
                <a:solidFill>
                  <a:schemeClr val="tx2"/>
                </a:solidFill>
              </a:defRPr>
            </a:lvl1pPr>
            <a:lvl2pPr>
              <a:defRPr sz="2799">
                <a:solidFill>
                  <a:schemeClr val="tx2"/>
                </a:solidFill>
              </a:defRPr>
            </a:lvl2pPr>
            <a:lvl3pPr>
              <a:buClr>
                <a:schemeClr val="bg1"/>
              </a:buClr>
              <a:defRPr sz="2199">
                <a:solidFill>
                  <a:schemeClr val="bg1"/>
                </a:solidFill>
              </a:defRPr>
            </a:lvl3pPr>
            <a:lvl4pPr>
              <a:buClr>
                <a:schemeClr val="bg1"/>
              </a:buClr>
              <a:defRPr sz="2199">
                <a:solidFill>
                  <a:schemeClr val="bg1"/>
                </a:solidFill>
              </a:defRPr>
            </a:lvl4pPr>
            <a:lvl5pPr>
              <a:buClr>
                <a:schemeClr val="bg1"/>
              </a:buClr>
              <a:defRPr sz="2199">
                <a:solidFill>
                  <a:schemeClr val="bg1"/>
                </a:solidFill>
              </a:defRPr>
            </a:lvl5pPr>
          </a:lstStyle>
          <a:p>
            <a:pPr lvl="0"/>
            <a:r>
              <a:rPr lang="en-US"/>
              <a:t>Edit Master text styles</a:t>
            </a:r>
          </a:p>
          <a:p>
            <a:pPr lvl="1"/>
            <a:r>
              <a:rPr lang="en-US"/>
              <a:t>Second level</a:t>
            </a:r>
          </a:p>
        </p:txBody>
      </p:sp>
      <p:pic>
        <p:nvPicPr>
          <p:cNvPr id="17" name="Graphic 10">
            <a:extLst>
              <a:ext uri="{FF2B5EF4-FFF2-40B4-BE49-F238E27FC236}">
                <a16:creationId xmlns:a16="http://schemas.microsoft.com/office/drawing/2014/main" id="{7ECC0639-96E3-412C-BC90-5540FE2BEC2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482216" y="1473444"/>
            <a:ext cx="1828324" cy="736692"/>
          </a:xfrm>
          <a:prstGeom prst="rect">
            <a:avLst/>
          </a:prstGeom>
        </p:spPr>
      </p:pic>
    </p:spTree>
    <p:extLst>
      <p:ext uri="{BB962C8B-B14F-4D97-AF65-F5344CB8AC3E}">
        <p14:creationId xmlns:p14="http://schemas.microsoft.com/office/powerpoint/2010/main" val="259709156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pic>
        <p:nvPicPr>
          <p:cNvPr id="2" name="Picture 1" descr="Clouds in a forest">
            <a:extLst>
              <a:ext uri="{FF2B5EF4-FFF2-40B4-BE49-F238E27FC236}">
                <a16:creationId xmlns:a16="http://schemas.microsoft.com/office/drawing/2014/main" id="{80CEEAC5-2715-862D-8233-893FBE31D8D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11111"/>
          <a:stretch/>
        </p:blipFill>
        <p:spPr>
          <a:xfrm>
            <a:off x="0" y="0"/>
            <a:ext cx="24377650" cy="13716000"/>
          </a:xfrm>
          <a:prstGeom prst="rect">
            <a:avLst/>
          </a:prstGeom>
        </p:spPr>
      </p:pic>
    </p:spTree>
    <p:extLst>
      <p:ext uri="{BB962C8B-B14F-4D97-AF65-F5344CB8AC3E}">
        <p14:creationId xmlns:p14="http://schemas.microsoft.com/office/powerpoint/2010/main" val="255486797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Normal_ADO Back Cover_Gradient">
    <p:bg>
      <p:bgPr>
        <a:gradFill>
          <a:gsLst>
            <a:gs pos="50000">
              <a:srgbClr val="4431E6"/>
            </a:gs>
            <a:gs pos="100000">
              <a:schemeClr val="accent1"/>
            </a:gs>
            <a:gs pos="0">
              <a:schemeClr val="accent5"/>
            </a:gs>
          </a:gsLst>
          <a:lin ang="0" scaled="0"/>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625A00-57BE-4311-AF3C-D09CA8BF617A}"/>
              </a:ext>
            </a:extLst>
          </p:cNvPr>
          <p:cNvGraphicFramePr>
            <a:graphicFrameLocks noChangeAspect="1"/>
          </p:cNvGraphicFramePr>
          <p:nvPr userDrawn="1">
            <p:custDataLst>
              <p:tags r:id="rId1"/>
            </p:custDataLst>
          </p:nvPr>
        </p:nvGraphicFramePr>
        <p:xfrm>
          <a:off x="3175" y="3176"/>
          <a:ext cx="3175" cy="3176"/>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E6625A00-57BE-4311-AF3C-D09CA8BF617A}"/>
                          </a:ext>
                        </a:extLst>
                      </p:cNvPr>
                      <p:cNvPicPr/>
                      <p:nvPr/>
                    </p:nvPicPr>
                    <p:blipFill>
                      <a:blip r:embed="rId5"/>
                      <a:stretch>
                        <a:fillRect/>
                      </a:stretch>
                    </p:blipFill>
                    <p:spPr>
                      <a:xfrm>
                        <a:off x="3175" y="3176"/>
                        <a:ext cx="3175" cy="3176"/>
                      </a:xfrm>
                      <a:prstGeom prst="rect">
                        <a:avLst/>
                      </a:prstGeom>
                    </p:spPr>
                  </p:pic>
                </p:oleObj>
              </mc:Fallback>
            </mc:AlternateContent>
          </a:graphicData>
        </a:graphic>
      </p:graphicFrame>
      <p:sp>
        <p:nvSpPr>
          <p:cNvPr id="11" name="TextBox 10"/>
          <p:cNvSpPr txBox="1">
            <a:spLocks/>
          </p:cNvSpPr>
          <p:nvPr userDrawn="1">
            <p:custDataLst>
              <p:tags r:id="rId2"/>
            </p:custDataLst>
          </p:nvPr>
        </p:nvSpPr>
        <p:spPr>
          <a:xfrm>
            <a:off x="1978012" y="12231461"/>
            <a:ext cx="4924425" cy="276999"/>
          </a:xfrm>
          <a:prstGeom prst="rect">
            <a:avLst/>
          </a:prstGeom>
          <a:noFill/>
        </p:spPr>
        <p:txBody>
          <a:bodyPr wrap="none" lIns="0" tIns="0" rIns="0" bIns="0" rtlCol="0">
            <a:spAutoFit/>
          </a:bodyPr>
          <a:lstStyle/>
          <a:p>
            <a:pPr marL="0" marR="0" lvl="0" indent="0" algn="l" defTabSz="1828343" rtl="0" eaLnBrk="1" fontAlgn="auto" latinLnBrk="0" hangingPunct="1">
              <a:lnSpc>
                <a:spcPct val="100000"/>
              </a:lnSpc>
              <a:spcBef>
                <a:spcPts val="0"/>
              </a:spcBef>
              <a:spcAft>
                <a:spcPts val="0"/>
              </a:spcAft>
              <a:buClrTx/>
              <a:buSzTx/>
              <a:buFontTx/>
              <a:buNone/>
              <a:tabLst/>
              <a:defRPr/>
            </a:pPr>
            <a:r>
              <a:rPr lang="en-GB" sz="1800" b="1" kern="1200" noProof="0">
                <a:solidFill>
                  <a:schemeClr val="bg1"/>
                </a:solidFill>
                <a:latin typeface="+mn-lt"/>
                <a:ea typeface="+mn-ea"/>
                <a:cs typeface="+mn-cs"/>
              </a:rPr>
              <a:t>Document Classification: KPMG Confidential</a:t>
            </a:r>
          </a:p>
        </p:txBody>
      </p:sp>
      <p:sp>
        <p:nvSpPr>
          <p:cNvPr id="41" name="Freeform 19">
            <a:extLst>
              <a:ext uri="{FF2B5EF4-FFF2-40B4-BE49-F238E27FC236}">
                <a16:creationId xmlns:a16="http://schemas.microsoft.com/office/drawing/2014/main" id="{C5124DCF-42F4-4BBE-BCAC-C24058AAE43A}"/>
              </a:ext>
            </a:extLst>
          </p:cNvPr>
          <p:cNvSpPr>
            <a:spLocks noChangeAspect="1" noEditPoints="1"/>
          </p:cNvSpPr>
          <p:nvPr userDrawn="1"/>
        </p:nvSpPr>
        <p:spPr bwMode="auto">
          <a:xfrm>
            <a:off x="1996433" y="742623"/>
            <a:ext cx="1822323" cy="742622"/>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182832" tIns="91416" rIns="182832" bIns="91416" numCol="1" anchor="t" anchorCtr="0" compatLnSpc="1">
            <a:prstTxWarp prst="textNoShape">
              <a:avLst/>
            </a:prstTxWarp>
          </a:bodyPr>
          <a:lstStyle/>
          <a:p>
            <a:endParaRPr lang="en-GB" sz="2799"/>
          </a:p>
        </p:txBody>
      </p:sp>
      <p:sp>
        <p:nvSpPr>
          <p:cNvPr id="3" name="Text Placeholder 2">
            <a:extLst>
              <a:ext uri="{FF2B5EF4-FFF2-40B4-BE49-F238E27FC236}">
                <a16:creationId xmlns:a16="http://schemas.microsoft.com/office/drawing/2014/main" id="{9771E9CC-2A2B-4C75-8522-60824F3AC7F8}"/>
              </a:ext>
            </a:extLst>
          </p:cNvPr>
          <p:cNvSpPr>
            <a:spLocks noGrp="1"/>
          </p:cNvSpPr>
          <p:nvPr>
            <p:ph type="body" sz="quarter" idx="10"/>
          </p:nvPr>
        </p:nvSpPr>
        <p:spPr>
          <a:xfrm>
            <a:off x="1977509" y="6083616"/>
            <a:ext cx="8090145" cy="5899800"/>
          </a:xfrm>
        </p:spPr>
        <p:txBody>
          <a:bodyPr anchor="t"/>
          <a:lstStyle>
            <a:lvl1pPr>
              <a:spcAft>
                <a:spcPts val="2000"/>
              </a:spcAft>
              <a:defRPr sz="1800" b="0">
                <a:solidFill>
                  <a:schemeClr val="bg1"/>
                </a:solidFill>
              </a:defRPr>
            </a:lvl1pPr>
            <a:lvl2pPr>
              <a:spcAft>
                <a:spcPts val="2000"/>
              </a:spcAft>
              <a:defRPr sz="1800" b="0">
                <a:solidFill>
                  <a:schemeClr val="bg1"/>
                </a:solidFill>
              </a:defRPr>
            </a:lvl2pPr>
          </a:lstStyle>
          <a:p>
            <a:pPr lvl="0"/>
            <a:r>
              <a:rPr lang="en-US"/>
              <a:t>Click to edit Master text styles</a:t>
            </a:r>
          </a:p>
          <a:p>
            <a:pPr lvl="1"/>
            <a:r>
              <a:rPr lang="en-US"/>
              <a:t>Second level</a:t>
            </a:r>
          </a:p>
        </p:txBody>
      </p:sp>
      <p:sp>
        <p:nvSpPr>
          <p:cNvPr id="43" name="Text Placeholder 2">
            <a:extLst>
              <a:ext uri="{FF2B5EF4-FFF2-40B4-BE49-F238E27FC236}">
                <a16:creationId xmlns:a16="http://schemas.microsoft.com/office/drawing/2014/main" id="{8E01CBC1-FC71-43BD-845D-21EEEFA25661}"/>
              </a:ext>
            </a:extLst>
          </p:cNvPr>
          <p:cNvSpPr>
            <a:spLocks noGrp="1"/>
          </p:cNvSpPr>
          <p:nvPr>
            <p:ph type="body" sz="quarter" idx="14"/>
          </p:nvPr>
        </p:nvSpPr>
        <p:spPr>
          <a:xfrm>
            <a:off x="1977509" y="5640530"/>
            <a:ext cx="4822220" cy="238128"/>
          </a:xfrm>
        </p:spPr>
        <p:txBody>
          <a:bodyPr/>
          <a:lstStyle>
            <a:lvl1pPr>
              <a:buFontTx/>
              <a:buNone/>
              <a:defRPr sz="2399" b="1">
                <a:solidFill>
                  <a:schemeClr val="bg1"/>
                </a:solidFill>
              </a:defRPr>
            </a:lvl1pPr>
            <a:lvl2pPr>
              <a:buFontTx/>
              <a:buNone/>
              <a:defRPr sz="1800" b="0">
                <a:solidFill>
                  <a:schemeClr val="bg1">
                    <a:lumMod val="65000"/>
                  </a:schemeClr>
                </a:solidFill>
              </a:defRPr>
            </a:lvl2pPr>
            <a:lvl3pPr marL="0" indent="0">
              <a:buFontTx/>
              <a:buNone/>
              <a:defRPr sz="1800" b="0">
                <a:solidFill>
                  <a:schemeClr val="bg1">
                    <a:lumMod val="65000"/>
                  </a:schemeClr>
                </a:solidFill>
              </a:defRPr>
            </a:lvl3pPr>
            <a:lvl4pPr marL="691027" indent="0">
              <a:buFontTx/>
              <a:buNone/>
              <a:defRPr sz="1800" b="0">
                <a:solidFill>
                  <a:schemeClr val="bg1">
                    <a:lumMod val="65000"/>
                  </a:schemeClr>
                </a:solidFill>
              </a:defRPr>
            </a:lvl4pPr>
            <a:lvl5pPr marL="1079730" indent="0">
              <a:buFontTx/>
              <a:buNone/>
              <a:defRPr sz="1800" b="0">
                <a:solidFill>
                  <a:schemeClr val="bg1">
                    <a:lumMod val="65000"/>
                  </a:schemeClr>
                </a:solidFill>
              </a:defRPr>
            </a:lvl5pPr>
          </a:lstStyle>
          <a:p>
            <a:pPr lvl="0"/>
            <a:r>
              <a:rPr lang="en-US"/>
              <a:t>Click to edit Master text styles</a:t>
            </a:r>
          </a:p>
        </p:txBody>
      </p:sp>
      <p:grpSp>
        <p:nvGrpSpPr>
          <p:cNvPr id="4" name="Group 3">
            <a:extLst>
              <a:ext uri="{FF2B5EF4-FFF2-40B4-BE49-F238E27FC236}">
                <a16:creationId xmlns:a16="http://schemas.microsoft.com/office/drawing/2014/main" id="{1C4D5492-D401-42A2-B377-EA27220983D3}"/>
              </a:ext>
            </a:extLst>
          </p:cNvPr>
          <p:cNvGrpSpPr/>
          <p:nvPr userDrawn="1"/>
        </p:nvGrpSpPr>
        <p:grpSpPr>
          <a:xfrm>
            <a:off x="1996432" y="4699659"/>
            <a:ext cx="4045346" cy="735914"/>
            <a:chOff x="998476" y="2881529"/>
            <a:chExt cx="2023200" cy="367957"/>
          </a:xfrm>
        </p:grpSpPr>
        <p:sp>
          <p:nvSpPr>
            <p:cNvPr id="15" name="Rectangle 14">
              <a:extLst>
                <a:ext uri="{FF2B5EF4-FFF2-40B4-BE49-F238E27FC236}">
                  <a16:creationId xmlns:a16="http://schemas.microsoft.com/office/drawing/2014/main" id="{CF196AFE-0767-4ACF-9869-412F4845EABF}"/>
                </a:ext>
              </a:extLst>
            </p:cNvPr>
            <p:cNvSpPr/>
            <p:nvPr userDrawn="1"/>
          </p:nvSpPr>
          <p:spPr>
            <a:xfrm>
              <a:off x="1441950" y="2918577"/>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2999">
                <a:solidFill>
                  <a:schemeClr val="bg1"/>
                </a:solidFill>
              </a:endParaRPr>
            </a:p>
          </p:txBody>
        </p:sp>
        <p:sp>
          <p:nvSpPr>
            <p:cNvPr id="16" name="Rectangle 15">
              <a:extLst>
                <a:ext uri="{FF2B5EF4-FFF2-40B4-BE49-F238E27FC236}">
                  <a16:creationId xmlns:a16="http://schemas.microsoft.com/office/drawing/2014/main" id="{1E42C7C2-E55C-467A-A194-4BA78575F316}"/>
                </a:ext>
              </a:extLst>
            </p:cNvPr>
            <p:cNvSpPr/>
            <p:nvPr userDrawn="1"/>
          </p:nvSpPr>
          <p:spPr>
            <a:xfrm>
              <a:off x="1877844" y="2918577"/>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2999">
                <a:solidFill>
                  <a:schemeClr val="bg1"/>
                </a:solidFill>
              </a:endParaRPr>
            </a:p>
          </p:txBody>
        </p:sp>
        <p:sp>
          <p:nvSpPr>
            <p:cNvPr id="17" name="Rectangle 16">
              <a:extLst>
                <a:ext uri="{FF2B5EF4-FFF2-40B4-BE49-F238E27FC236}">
                  <a16:creationId xmlns:a16="http://schemas.microsoft.com/office/drawing/2014/main" id="{C45E1FE7-629E-4892-B2EB-2FDAB3326BE5}"/>
                </a:ext>
              </a:extLst>
            </p:cNvPr>
            <p:cNvSpPr/>
            <p:nvPr userDrawn="1"/>
          </p:nvSpPr>
          <p:spPr>
            <a:xfrm>
              <a:off x="2689276" y="2924173"/>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2999">
                <a:solidFill>
                  <a:schemeClr val="bg1"/>
                </a:solidFill>
              </a:endParaRPr>
            </a:p>
          </p:txBody>
        </p:sp>
        <p:sp>
          <p:nvSpPr>
            <p:cNvPr id="2" name="Rectangle 1">
              <a:extLst>
                <a:ext uri="{FF2B5EF4-FFF2-40B4-BE49-F238E27FC236}">
                  <a16:creationId xmlns:a16="http://schemas.microsoft.com/office/drawing/2014/main" id="{07E3B322-EB53-4C7E-8968-4B7B3CE2432E}"/>
                </a:ext>
              </a:extLst>
            </p:cNvPr>
            <p:cNvSpPr/>
            <p:nvPr userDrawn="1"/>
          </p:nvSpPr>
          <p:spPr>
            <a:xfrm>
              <a:off x="1025526" y="2924174"/>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2999">
                <a:solidFill>
                  <a:schemeClr val="bg1"/>
                </a:solidFill>
              </a:endParaRPr>
            </a:p>
          </p:txBody>
        </p:sp>
        <p:pic>
          <p:nvPicPr>
            <p:cNvPr id="9" name="Picture 8">
              <a:extLst>
                <a:ext uri="{FF2B5EF4-FFF2-40B4-BE49-F238E27FC236}">
                  <a16:creationId xmlns:a16="http://schemas.microsoft.com/office/drawing/2014/main" id="{3F3E6F56-5300-4CC2-8B6F-98341C903AA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822950" y="2881529"/>
              <a:ext cx="360000" cy="360000"/>
            </a:xfrm>
            <a:prstGeom prst="rect">
              <a:avLst/>
            </a:prstGeom>
          </p:spPr>
        </p:pic>
        <p:pic>
          <p:nvPicPr>
            <p:cNvPr id="10" name="Picture 9" descr="Icon&#10;&#10;Description automatically generated">
              <a:extLst>
                <a:ext uri="{FF2B5EF4-FFF2-40B4-BE49-F238E27FC236}">
                  <a16:creationId xmlns:a16="http://schemas.microsoft.com/office/drawing/2014/main" id="{5688464F-C48A-4F62-97E1-E717A76F030E}"/>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242336" y="2881529"/>
              <a:ext cx="359648" cy="360000"/>
            </a:xfrm>
            <a:prstGeom prst="rect">
              <a:avLst/>
            </a:prstGeom>
          </p:spPr>
        </p:pic>
        <p:pic>
          <p:nvPicPr>
            <p:cNvPr id="12" name="Picture 11" descr="Logo&#10;&#10;Description automatically generated">
              <a:extLst>
                <a:ext uri="{FF2B5EF4-FFF2-40B4-BE49-F238E27FC236}">
                  <a16:creationId xmlns:a16="http://schemas.microsoft.com/office/drawing/2014/main" id="{3DBC0AA5-6153-434E-A0C9-A5D940745C9A}"/>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414350" y="2889486"/>
              <a:ext cx="360000" cy="360000"/>
            </a:xfrm>
            <a:prstGeom prst="rect">
              <a:avLst/>
            </a:prstGeom>
          </p:spPr>
        </p:pic>
        <p:pic>
          <p:nvPicPr>
            <p:cNvPr id="13" name="Picture 12" descr="Logo&#10;&#10;Description automatically generated">
              <a:extLst>
                <a:ext uri="{FF2B5EF4-FFF2-40B4-BE49-F238E27FC236}">
                  <a16:creationId xmlns:a16="http://schemas.microsoft.com/office/drawing/2014/main" id="{809B7D2B-5280-4ED4-B112-B6C654C52EF6}"/>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998476" y="2884275"/>
              <a:ext cx="360000" cy="360000"/>
            </a:xfrm>
            <a:prstGeom prst="rect">
              <a:avLst/>
            </a:prstGeom>
          </p:spPr>
        </p:pic>
        <p:pic>
          <p:nvPicPr>
            <p:cNvPr id="14" name="Picture 13" descr="Icon&#10;&#10;Description automatically generated">
              <a:extLst>
                <a:ext uri="{FF2B5EF4-FFF2-40B4-BE49-F238E27FC236}">
                  <a16:creationId xmlns:a16="http://schemas.microsoft.com/office/drawing/2014/main" id="{B338E268-56D8-4524-BB26-DA84FEEF8615}"/>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2661676" y="2881529"/>
              <a:ext cx="360000" cy="360000"/>
            </a:xfrm>
            <a:prstGeom prst="rect">
              <a:avLst/>
            </a:prstGeom>
          </p:spPr>
        </p:pic>
      </p:grpSp>
      <p:sp>
        <p:nvSpPr>
          <p:cNvPr id="19" name="Title 1">
            <a:extLst>
              <a:ext uri="{FF2B5EF4-FFF2-40B4-BE49-F238E27FC236}">
                <a16:creationId xmlns:a16="http://schemas.microsoft.com/office/drawing/2014/main" id="{B465EE39-9130-43C5-B9C6-BA111B75A4C0}"/>
              </a:ext>
            </a:extLst>
          </p:cNvPr>
          <p:cNvSpPr txBox="1">
            <a:spLocks/>
          </p:cNvSpPr>
          <p:nvPr userDrawn="1"/>
        </p:nvSpPr>
        <p:spPr>
          <a:xfrm>
            <a:off x="16646398" y="11898157"/>
            <a:ext cx="6553249" cy="724274"/>
          </a:xfrm>
          <a:prstGeom prst="rect">
            <a:avLst/>
          </a:prstGeom>
          <a:noFill/>
          <a:ln w="3175">
            <a:noFill/>
            <a:prstDash val="lgDash"/>
          </a:ln>
        </p:spPr>
        <p:txBody>
          <a:bodyPr vert="horz" lIns="0" tIns="0" rIns="0" bIns="0" rtlCol="0" anchor="t" anchorCtr="0">
            <a:noAutofit/>
          </a:bodyPr>
          <a:lstStyle>
            <a:lvl1pPr algn="l" defTabSz="914400" rtl="0" eaLnBrk="1" latinLnBrk="0" hangingPunct="1">
              <a:lnSpc>
                <a:spcPct val="70000"/>
              </a:lnSpc>
              <a:spcBef>
                <a:spcPct val="0"/>
              </a:spcBef>
              <a:buNone/>
              <a:defRPr sz="6600" kern="1200" baseline="0">
                <a:solidFill>
                  <a:schemeClr val="bg1"/>
                </a:solidFill>
                <a:latin typeface="+mj-lt"/>
                <a:ea typeface="+mj-ea"/>
                <a:cs typeface="+mj-cs"/>
              </a:defRPr>
            </a:lvl1pPr>
          </a:lstStyle>
          <a:p>
            <a:pPr algn="ctr"/>
            <a:r>
              <a:rPr lang="en-GB" sz="6398"/>
              <a:t>Data Makes the Difference.</a:t>
            </a:r>
            <a:endParaRPr lang="en-US" sz="6398"/>
          </a:p>
        </p:txBody>
      </p:sp>
      <p:pic>
        <p:nvPicPr>
          <p:cNvPr id="21" name="Picture 20">
            <a:extLst>
              <a:ext uri="{FF2B5EF4-FFF2-40B4-BE49-F238E27FC236}">
                <a16:creationId xmlns:a16="http://schemas.microsoft.com/office/drawing/2014/main" id="{5FE396E9-6135-4AC8-8CA1-EC18D7C98687}"/>
              </a:ext>
            </a:extLst>
          </p:cNvPr>
          <p:cNvPicPr>
            <a:picLocks noChangeAspect="1"/>
          </p:cNvPicPr>
          <p:nvPr userDrawn="1"/>
        </p:nvPicPr>
        <p:blipFill>
          <a:blip r:embed="rId11">
            <a:alphaModFix amt="15000"/>
          </a:blip>
          <a:stretch>
            <a:fillRect/>
          </a:stretch>
        </p:blipFill>
        <p:spPr>
          <a:xfrm>
            <a:off x="17212256" y="5643425"/>
            <a:ext cx="5421532" cy="5480882"/>
          </a:xfrm>
          <a:prstGeom prst="rect">
            <a:avLst/>
          </a:prstGeom>
        </p:spPr>
      </p:pic>
    </p:spTree>
    <p:extLst>
      <p:ext uri="{BB962C8B-B14F-4D97-AF65-F5344CB8AC3E}">
        <p14:creationId xmlns:p14="http://schemas.microsoft.com/office/powerpoint/2010/main" val="407308430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22527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ext and Image w/ Supportive Copy">
  <p:cSld name="Text and Image w/ Supportive Copy">
    <p:spTree>
      <p:nvGrpSpPr>
        <p:cNvPr id="1" name="Shape 83"/>
        <p:cNvGrpSpPr/>
        <p:nvPr/>
      </p:nvGrpSpPr>
      <p:grpSpPr>
        <a:xfrm>
          <a:off x="0" y="0"/>
          <a:ext cx="0" cy="0"/>
          <a:chOff x="0" y="0"/>
          <a:chExt cx="0" cy="0"/>
        </a:xfrm>
      </p:grpSpPr>
      <p:pic>
        <p:nvPicPr>
          <p:cNvPr id="84" name="Google Shape;84;p8"/>
          <p:cNvPicPr preferRelativeResize="0"/>
          <p:nvPr/>
        </p:nvPicPr>
        <p:blipFill>
          <a:blip r:embed="rId2">
            <a:alphaModFix/>
          </a:blip>
          <a:stretch>
            <a:fillRect/>
          </a:stretch>
        </p:blipFill>
        <p:spPr>
          <a:xfrm>
            <a:off x="0" y="6086025"/>
            <a:ext cx="24377651" cy="7288525"/>
          </a:xfrm>
          <a:prstGeom prst="rect">
            <a:avLst/>
          </a:prstGeom>
          <a:noFill/>
          <a:ln>
            <a:noFill/>
          </a:ln>
        </p:spPr>
      </p:pic>
      <p:sp>
        <p:nvSpPr>
          <p:cNvPr id="85" name="Google Shape;85;p8"/>
          <p:cNvSpPr/>
          <p:nvPr/>
        </p:nvSpPr>
        <p:spPr>
          <a:xfrm>
            <a:off x="22412037" y="536597"/>
            <a:ext cx="1515111" cy="1515111"/>
          </a:xfrm>
          <a:custGeom>
            <a:avLst/>
            <a:gdLst/>
            <a:ahLst/>
            <a:cxnLst/>
            <a:rect l="l" t="t" r="r" b="b"/>
            <a:pathLst>
              <a:path w="1137044" h="1137044" extrusionOk="0">
                <a:moveTo>
                  <a:pt x="0" y="0"/>
                </a:moveTo>
                <a:lnTo>
                  <a:pt x="1137044" y="0"/>
                </a:lnTo>
                <a:lnTo>
                  <a:pt x="1137044" y="1137044"/>
                </a:lnTo>
                <a:lnTo>
                  <a:pt x="0" y="1137044"/>
                </a:lnTo>
                <a:lnTo>
                  <a:pt x="0" y="0"/>
                </a:lnTo>
                <a:close/>
              </a:path>
            </a:pathLst>
          </a:custGeom>
          <a:blipFill rotWithShape="1">
            <a:blip r:embed="rId3">
              <a:alphaModFix/>
            </a:blip>
            <a:stretch>
              <a:fillRect/>
            </a:stretch>
          </a:blipFill>
          <a:ln>
            <a:noFill/>
          </a:ln>
        </p:spPr>
      </p:sp>
      <p:sp>
        <p:nvSpPr>
          <p:cNvPr id="86" name="Google Shape;86;p8"/>
          <p:cNvSpPr txBox="1"/>
          <p:nvPr/>
        </p:nvSpPr>
        <p:spPr>
          <a:xfrm>
            <a:off x="2075875" y="7555625"/>
            <a:ext cx="6804600" cy="615600"/>
          </a:xfrm>
          <a:prstGeom prst="rect">
            <a:avLst/>
          </a:prstGeom>
          <a:solidFill>
            <a:srgbClr val="C1F400"/>
          </a:solidFill>
          <a:ln>
            <a:noFill/>
          </a:ln>
        </p:spPr>
        <p:txBody>
          <a:bodyPr spcFirstLastPara="1" wrap="square" lIns="91425" tIns="91425" rIns="91425" bIns="91425" anchor="t" anchorCtr="0">
            <a:spAutoFit/>
          </a:bodyPr>
          <a:lstStyle/>
          <a:p>
            <a:pPr marL="457200" lvl="0" indent="0" algn="l" rtl="0">
              <a:lnSpc>
                <a:spcPct val="115000"/>
              </a:lnSpc>
              <a:spcBef>
                <a:spcPts val="0"/>
              </a:spcBef>
              <a:spcAft>
                <a:spcPts val="0"/>
              </a:spcAft>
              <a:buNone/>
            </a:pPr>
            <a:endParaRPr sz="2800">
              <a:solidFill>
                <a:srgbClr val="002A44"/>
              </a:solidFill>
              <a:latin typeface="Montserrat Black"/>
              <a:ea typeface="Montserrat Black"/>
              <a:cs typeface="Montserrat Black"/>
              <a:sym typeface="Montserrat Black"/>
            </a:endParaRPr>
          </a:p>
        </p:txBody>
      </p:sp>
      <p:pic>
        <p:nvPicPr>
          <p:cNvPr id="87" name="Google Shape;87;p8"/>
          <p:cNvPicPr preferRelativeResize="0"/>
          <p:nvPr/>
        </p:nvPicPr>
        <p:blipFill>
          <a:blip r:embed="rId4">
            <a:alphaModFix/>
          </a:blip>
          <a:stretch>
            <a:fillRect/>
          </a:stretch>
        </p:blipFill>
        <p:spPr>
          <a:xfrm>
            <a:off x="-11020250" y="-5788937"/>
            <a:ext cx="24377651" cy="7288525"/>
          </a:xfrm>
          <a:prstGeom prst="rect">
            <a:avLst/>
          </a:prstGeom>
          <a:noFill/>
          <a:ln>
            <a:noFill/>
          </a:ln>
        </p:spPr>
      </p:pic>
      <p:sp>
        <p:nvSpPr>
          <p:cNvPr id="88" name="Google Shape;88;p8"/>
          <p:cNvSpPr txBox="1">
            <a:spLocks noGrp="1"/>
          </p:cNvSpPr>
          <p:nvPr>
            <p:ph type="subTitle" idx="1"/>
          </p:nvPr>
        </p:nvSpPr>
        <p:spPr>
          <a:xfrm>
            <a:off x="2075875" y="4184450"/>
            <a:ext cx="10232700" cy="24381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3600"/>
              <a:buFont typeface="Montserrat"/>
              <a:buNone/>
              <a:defRPr sz="3600">
                <a:solidFill>
                  <a:srgbClr val="002A44"/>
                </a:solidFill>
                <a:latin typeface="Montserrat"/>
                <a:ea typeface="Montserrat"/>
                <a:cs typeface="Montserrat"/>
                <a:sym typeface="Montserrat"/>
              </a:defRPr>
            </a:lvl1pPr>
            <a:lvl2pPr lvl="1" rtl="0">
              <a:spcBef>
                <a:spcPts val="0"/>
              </a:spcBef>
              <a:spcAft>
                <a:spcPts val="0"/>
              </a:spcAft>
              <a:buSzPts val="3600"/>
              <a:buNone/>
              <a:defRPr sz="3600"/>
            </a:lvl2pPr>
            <a:lvl3pPr lvl="2" rtl="0">
              <a:spcBef>
                <a:spcPts val="0"/>
              </a:spcBef>
              <a:spcAft>
                <a:spcPts val="0"/>
              </a:spcAft>
              <a:buSzPts val="3600"/>
              <a:buNone/>
              <a:defRPr sz="3600"/>
            </a:lvl3pPr>
            <a:lvl4pPr lvl="3" rtl="0">
              <a:spcBef>
                <a:spcPts val="0"/>
              </a:spcBef>
              <a:spcAft>
                <a:spcPts val="0"/>
              </a:spcAft>
              <a:buSzPts val="3600"/>
              <a:buNone/>
              <a:defRPr sz="3600"/>
            </a:lvl4pPr>
            <a:lvl5pPr lvl="4" rtl="0">
              <a:spcBef>
                <a:spcPts val="0"/>
              </a:spcBef>
              <a:spcAft>
                <a:spcPts val="0"/>
              </a:spcAft>
              <a:buSzPts val="3600"/>
              <a:buNone/>
              <a:defRPr sz="3600"/>
            </a:lvl5pPr>
            <a:lvl6pPr lvl="5" rtl="0">
              <a:spcBef>
                <a:spcPts val="0"/>
              </a:spcBef>
              <a:spcAft>
                <a:spcPts val="0"/>
              </a:spcAft>
              <a:buSzPts val="3600"/>
              <a:buNone/>
              <a:defRPr sz="3600"/>
            </a:lvl6pPr>
            <a:lvl7pPr lvl="6" rtl="0">
              <a:spcBef>
                <a:spcPts val="0"/>
              </a:spcBef>
              <a:spcAft>
                <a:spcPts val="0"/>
              </a:spcAft>
              <a:buSzPts val="3600"/>
              <a:buNone/>
              <a:defRPr sz="3600"/>
            </a:lvl7pPr>
            <a:lvl8pPr lvl="7" rtl="0">
              <a:spcBef>
                <a:spcPts val="0"/>
              </a:spcBef>
              <a:spcAft>
                <a:spcPts val="0"/>
              </a:spcAft>
              <a:buSzPts val="3600"/>
              <a:buNone/>
              <a:defRPr sz="3600"/>
            </a:lvl8pPr>
            <a:lvl9pPr lvl="8" rtl="0">
              <a:spcBef>
                <a:spcPts val="0"/>
              </a:spcBef>
              <a:spcAft>
                <a:spcPts val="0"/>
              </a:spcAft>
              <a:buSzPts val="3600"/>
              <a:buNone/>
              <a:defRPr sz="3600"/>
            </a:lvl9pPr>
          </a:lstStyle>
          <a:p>
            <a:endParaRPr/>
          </a:p>
        </p:txBody>
      </p:sp>
      <p:sp>
        <p:nvSpPr>
          <p:cNvPr id="89" name="Google Shape;89;p8"/>
          <p:cNvSpPr txBox="1">
            <a:spLocks noGrp="1"/>
          </p:cNvSpPr>
          <p:nvPr>
            <p:ph type="subTitle" idx="2"/>
          </p:nvPr>
        </p:nvSpPr>
        <p:spPr>
          <a:xfrm>
            <a:off x="2183975" y="7661075"/>
            <a:ext cx="6696600" cy="5103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1pPr>
            <a:lvl2pPr lvl="1"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2pPr>
            <a:lvl3pPr lvl="2"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3pPr>
            <a:lvl4pPr lvl="3"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4pPr>
            <a:lvl5pPr lvl="4"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5pPr>
            <a:lvl6pPr lvl="5"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6pPr>
            <a:lvl7pPr lvl="6"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7pPr>
            <a:lvl8pPr lvl="7"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8pPr>
            <a:lvl9pPr lvl="8"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9pPr>
          </a:lstStyle>
          <a:p>
            <a:endParaRPr/>
          </a:p>
        </p:txBody>
      </p:sp>
      <p:sp>
        <p:nvSpPr>
          <p:cNvPr id="90" name="Google Shape;90;p8"/>
          <p:cNvSpPr txBox="1">
            <a:spLocks noGrp="1"/>
          </p:cNvSpPr>
          <p:nvPr>
            <p:ph type="subTitle" idx="3"/>
          </p:nvPr>
        </p:nvSpPr>
        <p:spPr>
          <a:xfrm>
            <a:off x="2075875" y="8511250"/>
            <a:ext cx="9892200" cy="27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C1F400"/>
              </a:buClr>
              <a:buSzPts val="2800"/>
              <a:buFont typeface="Montserrat"/>
              <a:buNone/>
              <a:defRPr sz="2800">
                <a:solidFill>
                  <a:srgbClr val="C1F400"/>
                </a:solidFill>
                <a:latin typeface="Montserrat"/>
                <a:ea typeface="Montserrat"/>
                <a:cs typeface="Montserrat"/>
                <a:sym typeface="Montserrat"/>
              </a:defRPr>
            </a:lvl1pPr>
            <a:lvl2pPr lvl="1" rtl="0">
              <a:spcBef>
                <a:spcPts val="0"/>
              </a:spcBef>
              <a:spcAft>
                <a:spcPts val="0"/>
              </a:spcAft>
              <a:buClr>
                <a:srgbClr val="C1F400"/>
              </a:buClr>
              <a:buSzPts val="2800"/>
              <a:buNone/>
              <a:defRPr sz="2800">
                <a:solidFill>
                  <a:srgbClr val="C1F400"/>
                </a:solidFill>
              </a:defRPr>
            </a:lvl2pPr>
            <a:lvl3pPr lvl="2" rtl="0">
              <a:spcBef>
                <a:spcPts val="0"/>
              </a:spcBef>
              <a:spcAft>
                <a:spcPts val="0"/>
              </a:spcAft>
              <a:buClr>
                <a:srgbClr val="C1F400"/>
              </a:buClr>
              <a:buSzPts val="2800"/>
              <a:buNone/>
              <a:defRPr sz="2800">
                <a:solidFill>
                  <a:srgbClr val="C1F400"/>
                </a:solidFill>
              </a:defRPr>
            </a:lvl3pPr>
            <a:lvl4pPr lvl="3" rtl="0">
              <a:spcBef>
                <a:spcPts val="0"/>
              </a:spcBef>
              <a:spcAft>
                <a:spcPts val="0"/>
              </a:spcAft>
              <a:buClr>
                <a:srgbClr val="C1F400"/>
              </a:buClr>
              <a:buSzPts val="2800"/>
              <a:buNone/>
              <a:defRPr sz="2800">
                <a:solidFill>
                  <a:srgbClr val="C1F400"/>
                </a:solidFill>
              </a:defRPr>
            </a:lvl4pPr>
            <a:lvl5pPr lvl="4" rtl="0">
              <a:spcBef>
                <a:spcPts val="0"/>
              </a:spcBef>
              <a:spcAft>
                <a:spcPts val="0"/>
              </a:spcAft>
              <a:buClr>
                <a:srgbClr val="C1F400"/>
              </a:buClr>
              <a:buSzPts val="2800"/>
              <a:buNone/>
              <a:defRPr sz="2800">
                <a:solidFill>
                  <a:srgbClr val="C1F400"/>
                </a:solidFill>
              </a:defRPr>
            </a:lvl5pPr>
            <a:lvl6pPr lvl="5" rtl="0">
              <a:spcBef>
                <a:spcPts val="0"/>
              </a:spcBef>
              <a:spcAft>
                <a:spcPts val="0"/>
              </a:spcAft>
              <a:buClr>
                <a:srgbClr val="C1F400"/>
              </a:buClr>
              <a:buSzPts val="2800"/>
              <a:buNone/>
              <a:defRPr sz="2800">
                <a:solidFill>
                  <a:srgbClr val="C1F400"/>
                </a:solidFill>
              </a:defRPr>
            </a:lvl6pPr>
            <a:lvl7pPr lvl="6" rtl="0">
              <a:spcBef>
                <a:spcPts val="0"/>
              </a:spcBef>
              <a:spcAft>
                <a:spcPts val="0"/>
              </a:spcAft>
              <a:buClr>
                <a:srgbClr val="C1F400"/>
              </a:buClr>
              <a:buSzPts val="2800"/>
              <a:buNone/>
              <a:defRPr sz="2800">
                <a:solidFill>
                  <a:srgbClr val="C1F400"/>
                </a:solidFill>
              </a:defRPr>
            </a:lvl7pPr>
            <a:lvl8pPr lvl="7" rtl="0">
              <a:spcBef>
                <a:spcPts val="0"/>
              </a:spcBef>
              <a:spcAft>
                <a:spcPts val="0"/>
              </a:spcAft>
              <a:buClr>
                <a:srgbClr val="C1F400"/>
              </a:buClr>
              <a:buSzPts val="2800"/>
              <a:buNone/>
              <a:defRPr sz="2800">
                <a:solidFill>
                  <a:srgbClr val="C1F400"/>
                </a:solidFill>
              </a:defRPr>
            </a:lvl8pPr>
            <a:lvl9pPr lvl="8" rtl="0">
              <a:spcBef>
                <a:spcPts val="0"/>
              </a:spcBef>
              <a:spcAft>
                <a:spcPts val="0"/>
              </a:spcAft>
              <a:buClr>
                <a:srgbClr val="C1F400"/>
              </a:buClr>
              <a:buSzPts val="2800"/>
              <a:buNone/>
              <a:defRPr sz="2800">
                <a:solidFill>
                  <a:srgbClr val="C1F400"/>
                </a:solidFill>
              </a:defRPr>
            </a:lvl9pPr>
          </a:lstStyle>
          <a:p>
            <a:endParaRPr/>
          </a:p>
        </p:txBody>
      </p:sp>
      <p:sp>
        <p:nvSpPr>
          <p:cNvPr id="91" name="Google Shape;91;p8"/>
          <p:cNvSpPr txBox="1">
            <a:spLocks noGrp="1"/>
          </p:cNvSpPr>
          <p:nvPr>
            <p:ph type="title"/>
          </p:nvPr>
        </p:nvSpPr>
        <p:spPr>
          <a:xfrm>
            <a:off x="1990350" y="1706550"/>
            <a:ext cx="9977700" cy="1370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7200"/>
              <a:buFont typeface="Montserrat Black"/>
              <a:buNone/>
              <a:defRPr sz="7200">
                <a:solidFill>
                  <a:srgbClr val="002A44"/>
                </a:solidFill>
                <a:latin typeface="Montserrat Black"/>
                <a:ea typeface="Montserrat Black"/>
                <a:cs typeface="Montserrat Black"/>
                <a:sym typeface="Montserrat Black"/>
              </a:defRPr>
            </a:lvl1pPr>
            <a:lvl2pPr lvl="1" rtl="0">
              <a:spcBef>
                <a:spcPts val="0"/>
              </a:spcBef>
              <a:spcAft>
                <a:spcPts val="0"/>
              </a:spcAft>
              <a:buSzPts val="7200"/>
              <a:buNone/>
              <a:defRPr sz="7200"/>
            </a:lvl2pPr>
            <a:lvl3pPr lvl="2" rtl="0">
              <a:spcBef>
                <a:spcPts val="0"/>
              </a:spcBef>
              <a:spcAft>
                <a:spcPts val="0"/>
              </a:spcAft>
              <a:buSzPts val="7200"/>
              <a:buNone/>
              <a:defRPr sz="7200"/>
            </a:lvl3pPr>
            <a:lvl4pPr lvl="3" rtl="0">
              <a:spcBef>
                <a:spcPts val="0"/>
              </a:spcBef>
              <a:spcAft>
                <a:spcPts val="0"/>
              </a:spcAft>
              <a:buSzPts val="7200"/>
              <a:buNone/>
              <a:defRPr sz="7200"/>
            </a:lvl4pPr>
            <a:lvl5pPr lvl="4" rtl="0">
              <a:spcBef>
                <a:spcPts val="0"/>
              </a:spcBef>
              <a:spcAft>
                <a:spcPts val="0"/>
              </a:spcAft>
              <a:buSzPts val="7200"/>
              <a:buNone/>
              <a:defRPr sz="7200"/>
            </a:lvl5pPr>
            <a:lvl6pPr lvl="5" rtl="0">
              <a:spcBef>
                <a:spcPts val="0"/>
              </a:spcBef>
              <a:spcAft>
                <a:spcPts val="0"/>
              </a:spcAft>
              <a:buSzPts val="7200"/>
              <a:buNone/>
              <a:defRPr sz="7200"/>
            </a:lvl6pPr>
            <a:lvl7pPr lvl="6" rtl="0">
              <a:spcBef>
                <a:spcPts val="0"/>
              </a:spcBef>
              <a:spcAft>
                <a:spcPts val="0"/>
              </a:spcAft>
              <a:buSzPts val="7200"/>
              <a:buNone/>
              <a:defRPr sz="7200"/>
            </a:lvl7pPr>
            <a:lvl8pPr lvl="7" rtl="0">
              <a:spcBef>
                <a:spcPts val="0"/>
              </a:spcBef>
              <a:spcAft>
                <a:spcPts val="0"/>
              </a:spcAft>
              <a:buSzPts val="7200"/>
              <a:buNone/>
              <a:defRPr sz="7200"/>
            </a:lvl8pPr>
            <a:lvl9pPr lvl="8" rtl="0">
              <a:spcBef>
                <a:spcPts val="0"/>
              </a:spcBef>
              <a:spcAft>
                <a:spcPts val="0"/>
              </a:spcAft>
              <a:buSzPts val="7200"/>
              <a:buNone/>
              <a:defRPr sz="7200"/>
            </a:lvl9pPr>
          </a:lstStyle>
          <a:p>
            <a:endParaRPr/>
          </a:p>
        </p:txBody>
      </p:sp>
      <p:sp>
        <p:nvSpPr>
          <p:cNvPr id="92" name="Google Shape;92;p8"/>
          <p:cNvSpPr>
            <a:spLocks noGrp="1"/>
          </p:cNvSpPr>
          <p:nvPr>
            <p:ph type="pic" idx="4"/>
          </p:nvPr>
        </p:nvSpPr>
        <p:spPr>
          <a:xfrm>
            <a:off x="13110050" y="1881475"/>
            <a:ext cx="8500500" cy="9419700"/>
          </a:xfrm>
          <a:prstGeom prst="rect">
            <a:avLst/>
          </a:prstGeom>
          <a:solidFill>
            <a:schemeClr val="lt2"/>
          </a:solidFill>
          <a:ln>
            <a:noFill/>
          </a:ln>
        </p:spPr>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ext with image">
  <p:cSld name="Text with image">
    <p:spTree>
      <p:nvGrpSpPr>
        <p:cNvPr id="1" name="Shape 93"/>
        <p:cNvGrpSpPr/>
        <p:nvPr/>
      </p:nvGrpSpPr>
      <p:grpSpPr>
        <a:xfrm>
          <a:off x="0" y="0"/>
          <a:ext cx="0" cy="0"/>
          <a:chOff x="0" y="0"/>
          <a:chExt cx="0" cy="0"/>
        </a:xfrm>
      </p:grpSpPr>
      <p:pic>
        <p:nvPicPr>
          <p:cNvPr id="94" name="Google Shape;94;p9"/>
          <p:cNvPicPr preferRelativeResize="0"/>
          <p:nvPr/>
        </p:nvPicPr>
        <p:blipFill>
          <a:blip r:embed="rId2">
            <a:alphaModFix/>
          </a:blip>
          <a:stretch>
            <a:fillRect/>
          </a:stretch>
        </p:blipFill>
        <p:spPr>
          <a:xfrm>
            <a:off x="0" y="3493700"/>
            <a:ext cx="24377651" cy="9846876"/>
          </a:xfrm>
          <a:prstGeom prst="rect">
            <a:avLst/>
          </a:prstGeom>
          <a:noFill/>
          <a:ln>
            <a:noFill/>
          </a:ln>
        </p:spPr>
      </p:pic>
      <p:pic>
        <p:nvPicPr>
          <p:cNvPr id="95" name="Google Shape;95;p9"/>
          <p:cNvPicPr preferRelativeResize="0"/>
          <p:nvPr/>
        </p:nvPicPr>
        <p:blipFill>
          <a:blip r:embed="rId3">
            <a:alphaModFix/>
          </a:blip>
          <a:stretch>
            <a:fillRect/>
          </a:stretch>
        </p:blipFill>
        <p:spPr>
          <a:xfrm>
            <a:off x="-6810750" y="-6219350"/>
            <a:ext cx="24377651" cy="7288525"/>
          </a:xfrm>
          <a:prstGeom prst="rect">
            <a:avLst/>
          </a:prstGeom>
          <a:noFill/>
          <a:ln>
            <a:noFill/>
          </a:ln>
        </p:spPr>
      </p:pic>
      <p:sp>
        <p:nvSpPr>
          <p:cNvPr id="96" name="Google Shape;96;p9"/>
          <p:cNvSpPr>
            <a:spLocks noGrp="1"/>
          </p:cNvSpPr>
          <p:nvPr>
            <p:ph type="pic" idx="2"/>
          </p:nvPr>
        </p:nvSpPr>
        <p:spPr>
          <a:xfrm>
            <a:off x="1931225" y="1881475"/>
            <a:ext cx="8500500" cy="9419700"/>
          </a:xfrm>
          <a:prstGeom prst="rect">
            <a:avLst/>
          </a:prstGeom>
          <a:solidFill>
            <a:schemeClr val="lt2"/>
          </a:solidFill>
          <a:ln>
            <a:noFill/>
          </a:ln>
        </p:spPr>
      </p:sp>
      <p:sp>
        <p:nvSpPr>
          <p:cNvPr id="97" name="Google Shape;97;p9"/>
          <p:cNvSpPr/>
          <p:nvPr/>
        </p:nvSpPr>
        <p:spPr>
          <a:xfrm>
            <a:off x="22412037" y="536597"/>
            <a:ext cx="1515111" cy="1515111"/>
          </a:xfrm>
          <a:custGeom>
            <a:avLst/>
            <a:gdLst/>
            <a:ahLst/>
            <a:cxnLst/>
            <a:rect l="l" t="t" r="r" b="b"/>
            <a:pathLst>
              <a:path w="1137044" h="1137044" extrusionOk="0">
                <a:moveTo>
                  <a:pt x="0" y="0"/>
                </a:moveTo>
                <a:lnTo>
                  <a:pt x="1137044" y="0"/>
                </a:lnTo>
                <a:lnTo>
                  <a:pt x="1137044" y="1137044"/>
                </a:lnTo>
                <a:lnTo>
                  <a:pt x="0" y="1137044"/>
                </a:lnTo>
                <a:lnTo>
                  <a:pt x="0" y="0"/>
                </a:lnTo>
                <a:close/>
              </a:path>
            </a:pathLst>
          </a:custGeom>
          <a:blipFill rotWithShape="1">
            <a:blip r:embed="rId4">
              <a:alphaModFix/>
            </a:blip>
            <a:stretch>
              <a:fillRect/>
            </a:stretch>
          </a:blipFill>
          <a:ln>
            <a:noFill/>
          </a:ln>
        </p:spPr>
      </p:sp>
      <p:sp>
        <p:nvSpPr>
          <p:cNvPr id="98" name="Google Shape;98;p9"/>
          <p:cNvSpPr txBox="1">
            <a:spLocks noGrp="1"/>
          </p:cNvSpPr>
          <p:nvPr>
            <p:ph type="title"/>
          </p:nvPr>
        </p:nvSpPr>
        <p:spPr>
          <a:xfrm>
            <a:off x="12324900" y="1630350"/>
            <a:ext cx="9067800" cy="3132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7200"/>
              <a:buFont typeface="Montserrat Black"/>
              <a:buNone/>
              <a:defRPr sz="7200">
                <a:solidFill>
                  <a:srgbClr val="002A44"/>
                </a:solidFill>
                <a:latin typeface="Montserrat Black"/>
                <a:ea typeface="Montserrat Black"/>
                <a:cs typeface="Montserrat Black"/>
                <a:sym typeface="Montserrat Black"/>
              </a:defRPr>
            </a:lvl1pPr>
            <a:lvl2pPr lvl="1" rtl="0">
              <a:spcBef>
                <a:spcPts val="0"/>
              </a:spcBef>
              <a:spcAft>
                <a:spcPts val="0"/>
              </a:spcAft>
              <a:buSzPts val="7200"/>
              <a:buNone/>
              <a:defRPr sz="7200"/>
            </a:lvl2pPr>
            <a:lvl3pPr lvl="2" rtl="0">
              <a:spcBef>
                <a:spcPts val="0"/>
              </a:spcBef>
              <a:spcAft>
                <a:spcPts val="0"/>
              </a:spcAft>
              <a:buSzPts val="7200"/>
              <a:buNone/>
              <a:defRPr sz="7200"/>
            </a:lvl3pPr>
            <a:lvl4pPr lvl="3" rtl="0">
              <a:spcBef>
                <a:spcPts val="0"/>
              </a:spcBef>
              <a:spcAft>
                <a:spcPts val="0"/>
              </a:spcAft>
              <a:buSzPts val="7200"/>
              <a:buNone/>
              <a:defRPr sz="7200"/>
            </a:lvl4pPr>
            <a:lvl5pPr lvl="4" rtl="0">
              <a:spcBef>
                <a:spcPts val="0"/>
              </a:spcBef>
              <a:spcAft>
                <a:spcPts val="0"/>
              </a:spcAft>
              <a:buSzPts val="7200"/>
              <a:buNone/>
              <a:defRPr sz="7200"/>
            </a:lvl5pPr>
            <a:lvl6pPr lvl="5" rtl="0">
              <a:spcBef>
                <a:spcPts val="0"/>
              </a:spcBef>
              <a:spcAft>
                <a:spcPts val="0"/>
              </a:spcAft>
              <a:buSzPts val="7200"/>
              <a:buNone/>
              <a:defRPr sz="7200"/>
            </a:lvl6pPr>
            <a:lvl7pPr lvl="6" rtl="0">
              <a:spcBef>
                <a:spcPts val="0"/>
              </a:spcBef>
              <a:spcAft>
                <a:spcPts val="0"/>
              </a:spcAft>
              <a:buSzPts val="7200"/>
              <a:buNone/>
              <a:defRPr sz="7200"/>
            </a:lvl7pPr>
            <a:lvl8pPr lvl="7" rtl="0">
              <a:spcBef>
                <a:spcPts val="0"/>
              </a:spcBef>
              <a:spcAft>
                <a:spcPts val="0"/>
              </a:spcAft>
              <a:buSzPts val="7200"/>
              <a:buNone/>
              <a:defRPr sz="7200"/>
            </a:lvl8pPr>
            <a:lvl9pPr lvl="8" rtl="0">
              <a:spcBef>
                <a:spcPts val="0"/>
              </a:spcBef>
              <a:spcAft>
                <a:spcPts val="0"/>
              </a:spcAft>
              <a:buSzPts val="7200"/>
              <a:buNone/>
              <a:defRPr sz="7200"/>
            </a:lvl9pPr>
          </a:lstStyle>
          <a:p>
            <a:endParaRPr/>
          </a:p>
        </p:txBody>
      </p:sp>
      <p:sp>
        <p:nvSpPr>
          <p:cNvPr id="99" name="Google Shape;99;p9"/>
          <p:cNvSpPr txBox="1">
            <a:spLocks noGrp="1"/>
          </p:cNvSpPr>
          <p:nvPr>
            <p:ph type="subTitle" idx="1"/>
          </p:nvPr>
        </p:nvSpPr>
        <p:spPr>
          <a:xfrm>
            <a:off x="12381925" y="5041700"/>
            <a:ext cx="9877800" cy="5583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3600"/>
              <a:buFont typeface="Montserrat"/>
              <a:buNone/>
              <a:defRPr sz="3600">
                <a:solidFill>
                  <a:srgbClr val="002A44"/>
                </a:solidFill>
                <a:latin typeface="Montserrat"/>
                <a:ea typeface="Montserrat"/>
                <a:cs typeface="Montserrat"/>
                <a:sym typeface="Montserrat"/>
              </a:defRPr>
            </a:lvl1pPr>
            <a:lvl2pPr lvl="1" rtl="0">
              <a:spcBef>
                <a:spcPts val="0"/>
              </a:spcBef>
              <a:spcAft>
                <a:spcPts val="0"/>
              </a:spcAft>
              <a:buSzPts val="3600"/>
              <a:buNone/>
              <a:defRPr sz="3600"/>
            </a:lvl2pPr>
            <a:lvl3pPr lvl="2" rtl="0">
              <a:spcBef>
                <a:spcPts val="0"/>
              </a:spcBef>
              <a:spcAft>
                <a:spcPts val="0"/>
              </a:spcAft>
              <a:buSzPts val="3600"/>
              <a:buNone/>
              <a:defRPr sz="3600"/>
            </a:lvl3pPr>
            <a:lvl4pPr lvl="3" rtl="0">
              <a:spcBef>
                <a:spcPts val="0"/>
              </a:spcBef>
              <a:spcAft>
                <a:spcPts val="0"/>
              </a:spcAft>
              <a:buSzPts val="3600"/>
              <a:buNone/>
              <a:defRPr sz="3600"/>
            </a:lvl4pPr>
            <a:lvl5pPr lvl="4" rtl="0">
              <a:spcBef>
                <a:spcPts val="0"/>
              </a:spcBef>
              <a:spcAft>
                <a:spcPts val="0"/>
              </a:spcAft>
              <a:buSzPts val="3600"/>
              <a:buNone/>
              <a:defRPr sz="3600"/>
            </a:lvl5pPr>
            <a:lvl6pPr lvl="5" rtl="0">
              <a:spcBef>
                <a:spcPts val="0"/>
              </a:spcBef>
              <a:spcAft>
                <a:spcPts val="0"/>
              </a:spcAft>
              <a:buSzPts val="3600"/>
              <a:buNone/>
              <a:defRPr sz="3600"/>
            </a:lvl6pPr>
            <a:lvl7pPr lvl="6" rtl="0">
              <a:spcBef>
                <a:spcPts val="0"/>
              </a:spcBef>
              <a:spcAft>
                <a:spcPts val="0"/>
              </a:spcAft>
              <a:buSzPts val="3600"/>
              <a:buNone/>
              <a:defRPr sz="3600"/>
            </a:lvl7pPr>
            <a:lvl8pPr lvl="7" rtl="0">
              <a:spcBef>
                <a:spcPts val="0"/>
              </a:spcBef>
              <a:spcAft>
                <a:spcPts val="0"/>
              </a:spcAft>
              <a:buSzPts val="3600"/>
              <a:buNone/>
              <a:defRPr sz="3600"/>
            </a:lvl8pPr>
            <a:lvl9pPr lvl="8" rtl="0">
              <a:spcBef>
                <a:spcPts val="0"/>
              </a:spcBef>
              <a:spcAft>
                <a:spcPts val="0"/>
              </a:spcAft>
              <a:buSzPts val="3600"/>
              <a:buNone/>
              <a:defRPr sz="3600"/>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ig Idea w/ large image">
  <p:cSld name="Big Idea w/ large image">
    <p:spTree>
      <p:nvGrpSpPr>
        <p:cNvPr id="1" name="Shape 100"/>
        <p:cNvGrpSpPr/>
        <p:nvPr/>
      </p:nvGrpSpPr>
      <p:grpSpPr>
        <a:xfrm>
          <a:off x="0" y="0"/>
          <a:ext cx="0" cy="0"/>
          <a:chOff x="0" y="0"/>
          <a:chExt cx="0" cy="0"/>
        </a:xfrm>
      </p:grpSpPr>
      <p:pic>
        <p:nvPicPr>
          <p:cNvPr id="101" name="Google Shape;101;p10"/>
          <p:cNvPicPr preferRelativeResize="0"/>
          <p:nvPr/>
        </p:nvPicPr>
        <p:blipFill rotWithShape="1">
          <a:blip r:embed="rId2">
            <a:alphaModFix/>
          </a:blip>
          <a:srcRect l="6664" r="6664"/>
          <a:stretch/>
        </p:blipFill>
        <p:spPr>
          <a:xfrm>
            <a:off x="11034175" y="-76200"/>
            <a:ext cx="13552626" cy="13792199"/>
          </a:xfrm>
          <a:prstGeom prst="rect">
            <a:avLst/>
          </a:prstGeom>
          <a:noFill/>
          <a:ln>
            <a:noFill/>
          </a:ln>
        </p:spPr>
      </p:pic>
      <p:pic>
        <p:nvPicPr>
          <p:cNvPr id="102" name="Google Shape;102;p10"/>
          <p:cNvPicPr preferRelativeResize="0"/>
          <p:nvPr/>
        </p:nvPicPr>
        <p:blipFill rotWithShape="1">
          <a:blip r:embed="rId3">
            <a:alphaModFix/>
          </a:blip>
          <a:srcRect/>
          <a:stretch/>
        </p:blipFill>
        <p:spPr>
          <a:xfrm>
            <a:off x="-1485893" y="0"/>
            <a:ext cx="16740388" cy="13716001"/>
          </a:xfrm>
          <a:prstGeom prst="rect">
            <a:avLst/>
          </a:prstGeom>
          <a:noFill/>
          <a:ln>
            <a:noFill/>
          </a:ln>
        </p:spPr>
      </p:pic>
      <p:sp>
        <p:nvSpPr>
          <p:cNvPr id="103" name="Google Shape;103;p10"/>
          <p:cNvSpPr/>
          <p:nvPr/>
        </p:nvSpPr>
        <p:spPr>
          <a:xfrm>
            <a:off x="22412037" y="536597"/>
            <a:ext cx="1515111" cy="1515111"/>
          </a:xfrm>
          <a:custGeom>
            <a:avLst/>
            <a:gdLst/>
            <a:ahLst/>
            <a:cxnLst/>
            <a:rect l="l" t="t" r="r" b="b"/>
            <a:pathLst>
              <a:path w="1137044" h="1137044" extrusionOk="0">
                <a:moveTo>
                  <a:pt x="0" y="0"/>
                </a:moveTo>
                <a:lnTo>
                  <a:pt x="1137044" y="0"/>
                </a:lnTo>
                <a:lnTo>
                  <a:pt x="1137044" y="1137044"/>
                </a:lnTo>
                <a:lnTo>
                  <a:pt x="0" y="1137044"/>
                </a:lnTo>
                <a:lnTo>
                  <a:pt x="0" y="0"/>
                </a:lnTo>
                <a:close/>
              </a:path>
            </a:pathLst>
          </a:custGeom>
          <a:blipFill rotWithShape="1">
            <a:blip r:embed="rId4">
              <a:alphaModFix/>
            </a:blip>
            <a:stretch>
              <a:fillRect/>
            </a:stretch>
          </a:blipFill>
          <a:ln>
            <a:noFill/>
          </a:ln>
        </p:spPr>
      </p:sp>
      <p:sp>
        <p:nvSpPr>
          <p:cNvPr id="104" name="Google Shape;104;p10"/>
          <p:cNvSpPr txBox="1">
            <a:spLocks noGrp="1"/>
          </p:cNvSpPr>
          <p:nvPr>
            <p:ph type="title"/>
          </p:nvPr>
        </p:nvSpPr>
        <p:spPr>
          <a:xfrm>
            <a:off x="1578925" y="4049700"/>
            <a:ext cx="9129600" cy="73068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002A44"/>
              </a:buClr>
              <a:buSzPts val="8400"/>
              <a:buFont typeface="Montserrat Black"/>
              <a:buNone/>
              <a:defRPr sz="8400">
                <a:solidFill>
                  <a:srgbClr val="002A44"/>
                </a:solidFill>
                <a:latin typeface="Montserrat Black"/>
                <a:ea typeface="Montserrat Black"/>
                <a:cs typeface="Montserrat Black"/>
                <a:sym typeface="Montserrat Black"/>
              </a:defRPr>
            </a:lvl1pPr>
            <a:lvl2pPr lvl="1" rtl="0">
              <a:spcBef>
                <a:spcPts val="0"/>
              </a:spcBef>
              <a:spcAft>
                <a:spcPts val="0"/>
              </a:spcAft>
              <a:buSzPts val="8400"/>
              <a:buNone/>
              <a:defRPr sz="8400"/>
            </a:lvl2pPr>
            <a:lvl3pPr lvl="2" rtl="0">
              <a:spcBef>
                <a:spcPts val="0"/>
              </a:spcBef>
              <a:spcAft>
                <a:spcPts val="0"/>
              </a:spcAft>
              <a:buSzPts val="8400"/>
              <a:buNone/>
              <a:defRPr sz="8400"/>
            </a:lvl3pPr>
            <a:lvl4pPr lvl="3" rtl="0">
              <a:spcBef>
                <a:spcPts val="0"/>
              </a:spcBef>
              <a:spcAft>
                <a:spcPts val="0"/>
              </a:spcAft>
              <a:buSzPts val="8400"/>
              <a:buNone/>
              <a:defRPr sz="8400"/>
            </a:lvl4pPr>
            <a:lvl5pPr lvl="4" rtl="0">
              <a:spcBef>
                <a:spcPts val="0"/>
              </a:spcBef>
              <a:spcAft>
                <a:spcPts val="0"/>
              </a:spcAft>
              <a:buSzPts val="8400"/>
              <a:buNone/>
              <a:defRPr sz="8400"/>
            </a:lvl5pPr>
            <a:lvl6pPr lvl="5" rtl="0">
              <a:spcBef>
                <a:spcPts val="0"/>
              </a:spcBef>
              <a:spcAft>
                <a:spcPts val="0"/>
              </a:spcAft>
              <a:buSzPts val="8400"/>
              <a:buNone/>
              <a:defRPr sz="8400"/>
            </a:lvl6pPr>
            <a:lvl7pPr lvl="6" rtl="0">
              <a:spcBef>
                <a:spcPts val="0"/>
              </a:spcBef>
              <a:spcAft>
                <a:spcPts val="0"/>
              </a:spcAft>
              <a:buSzPts val="8400"/>
              <a:buNone/>
              <a:defRPr sz="8400"/>
            </a:lvl7pPr>
            <a:lvl8pPr lvl="7" rtl="0">
              <a:spcBef>
                <a:spcPts val="0"/>
              </a:spcBef>
              <a:spcAft>
                <a:spcPts val="0"/>
              </a:spcAft>
              <a:buSzPts val="8400"/>
              <a:buNone/>
              <a:defRPr sz="8400"/>
            </a:lvl8pPr>
            <a:lvl9pPr lvl="8" rtl="0">
              <a:spcBef>
                <a:spcPts val="0"/>
              </a:spcBef>
              <a:spcAft>
                <a:spcPts val="0"/>
              </a:spcAft>
              <a:buSzPts val="8400"/>
              <a:buNone/>
              <a:defRPr sz="8400"/>
            </a:lvl9pPr>
          </a:lstStyle>
          <a:p>
            <a:endParaRPr/>
          </a:p>
        </p:txBody>
      </p:sp>
      <p:sp>
        <p:nvSpPr>
          <p:cNvPr id="105" name="Google Shape;105;p10"/>
          <p:cNvSpPr txBox="1"/>
          <p:nvPr/>
        </p:nvSpPr>
        <p:spPr>
          <a:xfrm>
            <a:off x="1675825" y="2964575"/>
            <a:ext cx="4351200" cy="615600"/>
          </a:xfrm>
          <a:prstGeom prst="rect">
            <a:avLst/>
          </a:prstGeom>
          <a:solidFill>
            <a:srgbClr val="C1F400"/>
          </a:solidFill>
          <a:ln>
            <a:noFill/>
          </a:ln>
        </p:spPr>
        <p:txBody>
          <a:bodyPr spcFirstLastPara="1" wrap="square" lIns="91425" tIns="91425" rIns="91425" bIns="91425" anchor="t" anchorCtr="0">
            <a:spAutoFit/>
          </a:bodyPr>
          <a:lstStyle/>
          <a:p>
            <a:pPr marL="457200" lvl="0" indent="0" algn="l" rtl="0">
              <a:lnSpc>
                <a:spcPct val="115000"/>
              </a:lnSpc>
              <a:spcBef>
                <a:spcPts val="0"/>
              </a:spcBef>
              <a:spcAft>
                <a:spcPts val="0"/>
              </a:spcAft>
              <a:buNone/>
            </a:pPr>
            <a:endParaRPr sz="2800">
              <a:solidFill>
                <a:srgbClr val="002A44"/>
              </a:solidFill>
              <a:latin typeface="Montserrat Black"/>
              <a:ea typeface="Montserrat Black"/>
              <a:cs typeface="Montserrat Black"/>
              <a:sym typeface="Montserrat Black"/>
            </a:endParaRPr>
          </a:p>
        </p:txBody>
      </p:sp>
      <p:sp>
        <p:nvSpPr>
          <p:cNvPr id="106" name="Google Shape;106;p10"/>
          <p:cNvSpPr txBox="1">
            <a:spLocks noGrp="1"/>
          </p:cNvSpPr>
          <p:nvPr>
            <p:ph type="subTitle" idx="1"/>
          </p:nvPr>
        </p:nvSpPr>
        <p:spPr>
          <a:xfrm>
            <a:off x="1783925" y="2631700"/>
            <a:ext cx="7136400" cy="12405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1pPr>
            <a:lvl2pPr lvl="1"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2pPr>
            <a:lvl3pPr lvl="2"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3pPr>
            <a:lvl4pPr lvl="3"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4pPr>
            <a:lvl5pPr lvl="4"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5pPr>
            <a:lvl6pPr lvl="5"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6pPr>
            <a:lvl7pPr lvl="6"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7pPr>
            <a:lvl8pPr lvl="7"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8pPr>
            <a:lvl9pPr lvl="8" rtl="0">
              <a:spcBef>
                <a:spcPts val="0"/>
              </a:spcBef>
              <a:spcAft>
                <a:spcPts val="0"/>
              </a:spcAft>
              <a:buClr>
                <a:srgbClr val="002A44"/>
              </a:buClr>
              <a:buSzPts val="2400"/>
              <a:buFont typeface="Montserrat Black"/>
              <a:buNone/>
              <a:defRPr sz="2400">
                <a:solidFill>
                  <a:srgbClr val="002A44"/>
                </a:solidFill>
                <a:latin typeface="Montserrat Black"/>
                <a:ea typeface="Montserrat Black"/>
                <a:cs typeface="Montserrat Black"/>
                <a:sym typeface="Montserrat Black"/>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34" Type="http://schemas.openxmlformats.org/officeDocument/2006/relationships/tags" Target="../tags/tag3.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theme" Target="../theme/theme2.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image" Target="../media/image1.emf"/><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oleObject" Target="../embeddings/oleObject2.bin"/><Relationship Id="rId8"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oleObject" Target="../embeddings/oleObject3.bin"/><Relationship Id="rId5" Type="http://schemas.openxmlformats.org/officeDocument/2006/relationships/tags" Target="../tags/tag5.xml"/><Relationship Id="rId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63.xml"/><Relationship Id="rId7" Type="http://schemas.openxmlformats.org/officeDocument/2006/relationships/theme" Target="../theme/theme4.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image" Target="../media/image1.emf"/><Relationship Id="rId5" Type="http://schemas.openxmlformats.org/officeDocument/2006/relationships/slideLayout" Target="../slideLayouts/slideLayout65.xml"/><Relationship Id="rId10" Type="http://schemas.openxmlformats.org/officeDocument/2006/relationships/oleObject" Target="../embeddings/oleObject4.bin"/><Relationship Id="rId4" Type="http://schemas.openxmlformats.org/officeDocument/2006/relationships/slideLayout" Target="../slideLayouts/slideLayout64.xml"/><Relationship Id="rId9" Type="http://schemas.openxmlformats.org/officeDocument/2006/relationships/tags" Target="../tags/tag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582C9CB-1B71-3355-89E5-1BECA0FFF1B6}"/>
              </a:ext>
            </a:extLst>
          </p:cNvPr>
          <p:cNvGraphicFramePr>
            <a:graphicFrameLocks noChangeAspect="1"/>
          </p:cNvGraphicFramePr>
          <p:nvPr userDrawn="1">
            <p:custDataLst>
              <p:tags r:id="rId28"/>
            </p:custDataLst>
            <p:extLst>
              <p:ext uri="{D42A27DB-BD31-4B8C-83A1-F6EECF244321}">
                <p14:modId xmlns:p14="http://schemas.microsoft.com/office/powerpoint/2010/main" val="4146637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592" imgH="591" progId="TCLayout.ActiveDocument.1">
                  <p:embed/>
                </p:oleObj>
              </mc:Choice>
              <mc:Fallback>
                <p:oleObj name="think-cell Slide" r:id="rId29" imgW="592" imgH="591" progId="TCLayout.ActiveDocument.1">
                  <p:embed/>
                  <p:pic>
                    <p:nvPicPr>
                      <p:cNvPr id="2" name="think-cell data - do not delete" hidden="1">
                        <a:extLst>
                          <a:ext uri="{FF2B5EF4-FFF2-40B4-BE49-F238E27FC236}">
                            <a16:creationId xmlns:a16="http://schemas.microsoft.com/office/drawing/2014/main" id="{6582C9CB-1B71-3355-89E5-1BECA0FFF1B6}"/>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10" name="Google Shape;10;p1"/>
          <p:cNvSpPr txBox="1">
            <a:spLocks noGrp="1"/>
          </p:cNvSpPr>
          <p:nvPr>
            <p:ph type="dt" idx="10"/>
          </p:nvPr>
        </p:nvSpPr>
        <p:spPr>
          <a:xfrm>
            <a:off x="454025" y="12512040"/>
            <a:ext cx="1981200" cy="73025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2400" b="0" i="0" u="none" strike="noStrike" cap="none">
                <a:solidFill>
                  <a:srgbClr val="888888"/>
                </a:solidFill>
                <a:latin typeface="Century Gothic"/>
                <a:ea typeface="Century Gothic"/>
                <a:cs typeface="Century Gothic"/>
                <a:sym typeface="Century Gothic"/>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1" name="Google Shape;11;p1"/>
          <p:cNvSpPr txBox="1">
            <a:spLocks noGrp="1"/>
          </p:cNvSpPr>
          <p:nvPr>
            <p:ph type="ftr" idx="11"/>
          </p:nvPr>
        </p:nvSpPr>
        <p:spPr>
          <a:xfrm>
            <a:off x="3044825" y="12512040"/>
            <a:ext cx="19559337" cy="730250"/>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2400" b="0" i="0" u="none" strike="noStrike" cap="none">
                <a:solidFill>
                  <a:srgbClr val="888888"/>
                </a:solidFill>
                <a:latin typeface="Century Gothic"/>
                <a:ea typeface="Century Gothic"/>
                <a:cs typeface="Century Gothic"/>
                <a:sym typeface="Century Gothic"/>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a:spLocks noGrp="1"/>
          </p:cNvSpPr>
          <p:nvPr>
            <p:ph type="sldNum" idx="12"/>
          </p:nvPr>
        </p:nvSpPr>
        <p:spPr>
          <a:xfrm>
            <a:off x="23009225" y="12420600"/>
            <a:ext cx="1005840" cy="1005840"/>
          </a:xfrm>
          <a:prstGeom prst="ellipse">
            <a:avLst/>
          </a:prstGeom>
          <a:solidFill>
            <a:schemeClr val="lt1"/>
          </a:solidFill>
          <a:ln>
            <a:noFill/>
          </a:ln>
        </p:spPr>
        <p:txBody>
          <a:bodyPr spcFirstLastPara="1" wrap="square" lIns="91425" tIns="45700" rIns="91425" bIns="45700" anchor="ctr" anchorCtr="0">
            <a:noAutofit/>
          </a:bodyPr>
          <a:lstStyle>
            <a:lvl1pPr marL="0" marR="0" lvl="0" indent="0" algn="ctr" rtl="0">
              <a:spcBef>
                <a:spcPts val="0"/>
              </a:spcBef>
              <a:buNone/>
              <a:defRPr sz="2400" b="0" i="0" u="none" strike="noStrike" cap="none">
                <a:solidFill>
                  <a:srgbClr val="888888"/>
                </a:solidFill>
                <a:latin typeface="Century Gothic"/>
                <a:ea typeface="Century Gothic"/>
                <a:cs typeface="Century Gothic"/>
                <a:sym typeface="Century Gothic"/>
              </a:defRPr>
            </a:lvl1pPr>
            <a:lvl2pPr marL="0" marR="0" lvl="1" indent="0" algn="ctr" rtl="0">
              <a:spcBef>
                <a:spcPts val="0"/>
              </a:spcBef>
              <a:buNone/>
              <a:defRPr sz="2400" b="0" i="0" u="none" strike="noStrike" cap="none">
                <a:solidFill>
                  <a:srgbClr val="888888"/>
                </a:solidFill>
                <a:latin typeface="Century Gothic"/>
                <a:ea typeface="Century Gothic"/>
                <a:cs typeface="Century Gothic"/>
                <a:sym typeface="Century Gothic"/>
              </a:defRPr>
            </a:lvl2pPr>
            <a:lvl3pPr marL="0" marR="0" lvl="2" indent="0" algn="ctr" rtl="0">
              <a:spcBef>
                <a:spcPts val="0"/>
              </a:spcBef>
              <a:buNone/>
              <a:defRPr sz="2400" b="0" i="0" u="none" strike="noStrike" cap="none">
                <a:solidFill>
                  <a:srgbClr val="888888"/>
                </a:solidFill>
                <a:latin typeface="Century Gothic"/>
                <a:ea typeface="Century Gothic"/>
                <a:cs typeface="Century Gothic"/>
                <a:sym typeface="Century Gothic"/>
              </a:defRPr>
            </a:lvl3pPr>
            <a:lvl4pPr marL="0" marR="0" lvl="3" indent="0" algn="ctr" rtl="0">
              <a:spcBef>
                <a:spcPts val="0"/>
              </a:spcBef>
              <a:buNone/>
              <a:defRPr sz="2400" b="0" i="0" u="none" strike="noStrike" cap="none">
                <a:solidFill>
                  <a:srgbClr val="888888"/>
                </a:solidFill>
                <a:latin typeface="Century Gothic"/>
                <a:ea typeface="Century Gothic"/>
                <a:cs typeface="Century Gothic"/>
                <a:sym typeface="Century Gothic"/>
              </a:defRPr>
            </a:lvl4pPr>
            <a:lvl5pPr marL="0" marR="0" lvl="4" indent="0" algn="ctr" rtl="0">
              <a:spcBef>
                <a:spcPts val="0"/>
              </a:spcBef>
              <a:buNone/>
              <a:defRPr sz="2400" b="0" i="0" u="none" strike="noStrike" cap="none">
                <a:solidFill>
                  <a:srgbClr val="888888"/>
                </a:solidFill>
                <a:latin typeface="Century Gothic"/>
                <a:ea typeface="Century Gothic"/>
                <a:cs typeface="Century Gothic"/>
                <a:sym typeface="Century Gothic"/>
              </a:defRPr>
            </a:lvl5pPr>
            <a:lvl6pPr marL="0" marR="0" lvl="5" indent="0" algn="ctr" rtl="0">
              <a:spcBef>
                <a:spcPts val="0"/>
              </a:spcBef>
              <a:buNone/>
              <a:defRPr sz="2400" b="0" i="0" u="none" strike="noStrike" cap="none">
                <a:solidFill>
                  <a:srgbClr val="888888"/>
                </a:solidFill>
                <a:latin typeface="Century Gothic"/>
                <a:ea typeface="Century Gothic"/>
                <a:cs typeface="Century Gothic"/>
                <a:sym typeface="Century Gothic"/>
              </a:defRPr>
            </a:lvl6pPr>
            <a:lvl7pPr marL="0" marR="0" lvl="6" indent="0" algn="ctr" rtl="0">
              <a:spcBef>
                <a:spcPts val="0"/>
              </a:spcBef>
              <a:buNone/>
              <a:defRPr sz="2400" b="0" i="0" u="none" strike="noStrike" cap="none">
                <a:solidFill>
                  <a:srgbClr val="888888"/>
                </a:solidFill>
                <a:latin typeface="Century Gothic"/>
                <a:ea typeface="Century Gothic"/>
                <a:cs typeface="Century Gothic"/>
                <a:sym typeface="Century Gothic"/>
              </a:defRPr>
            </a:lvl7pPr>
            <a:lvl8pPr marL="0" marR="0" lvl="7" indent="0" algn="ctr" rtl="0">
              <a:spcBef>
                <a:spcPts val="0"/>
              </a:spcBef>
              <a:buNone/>
              <a:defRPr sz="2400" b="0" i="0" u="none" strike="noStrike" cap="none">
                <a:solidFill>
                  <a:srgbClr val="888888"/>
                </a:solidFill>
                <a:latin typeface="Century Gothic"/>
                <a:ea typeface="Century Gothic"/>
                <a:cs typeface="Century Gothic"/>
                <a:sym typeface="Century Gothic"/>
              </a:defRPr>
            </a:lvl8pPr>
            <a:lvl9pPr marL="0" marR="0" lvl="8" indent="0" algn="ctr" rtl="0">
              <a:spcBef>
                <a:spcPts val="0"/>
              </a:spcBef>
              <a:buNone/>
              <a:defRPr sz="2400" b="0" i="0" u="none" strike="noStrike" cap="none">
                <a:solidFill>
                  <a:srgbClr val="888888"/>
                </a:solidFill>
                <a:latin typeface="Century Gothic"/>
                <a:ea typeface="Century Gothic"/>
                <a:cs typeface="Century Gothic"/>
                <a:sym typeface="Century Gothic"/>
              </a:defRPr>
            </a:lvl9pPr>
          </a:lstStyle>
          <a:p>
            <a:pPr marL="0" lvl="0" indent="0" algn="ct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61" r:id="rId12"/>
    <p:sldLayoutId id="2147483662" r:id="rId13"/>
    <p:sldLayoutId id="2147483663" r:id="rId14"/>
    <p:sldLayoutId id="2147483665" r:id="rId15"/>
    <p:sldLayoutId id="2147483666" r:id="rId16"/>
    <p:sldLayoutId id="2147483667" r:id="rId17"/>
    <p:sldLayoutId id="2147483668" r:id="rId18"/>
    <p:sldLayoutId id="2147483669" r:id="rId19"/>
    <p:sldLayoutId id="2147483671" r:id="rId20"/>
    <p:sldLayoutId id="2147483672" r:id="rId21"/>
    <p:sldLayoutId id="2147483673" r:id="rId22"/>
    <p:sldLayoutId id="2147483674" r:id="rId23"/>
    <p:sldLayoutId id="2147483675" r:id="rId24"/>
    <p:sldLayoutId id="2147484298" r:id="rId25"/>
    <p:sldLayoutId id="2147484307" r:id="rId26"/>
  </p:sldLayoutIdLst>
  <p:transition spd="slow">
    <p:push/>
  </p:transition>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9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A16CB0F-FC63-938C-AC04-0565CC18620E}"/>
              </a:ext>
            </a:extLst>
          </p:cNvPr>
          <p:cNvGraphicFramePr>
            <a:graphicFrameLocks noChangeAspect="1"/>
          </p:cNvGraphicFramePr>
          <p:nvPr userDrawn="1">
            <p:custDataLst>
              <p:tags r:id="rId34"/>
            </p:custDataLst>
            <p:extLst>
              <p:ext uri="{D42A27DB-BD31-4B8C-83A1-F6EECF244321}">
                <p14:modId xmlns:p14="http://schemas.microsoft.com/office/powerpoint/2010/main" val="191359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592" imgH="591" progId="TCLayout.ActiveDocument.1">
                  <p:embed/>
                </p:oleObj>
              </mc:Choice>
              <mc:Fallback>
                <p:oleObj name="think-cell Slide" r:id="rId35" imgW="592" imgH="591" progId="TCLayout.ActiveDocument.1">
                  <p:embed/>
                  <p:pic>
                    <p:nvPicPr>
                      <p:cNvPr id="2" name="think-cell data - do not delete" hidden="1">
                        <a:extLst>
                          <a:ext uri="{FF2B5EF4-FFF2-40B4-BE49-F238E27FC236}">
                            <a16:creationId xmlns:a16="http://schemas.microsoft.com/office/drawing/2014/main" id="{5A16CB0F-FC63-938C-AC04-0565CC18620E}"/>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400" name="Google Shape;400;p30"/>
          <p:cNvSpPr txBox="1">
            <a:spLocks noGrp="1"/>
          </p:cNvSpPr>
          <p:nvPr>
            <p:ph type="dt" idx="10"/>
          </p:nvPr>
        </p:nvSpPr>
        <p:spPr>
          <a:xfrm>
            <a:off x="454025" y="12512040"/>
            <a:ext cx="1981200" cy="73020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2400" b="0" i="0" u="none" strike="noStrike" cap="none">
                <a:solidFill>
                  <a:srgbClr val="888888"/>
                </a:solidFill>
                <a:latin typeface="Century Gothic"/>
                <a:ea typeface="Century Gothic"/>
                <a:cs typeface="Century Gothic"/>
                <a:sym typeface="Century Gothic"/>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01" name="Google Shape;401;p30"/>
          <p:cNvSpPr txBox="1">
            <a:spLocks noGrp="1"/>
          </p:cNvSpPr>
          <p:nvPr>
            <p:ph type="ftr" idx="11"/>
          </p:nvPr>
        </p:nvSpPr>
        <p:spPr>
          <a:xfrm>
            <a:off x="3044825" y="12512040"/>
            <a:ext cx="19559400" cy="730200"/>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2400" b="0" i="0" u="none" strike="noStrike" cap="none">
                <a:solidFill>
                  <a:srgbClr val="888888"/>
                </a:solidFill>
                <a:latin typeface="Century Gothic"/>
                <a:ea typeface="Century Gothic"/>
                <a:cs typeface="Century Gothic"/>
                <a:sym typeface="Century Gothic"/>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02" name="Google Shape;402;p30"/>
          <p:cNvSpPr>
            <a:spLocks noGrp="1"/>
          </p:cNvSpPr>
          <p:nvPr>
            <p:ph type="sldNum" idx="12"/>
          </p:nvPr>
        </p:nvSpPr>
        <p:spPr>
          <a:xfrm>
            <a:off x="23009225" y="12420600"/>
            <a:ext cx="1005900" cy="1005900"/>
          </a:xfrm>
          <a:prstGeom prst="ellipse">
            <a:avLst/>
          </a:prstGeom>
          <a:solidFill>
            <a:schemeClr val="lt1"/>
          </a:solidFill>
          <a:ln>
            <a:noFill/>
          </a:ln>
        </p:spPr>
        <p:txBody>
          <a:bodyPr spcFirstLastPara="1" wrap="square" lIns="91425" tIns="45700" rIns="91425" bIns="45700" anchor="ctr" anchorCtr="0">
            <a:noAutofit/>
          </a:bodyPr>
          <a:lstStyle>
            <a:lvl1pPr marL="0" marR="0" lvl="0" indent="0" algn="ctr" rtl="0">
              <a:spcBef>
                <a:spcPts val="0"/>
              </a:spcBef>
              <a:buNone/>
              <a:defRPr sz="2400" b="0" i="0" u="none" strike="noStrike" cap="none">
                <a:solidFill>
                  <a:srgbClr val="888888"/>
                </a:solidFill>
                <a:latin typeface="Century Gothic"/>
                <a:ea typeface="Century Gothic"/>
                <a:cs typeface="Century Gothic"/>
                <a:sym typeface="Century Gothic"/>
              </a:defRPr>
            </a:lvl1pPr>
            <a:lvl2pPr marL="0" marR="0" lvl="1" indent="0" algn="ctr" rtl="0">
              <a:spcBef>
                <a:spcPts val="0"/>
              </a:spcBef>
              <a:buNone/>
              <a:defRPr sz="2400" b="0" i="0" u="none" strike="noStrike" cap="none">
                <a:solidFill>
                  <a:srgbClr val="888888"/>
                </a:solidFill>
                <a:latin typeface="Century Gothic"/>
                <a:ea typeface="Century Gothic"/>
                <a:cs typeface="Century Gothic"/>
                <a:sym typeface="Century Gothic"/>
              </a:defRPr>
            </a:lvl2pPr>
            <a:lvl3pPr marL="0" marR="0" lvl="2" indent="0" algn="ctr" rtl="0">
              <a:spcBef>
                <a:spcPts val="0"/>
              </a:spcBef>
              <a:buNone/>
              <a:defRPr sz="2400" b="0" i="0" u="none" strike="noStrike" cap="none">
                <a:solidFill>
                  <a:srgbClr val="888888"/>
                </a:solidFill>
                <a:latin typeface="Century Gothic"/>
                <a:ea typeface="Century Gothic"/>
                <a:cs typeface="Century Gothic"/>
                <a:sym typeface="Century Gothic"/>
              </a:defRPr>
            </a:lvl3pPr>
            <a:lvl4pPr marL="0" marR="0" lvl="3" indent="0" algn="ctr" rtl="0">
              <a:spcBef>
                <a:spcPts val="0"/>
              </a:spcBef>
              <a:buNone/>
              <a:defRPr sz="2400" b="0" i="0" u="none" strike="noStrike" cap="none">
                <a:solidFill>
                  <a:srgbClr val="888888"/>
                </a:solidFill>
                <a:latin typeface="Century Gothic"/>
                <a:ea typeface="Century Gothic"/>
                <a:cs typeface="Century Gothic"/>
                <a:sym typeface="Century Gothic"/>
              </a:defRPr>
            </a:lvl4pPr>
            <a:lvl5pPr marL="0" marR="0" lvl="4" indent="0" algn="ctr" rtl="0">
              <a:spcBef>
                <a:spcPts val="0"/>
              </a:spcBef>
              <a:buNone/>
              <a:defRPr sz="2400" b="0" i="0" u="none" strike="noStrike" cap="none">
                <a:solidFill>
                  <a:srgbClr val="888888"/>
                </a:solidFill>
                <a:latin typeface="Century Gothic"/>
                <a:ea typeface="Century Gothic"/>
                <a:cs typeface="Century Gothic"/>
                <a:sym typeface="Century Gothic"/>
              </a:defRPr>
            </a:lvl5pPr>
            <a:lvl6pPr marL="0" marR="0" lvl="5" indent="0" algn="ctr" rtl="0">
              <a:spcBef>
                <a:spcPts val="0"/>
              </a:spcBef>
              <a:buNone/>
              <a:defRPr sz="2400" b="0" i="0" u="none" strike="noStrike" cap="none">
                <a:solidFill>
                  <a:srgbClr val="888888"/>
                </a:solidFill>
                <a:latin typeface="Century Gothic"/>
                <a:ea typeface="Century Gothic"/>
                <a:cs typeface="Century Gothic"/>
                <a:sym typeface="Century Gothic"/>
              </a:defRPr>
            </a:lvl6pPr>
            <a:lvl7pPr marL="0" marR="0" lvl="6" indent="0" algn="ctr" rtl="0">
              <a:spcBef>
                <a:spcPts val="0"/>
              </a:spcBef>
              <a:buNone/>
              <a:defRPr sz="2400" b="0" i="0" u="none" strike="noStrike" cap="none">
                <a:solidFill>
                  <a:srgbClr val="888888"/>
                </a:solidFill>
                <a:latin typeface="Century Gothic"/>
                <a:ea typeface="Century Gothic"/>
                <a:cs typeface="Century Gothic"/>
                <a:sym typeface="Century Gothic"/>
              </a:defRPr>
            </a:lvl7pPr>
            <a:lvl8pPr marL="0" marR="0" lvl="7" indent="0" algn="ctr" rtl="0">
              <a:spcBef>
                <a:spcPts val="0"/>
              </a:spcBef>
              <a:buNone/>
              <a:defRPr sz="2400" b="0" i="0" u="none" strike="noStrike" cap="none">
                <a:solidFill>
                  <a:srgbClr val="888888"/>
                </a:solidFill>
                <a:latin typeface="Century Gothic"/>
                <a:ea typeface="Century Gothic"/>
                <a:cs typeface="Century Gothic"/>
                <a:sym typeface="Century Gothic"/>
              </a:defRPr>
            </a:lvl8pPr>
            <a:lvl9pPr marL="0" marR="0" lvl="8" indent="0" algn="ctr" rtl="0">
              <a:spcBef>
                <a:spcPts val="0"/>
              </a:spcBef>
              <a:buNone/>
              <a:defRPr sz="2400" b="0" i="0" u="none" strike="noStrike" cap="none">
                <a:solidFill>
                  <a:srgbClr val="888888"/>
                </a:solidFill>
                <a:latin typeface="Century Gothic"/>
                <a:ea typeface="Century Gothic"/>
                <a:cs typeface="Century Gothic"/>
                <a:sym typeface="Century Gothic"/>
              </a:defRPr>
            </a:lvl9pPr>
          </a:lstStyle>
          <a:p>
            <a:pPr marL="0" lvl="0" indent="0" algn="ct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 id="2147483699" r:id="rId24"/>
    <p:sldLayoutId id="2147483700" r:id="rId25"/>
    <p:sldLayoutId id="2147483701" r:id="rId26"/>
    <p:sldLayoutId id="2147483702" r:id="rId27"/>
    <p:sldLayoutId id="2147483703" r:id="rId28"/>
    <p:sldLayoutId id="2147483704" r:id="rId29"/>
    <p:sldLayoutId id="2147483705" r:id="rId30"/>
    <p:sldLayoutId id="2147483706" r:id="rId31"/>
    <p:sldLayoutId id="2147483707" r:id="rId32"/>
  </p:sldLayoutIdLst>
  <p:transition spd="slow">
    <p:push/>
  </p:transition>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EF8CE13-6D23-E088-9578-2C1DADBE5825}"/>
              </a:ext>
            </a:extLst>
          </p:cNvPr>
          <p:cNvGraphicFramePr>
            <a:graphicFrameLocks noChangeAspect="1"/>
          </p:cNvGraphicFramePr>
          <p:nvPr userDrawn="1">
            <p:custDataLst>
              <p:tags r:id="rId4"/>
            </p:custDataLst>
            <p:extLst>
              <p:ext uri="{D42A27DB-BD31-4B8C-83A1-F6EECF244321}">
                <p14:modId xmlns:p14="http://schemas.microsoft.com/office/powerpoint/2010/main" val="832071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6" name="think-cell data - do not delete" hidden="1">
                        <a:extLst>
                          <a:ext uri="{FF2B5EF4-FFF2-40B4-BE49-F238E27FC236}">
                            <a16:creationId xmlns:a16="http://schemas.microsoft.com/office/drawing/2014/main" id="{4EF8CE13-6D23-E088-9578-2C1DADBE582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1990210" y="863600"/>
            <a:ext cx="20403585" cy="10668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1990207" y="2660650"/>
            <a:ext cx="20396053" cy="90932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Shape 8"/>
          <p:cNvSpPr txBox="1">
            <a:spLocks/>
          </p:cNvSpPr>
          <p:nvPr userDrawn="1"/>
        </p:nvSpPr>
        <p:spPr>
          <a:xfrm>
            <a:off x="21887512" y="12533994"/>
            <a:ext cx="484846" cy="298824"/>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800" smtClean="0">
                <a:solidFill>
                  <a:schemeClr val="accent2"/>
                </a:solidFill>
                <a:latin typeface="+mn-lt"/>
                <a:ea typeface="Arial"/>
                <a:cs typeface="Arial" panose="020B0604020202020204" pitchFamily="34" charset="0"/>
              </a:rPr>
              <a:pPr algn="r"/>
              <a:t>‹#›</a:t>
            </a:fld>
            <a:endParaRPr lang="en-GB" sz="1800">
              <a:solidFill>
                <a:schemeClr val="accent2"/>
              </a:solidFill>
              <a:latin typeface="+mn-lt"/>
              <a:ea typeface="Arial"/>
              <a:cs typeface="Arial" panose="020B0604020202020204" pitchFamily="34" charset="0"/>
            </a:endParaRPr>
          </a:p>
        </p:txBody>
      </p:sp>
      <p:sp>
        <p:nvSpPr>
          <p:cNvPr id="4" name="Graphic 8">
            <a:extLst>
              <a:ext uri="{FF2B5EF4-FFF2-40B4-BE49-F238E27FC236}">
                <a16:creationId xmlns:a16="http://schemas.microsoft.com/office/drawing/2014/main" id="{9AC77B96-D96C-4FA2-858B-DEE0A3A7B7B6}"/>
              </a:ext>
            </a:extLst>
          </p:cNvPr>
          <p:cNvSpPr/>
          <p:nvPr/>
        </p:nvSpPr>
        <p:spPr>
          <a:xfrm>
            <a:off x="2005878" y="12533992"/>
            <a:ext cx="969411" cy="389412"/>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tx2"/>
          </a:solidFill>
          <a:ln w="1683" cap="flat">
            <a:noFill/>
            <a:prstDash val="solid"/>
            <a:miter/>
          </a:ln>
        </p:spPr>
        <p:txBody>
          <a:bodyPr rtlCol="0" anchor="ctr"/>
          <a:lstStyle/>
          <a:p>
            <a:endParaRPr lang="en-GB" sz="3599"/>
          </a:p>
        </p:txBody>
      </p:sp>
      <p:sp>
        <p:nvSpPr>
          <p:cNvPr id="8" name="TextBox 7">
            <a:extLst>
              <a:ext uri="{C183D7F6-B498-43B3-948B-1728B52AA6E4}">
                <adec:decorative xmlns:adec="http://schemas.microsoft.com/office/drawing/2017/decorative" val="1"/>
              </a:ext>
            </a:extLst>
          </p:cNvPr>
          <p:cNvSpPr txBox="1"/>
          <p:nvPr userDrawn="1">
            <p:custDataLst>
              <p:tags r:id="rId5"/>
            </p:custDataLst>
          </p:nvPr>
        </p:nvSpPr>
        <p:spPr>
          <a:xfrm>
            <a:off x="3770387" y="12533994"/>
            <a:ext cx="9332595" cy="369332"/>
          </a:xfrm>
          <a:prstGeom prst="rect">
            <a:avLst/>
          </a:prstGeom>
          <a:noFill/>
        </p:spPr>
        <p:txBody>
          <a:bodyPr wrap="square" lIns="0" tIns="0" rIns="0" bIns="0" rtlCol="0">
            <a:spAutoFit/>
          </a:bodyPr>
          <a:lstStyle/>
          <a:p>
            <a:pPr marL="0" marR="0" lvl="0" indent="0" algn="l" defTabSz="1828343" rtl="0" eaLnBrk="1" fontAlgn="auto" latinLnBrk="0" hangingPunct="1">
              <a:lnSpc>
                <a:spcPct val="100000"/>
              </a:lnSpc>
              <a:spcBef>
                <a:spcPts val="0"/>
              </a:spcBef>
              <a:spcAft>
                <a:spcPts val="0"/>
              </a:spcAft>
              <a:buClrTx/>
              <a:buSzTx/>
              <a:buFontTx/>
              <a:buNone/>
              <a:tabLst/>
              <a:defRPr/>
            </a:pPr>
            <a:r>
              <a:rPr lang="en-US" sz="1200" kern="1200" noProof="0">
                <a:solidFill>
                  <a:schemeClr val="bg1">
                    <a:lumMod val="65000"/>
                  </a:schemeClr>
                </a:solidFill>
                <a:latin typeface="+mn-lt"/>
                <a:ea typeface="+mn-ea"/>
                <a:cs typeface="+mn-cs"/>
              </a:rPr>
              <a:t>© 2024 KPMG LLP, a Delaware limited liability partnership and a member firm of the KPMG global organization of independent member firms affiliated with KPMG International Limited, a private English company limited by guarantee. All rights reserved. </a:t>
            </a:r>
          </a:p>
        </p:txBody>
      </p:sp>
    </p:spTree>
    <p:extLst>
      <p:ext uri="{BB962C8B-B14F-4D97-AF65-F5344CB8AC3E}">
        <p14:creationId xmlns:p14="http://schemas.microsoft.com/office/powerpoint/2010/main" val="1482470424"/>
      </p:ext>
    </p:extLst>
  </p:cSld>
  <p:clrMap bg1="lt1" tx1="dk1" bg2="lt2" tx2="dk2" accent1="accent1" accent2="accent2" accent3="accent3" accent4="accent4" accent5="accent5" accent6="accent6" hlink="hlink" folHlink="folHlink"/>
  <p:sldLayoutIdLst>
    <p:sldLayoutId id="2147484297" r:id="rId1"/>
    <p:sldLayoutId id="2147484308" r:id="rId2"/>
  </p:sldLayoutIdLst>
  <p:txStyles>
    <p:titleStyle>
      <a:lvl1pPr algn="l" defTabSz="914400" rtl="0" eaLnBrk="1" latinLnBrk="0" hangingPunct="1">
        <a:lnSpc>
          <a:spcPct val="70000"/>
        </a:lnSpc>
        <a:spcBef>
          <a:spcPct val="0"/>
        </a:spcBef>
        <a:buNone/>
        <a:defRPr sz="44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tx1"/>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tx1"/>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404" userDrawn="1">
          <p15:clr>
            <a:srgbClr val="F26B43"/>
          </p15:clr>
        </p15:guide>
        <p15:guide id="2" pos="1254" userDrawn="1">
          <p15:clr>
            <a:srgbClr val="F26B43"/>
          </p15:clr>
        </p15:guide>
        <p15:guide id="3" pos="14106" userDrawn="1">
          <p15:clr>
            <a:srgbClr val="F26B43"/>
          </p15:clr>
        </p15:guide>
        <p15:guide id="4" orient="horz" pos="1676" userDrawn="1">
          <p15:clr>
            <a:srgbClr val="F26B43"/>
          </p15:clr>
        </p15:guide>
        <p15:guide id="5" orient="horz" pos="1224" userDrawn="1">
          <p15:clr>
            <a:srgbClr val="F26B43"/>
          </p15:clr>
        </p15:guide>
        <p15:guide id="6" orient="horz" pos="54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A1B184-DF86-43FB-B420-1463FD67D8C1}"/>
              </a:ext>
            </a:extLst>
          </p:cNvPr>
          <p:cNvGraphicFramePr>
            <a:graphicFrameLocks noChangeAspect="1"/>
          </p:cNvGraphicFramePr>
          <p:nvPr userDrawn="1">
            <p:custDataLst>
              <p:tags r:id="rId8"/>
            </p:custDataLst>
            <p:extLst>
              <p:ext uri="{D42A27DB-BD31-4B8C-83A1-F6EECF244321}">
                <p14:modId xmlns:p14="http://schemas.microsoft.com/office/powerpoint/2010/main" val="2454422181"/>
              </p:ext>
            </p:extLst>
          </p:nvPr>
        </p:nvGraphicFramePr>
        <p:xfrm>
          <a:off x="3175" y="3176"/>
          <a:ext cx="3175" cy="3176"/>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6" name="Object 5" hidden="1">
                        <a:extLst>
                          <a:ext uri="{FF2B5EF4-FFF2-40B4-BE49-F238E27FC236}">
                            <a16:creationId xmlns:a16="http://schemas.microsoft.com/office/drawing/2014/main" id="{0EA1B184-DF86-43FB-B420-1463FD67D8C1}"/>
                          </a:ext>
                        </a:extLst>
                      </p:cNvPr>
                      <p:cNvPicPr/>
                      <p:nvPr/>
                    </p:nvPicPr>
                    <p:blipFill>
                      <a:blip r:embed="rId11"/>
                      <a:stretch>
                        <a:fillRect/>
                      </a:stretch>
                    </p:blipFill>
                    <p:spPr>
                      <a:xfrm>
                        <a:off x="3175" y="3176"/>
                        <a:ext cx="3175" cy="3176"/>
                      </a:xfrm>
                      <a:prstGeom prst="rect">
                        <a:avLst/>
                      </a:prstGeom>
                    </p:spPr>
                  </p:pic>
                </p:oleObj>
              </mc:Fallback>
            </mc:AlternateContent>
          </a:graphicData>
        </a:graphic>
      </p:graphicFrame>
      <p:sp>
        <p:nvSpPr>
          <p:cNvPr id="2" name="Title Placeholder 1"/>
          <p:cNvSpPr>
            <a:spLocks noGrp="1"/>
          </p:cNvSpPr>
          <p:nvPr>
            <p:ph type="title"/>
          </p:nvPr>
        </p:nvSpPr>
        <p:spPr>
          <a:xfrm>
            <a:off x="1990210" y="863600"/>
            <a:ext cx="20403585" cy="10668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1990207" y="2660650"/>
            <a:ext cx="20396053" cy="90932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Shape 8"/>
          <p:cNvSpPr txBox="1">
            <a:spLocks/>
          </p:cNvSpPr>
          <p:nvPr userDrawn="1"/>
        </p:nvSpPr>
        <p:spPr>
          <a:xfrm>
            <a:off x="21887512" y="12533994"/>
            <a:ext cx="484846" cy="298824"/>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800" smtClean="0">
                <a:solidFill>
                  <a:schemeClr val="accent2"/>
                </a:solidFill>
                <a:latin typeface="+mn-lt"/>
                <a:ea typeface="Arial"/>
                <a:cs typeface="Arial" panose="020B0604020202020204" pitchFamily="34" charset="0"/>
              </a:rPr>
              <a:pPr algn="r"/>
              <a:t>‹#›</a:t>
            </a:fld>
            <a:endParaRPr lang="en-GB" sz="1800">
              <a:solidFill>
                <a:schemeClr val="accent2"/>
              </a:solidFill>
              <a:latin typeface="+mn-lt"/>
              <a:ea typeface="Arial"/>
              <a:cs typeface="Arial" panose="020B0604020202020204" pitchFamily="34" charset="0"/>
            </a:endParaRPr>
          </a:p>
        </p:txBody>
      </p:sp>
      <p:sp>
        <p:nvSpPr>
          <p:cNvPr id="4" name="Graphic 8">
            <a:extLst>
              <a:ext uri="{FF2B5EF4-FFF2-40B4-BE49-F238E27FC236}">
                <a16:creationId xmlns:a16="http://schemas.microsoft.com/office/drawing/2014/main" id="{9AC77B96-D96C-4FA2-858B-DEE0A3A7B7B6}"/>
              </a:ext>
            </a:extLst>
          </p:cNvPr>
          <p:cNvSpPr/>
          <p:nvPr/>
        </p:nvSpPr>
        <p:spPr>
          <a:xfrm>
            <a:off x="2005878" y="12533992"/>
            <a:ext cx="969411" cy="389412"/>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tx2"/>
          </a:solidFill>
          <a:ln w="1683" cap="flat">
            <a:noFill/>
            <a:prstDash val="solid"/>
            <a:miter/>
          </a:ln>
        </p:spPr>
        <p:txBody>
          <a:bodyPr rtlCol="0" anchor="ctr"/>
          <a:lstStyle/>
          <a:p>
            <a:endParaRPr lang="en-GB" sz="2799"/>
          </a:p>
        </p:txBody>
      </p:sp>
      <p:sp>
        <p:nvSpPr>
          <p:cNvPr id="8" name="TextBox 7">
            <a:extLst>
              <a:ext uri="{C183D7F6-B498-43B3-948B-1728B52AA6E4}">
                <adec:decorative xmlns:adec="http://schemas.microsoft.com/office/drawing/2017/decorative" val="1"/>
              </a:ext>
            </a:extLst>
          </p:cNvPr>
          <p:cNvSpPr txBox="1"/>
          <p:nvPr userDrawn="1">
            <p:custDataLst>
              <p:tags r:id="rId9"/>
            </p:custDataLst>
          </p:nvPr>
        </p:nvSpPr>
        <p:spPr>
          <a:xfrm>
            <a:off x="3770387" y="12533994"/>
            <a:ext cx="9332595" cy="369332"/>
          </a:xfrm>
          <a:prstGeom prst="rect">
            <a:avLst/>
          </a:prstGeom>
          <a:noFill/>
        </p:spPr>
        <p:txBody>
          <a:bodyPr wrap="square" lIns="0" tIns="0" rIns="0" bIns="0" rtlCol="0">
            <a:spAutoFit/>
          </a:bodyPr>
          <a:lstStyle/>
          <a:p>
            <a:pPr marL="0" marR="0" lvl="0" indent="0" algn="l" defTabSz="1828343" rtl="0" eaLnBrk="1" fontAlgn="auto" latinLnBrk="0" hangingPunct="1">
              <a:lnSpc>
                <a:spcPct val="100000"/>
              </a:lnSpc>
              <a:spcBef>
                <a:spcPts val="0"/>
              </a:spcBef>
              <a:spcAft>
                <a:spcPts val="0"/>
              </a:spcAft>
              <a:buClrTx/>
              <a:buSzTx/>
              <a:buFontTx/>
              <a:buNone/>
              <a:tabLst/>
              <a:defRPr/>
            </a:pPr>
            <a:r>
              <a:rPr lang="en-US" sz="1200" kern="1200" noProof="0">
                <a:solidFill>
                  <a:schemeClr val="bg1">
                    <a:lumMod val="65000"/>
                  </a:schemeClr>
                </a:solidFill>
                <a:latin typeface="+mn-lt"/>
                <a:ea typeface="+mn-ea"/>
                <a:cs typeface="+mn-cs"/>
              </a:rPr>
              <a:t>© 2024 KPMG LLP, a Delaware limited liability partnership and a member firm of the KPMG global organization of independent member firms affiliated with KPMG International Limited, a private English company limited by guarantee. All rights reserved. </a:t>
            </a:r>
          </a:p>
        </p:txBody>
      </p:sp>
    </p:spTree>
    <p:extLst>
      <p:ext uri="{BB962C8B-B14F-4D97-AF65-F5344CB8AC3E}">
        <p14:creationId xmlns:p14="http://schemas.microsoft.com/office/powerpoint/2010/main" val="2670098869"/>
      </p:ext>
    </p:extLst>
  </p:cSld>
  <p:clrMap bg1="lt1" tx1="dk1" bg2="lt2" tx2="dk2" accent1="accent1" accent2="accent2" accent3="accent3" accent4="accent4" accent5="accent5" accent6="accent6" hlink="hlink" folHlink="folHlink"/>
  <p:sldLayoutIdLst>
    <p:sldLayoutId id="2147484300" r:id="rId1"/>
    <p:sldLayoutId id="2147484301" r:id="rId2"/>
    <p:sldLayoutId id="2147484303" r:id="rId3"/>
    <p:sldLayoutId id="2147484304" r:id="rId4"/>
    <p:sldLayoutId id="2147484305" r:id="rId5"/>
    <p:sldLayoutId id="2147484306" r:id="rId6"/>
  </p:sldLayoutIdLst>
  <p:txStyles>
    <p:titleStyle>
      <a:lvl1pPr algn="l" defTabSz="1828343" rtl="0" eaLnBrk="1" latinLnBrk="0" hangingPunct="1">
        <a:lnSpc>
          <a:spcPct val="70000"/>
        </a:lnSpc>
        <a:spcBef>
          <a:spcPct val="0"/>
        </a:spcBef>
        <a:buNone/>
        <a:defRPr sz="8798" kern="1200">
          <a:solidFill>
            <a:schemeClr val="accent2"/>
          </a:solidFill>
          <a:latin typeface="+mj-lt"/>
          <a:ea typeface="+mj-ea"/>
          <a:cs typeface="+mj-cs"/>
        </a:defRPr>
      </a:lvl1pPr>
    </p:titleStyle>
    <p:bodyStyle>
      <a:lvl1pPr marL="0" indent="0" algn="l" defTabSz="1828343" rtl="0" eaLnBrk="1" latinLnBrk="0" hangingPunct="1">
        <a:lnSpc>
          <a:spcPct val="100000"/>
        </a:lnSpc>
        <a:spcBef>
          <a:spcPts val="0"/>
        </a:spcBef>
        <a:spcAft>
          <a:spcPts val="1200"/>
        </a:spcAft>
        <a:buFontTx/>
        <a:buNone/>
        <a:defRPr sz="3199" b="1" kern="1200">
          <a:solidFill>
            <a:schemeClr val="accent2"/>
          </a:solidFill>
          <a:latin typeface="+mn-lt"/>
          <a:ea typeface="+mn-ea"/>
          <a:cs typeface="+mn-cs"/>
        </a:defRPr>
      </a:lvl1pPr>
      <a:lvl2pPr marL="0" indent="0" algn="l" defTabSz="1828343" rtl="0" eaLnBrk="1" latinLnBrk="0" hangingPunct="1">
        <a:lnSpc>
          <a:spcPct val="100000"/>
        </a:lnSpc>
        <a:spcBef>
          <a:spcPts val="0"/>
        </a:spcBef>
        <a:spcAft>
          <a:spcPts val="1200"/>
        </a:spcAft>
        <a:buFontTx/>
        <a:buNone/>
        <a:defRPr sz="3199" kern="1200">
          <a:solidFill>
            <a:schemeClr val="tx1"/>
          </a:solidFill>
          <a:latin typeface="+mn-lt"/>
          <a:ea typeface="+mn-ea"/>
          <a:cs typeface="+mn-cs"/>
        </a:defRPr>
      </a:lvl2pPr>
      <a:lvl3pPr marL="361860" indent="-361860" algn="l" defTabSz="1828343" rtl="0" eaLnBrk="1" latinLnBrk="0" hangingPunct="1">
        <a:lnSpc>
          <a:spcPct val="100000"/>
        </a:lnSpc>
        <a:spcBef>
          <a:spcPts val="0"/>
        </a:spcBef>
        <a:spcAft>
          <a:spcPts val="1200"/>
        </a:spcAft>
        <a:buClrTx/>
        <a:buFont typeface="Arial" panose="020B0604020202020204" pitchFamily="34" charset="0"/>
        <a:buChar char="•"/>
        <a:defRPr sz="3199" kern="1200">
          <a:solidFill>
            <a:schemeClr val="tx1"/>
          </a:solidFill>
          <a:latin typeface="+mn-lt"/>
          <a:ea typeface="+mn-ea"/>
          <a:cs typeface="+mn-cs"/>
        </a:defRPr>
      </a:lvl3pPr>
      <a:lvl4pPr marL="723719" indent="-361860" algn="l" defTabSz="1828343" rtl="0" eaLnBrk="1" latinLnBrk="0" hangingPunct="1">
        <a:lnSpc>
          <a:spcPct val="100000"/>
        </a:lnSpc>
        <a:spcBef>
          <a:spcPts val="0"/>
        </a:spcBef>
        <a:spcAft>
          <a:spcPts val="1200"/>
        </a:spcAft>
        <a:buClrTx/>
        <a:buFont typeface="Arial" panose="020B0604020202020204" pitchFamily="34" charset="0"/>
        <a:buChar char="-"/>
        <a:defRPr sz="3199" kern="1200">
          <a:solidFill>
            <a:schemeClr val="tx1"/>
          </a:solidFill>
          <a:latin typeface="+mn-lt"/>
          <a:ea typeface="+mn-ea"/>
          <a:cs typeface="+mn-cs"/>
        </a:defRPr>
      </a:lvl4pPr>
      <a:lvl5pPr marL="1085579" indent="-361860" algn="l" defTabSz="1828343" rtl="0" eaLnBrk="1" latinLnBrk="0" hangingPunct="1">
        <a:lnSpc>
          <a:spcPct val="100000"/>
        </a:lnSpc>
        <a:spcBef>
          <a:spcPts val="0"/>
        </a:spcBef>
        <a:spcAft>
          <a:spcPts val="1200"/>
        </a:spcAft>
        <a:buClrTx/>
        <a:buFont typeface="Arial" panose="020B0604020202020204" pitchFamily="34" charset="0"/>
        <a:buChar char="•"/>
        <a:defRPr sz="3199" kern="1200" baseline="0">
          <a:solidFill>
            <a:schemeClr val="tx1"/>
          </a:solidFill>
          <a:latin typeface="+mn-lt"/>
          <a:ea typeface="+mn-ea"/>
          <a:cs typeface="+mn-cs"/>
        </a:defRPr>
      </a:lvl5pPr>
      <a:lvl6pPr marL="1437916" indent="-361860" algn="l" defTabSz="1828343" rtl="0" eaLnBrk="1" latinLnBrk="0" hangingPunct="1">
        <a:lnSpc>
          <a:spcPct val="100000"/>
        </a:lnSpc>
        <a:spcBef>
          <a:spcPts val="0"/>
        </a:spcBef>
        <a:spcAft>
          <a:spcPts val="1200"/>
        </a:spcAft>
        <a:buClr>
          <a:schemeClr val="tx2"/>
        </a:buClr>
        <a:buFont typeface="Arial" panose="020B0604020202020204" pitchFamily="34" charset="0"/>
        <a:buChar char="-"/>
        <a:defRPr sz="2999" kern="1200">
          <a:solidFill>
            <a:schemeClr val="tx2"/>
          </a:solidFill>
          <a:latin typeface="+mn-lt"/>
          <a:ea typeface="+mn-ea"/>
          <a:cs typeface="+mn-cs"/>
        </a:defRPr>
      </a:lvl6pPr>
      <a:lvl7pPr marL="1793428" indent="-355511" algn="l" defTabSz="1828343" rtl="0" eaLnBrk="1" latinLnBrk="0" hangingPunct="1">
        <a:lnSpc>
          <a:spcPct val="100000"/>
        </a:lnSpc>
        <a:spcBef>
          <a:spcPts val="0"/>
        </a:spcBef>
        <a:spcAft>
          <a:spcPts val="1200"/>
        </a:spcAft>
        <a:buClr>
          <a:schemeClr val="tx2"/>
        </a:buClr>
        <a:buFont typeface="Arial" panose="020B0604020202020204" pitchFamily="34" charset="0"/>
        <a:buChar char="•"/>
        <a:defRPr sz="2999" kern="1200">
          <a:solidFill>
            <a:schemeClr val="tx2"/>
          </a:solidFill>
          <a:latin typeface="+mn-lt"/>
          <a:ea typeface="+mn-ea"/>
          <a:cs typeface="+mn-cs"/>
        </a:defRPr>
      </a:lvl7pPr>
      <a:lvl8pPr marL="2148939" indent="-355511" algn="l" defTabSz="1828343" rtl="0" eaLnBrk="1" latinLnBrk="0" hangingPunct="1">
        <a:lnSpc>
          <a:spcPct val="100000"/>
        </a:lnSpc>
        <a:spcBef>
          <a:spcPts val="0"/>
        </a:spcBef>
        <a:spcAft>
          <a:spcPts val="1200"/>
        </a:spcAft>
        <a:buClr>
          <a:schemeClr val="tx2"/>
        </a:buClr>
        <a:buFont typeface="Arial" panose="020B0604020202020204" pitchFamily="34" charset="0"/>
        <a:buChar char="-"/>
        <a:defRPr sz="2999" kern="1200">
          <a:solidFill>
            <a:schemeClr val="tx2"/>
          </a:solidFill>
          <a:latin typeface="+mn-lt"/>
          <a:ea typeface="+mn-ea"/>
          <a:cs typeface="+mn-cs"/>
        </a:defRPr>
      </a:lvl8pPr>
      <a:lvl9pPr marL="2513971" indent="-365035" algn="l" defTabSz="1828343" rtl="0" eaLnBrk="1" latinLnBrk="0" hangingPunct="1">
        <a:lnSpc>
          <a:spcPct val="90000"/>
        </a:lnSpc>
        <a:spcBef>
          <a:spcPts val="1000"/>
        </a:spcBef>
        <a:buFont typeface="Arial" panose="020B0604020202020204" pitchFamily="34" charset="0"/>
        <a:buChar char="•"/>
        <a:defRPr sz="2999" kern="1200">
          <a:solidFill>
            <a:schemeClr val="tx2"/>
          </a:solidFill>
          <a:latin typeface="+mn-lt"/>
          <a:ea typeface="+mn-ea"/>
          <a:cs typeface="+mn-cs"/>
        </a:defRPr>
      </a:lvl9pPr>
    </p:bodyStyle>
    <p:otherStyle>
      <a:defPPr>
        <a:defRPr lang="en-US"/>
      </a:defPPr>
      <a:lvl1pPr marL="0" algn="l" defTabSz="1828343" rtl="0" eaLnBrk="1" latinLnBrk="0" hangingPunct="1">
        <a:defRPr sz="3599" kern="1200">
          <a:solidFill>
            <a:schemeClr val="tx1"/>
          </a:solidFill>
          <a:latin typeface="+mn-lt"/>
          <a:ea typeface="+mn-ea"/>
          <a:cs typeface="+mn-cs"/>
        </a:defRPr>
      </a:lvl1pPr>
      <a:lvl2pPr marL="914171" algn="l" defTabSz="1828343" rtl="0" eaLnBrk="1" latinLnBrk="0" hangingPunct="1">
        <a:defRPr sz="3599" kern="1200">
          <a:solidFill>
            <a:schemeClr val="tx1"/>
          </a:solidFill>
          <a:latin typeface="+mn-lt"/>
          <a:ea typeface="+mn-ea"/>
          <a:cs typeface="+mn-cs"/>
        </a:defRPr>
      </a:lvl2pPr>
      <a:lvl3pPr marL="1828343" algn="l" defTabSz="1828343" rtl="0" eaLnBrk="1" latinLnBrk="0" hangingPunct="1">
        <a:defRPr sz="3599" kern="1200">
          <a:solidFill>
            <a:schemeClr val="tx1"/>
          </a:solidFill>
          <a:latin typeface="+mn-lt"/>
          <a:ea typeface="+mn-ea"/>
          <a:cs typeface="+mn-cs"/>
        </a:defRPr>
      </a:lvl3pPr>
      <a:lvl4pPr marL="2742514" algn="l" defTabSz="1828343" rtl="0" eaLnBrk="1" latinLnBrk="0" hangingPunct="1">
        <a:defRPr sz="3599" kern="1200">
          <a:solidFill>
            <a:schemeClr val="tx1"/>
          </a:solidFill>
          <a:latin typeface="+mn-lt"/>
          <a:ea typeface="+mn-ea"/>
          <a:cs typeface="+mn-cs"/>
        </a:defRPr>
      </a:lvl4pPr>
      <a:lvl5pPr marL="3656686" algn="l" defTabSz="1828343" rtl="0" eaLnBrk="1" latinLnBrk="0" hangingPunct="1">
        <a:defRPr sz="3599" kern="1200">
          <a:solidFill>
            <a:schemeClr val="tx1"/>
          </a:solidFill>
          <a:latin typeface="+mn-lt"/>
          <a:ea typeface="+mn-ea"/>
          <a:cs typeface="+mn-cs"/>
        </a:defRPr>
      </a:lvl5pPr>
      <a:lvl6pPr marL="4570857" algn="l" defTabSz="1828343" rtl="0" eaLnBrk="1" latinLnBrk="0" hangingPunct="1">
        <a:defRPr sz="3599" kern="1200">
          <a:solidFill>
            <a:schemeClr val="tx1"/>
          </a:solidFill>
          <a:latin typeface="+mn-lt"/>
          <a:ea typeface="+mn-ea"/>
          <a:cs typeface="+mn-cs"/>
        </a:defRPr>
      </a:lvl6pPr>
      <a:lvl7pPr marL="5485028" algn="l" defTabSz="1828343" rtl="0" eaLnBrk="1" latinLnBrk="0" hangingPunct="1">
        <a:defRPr sz="3599" kern="1200">
          <a:solidFill>
            <a:schemeClr val="tx1"/>
          </a:solidFill>
          <a:latin typeface="+mn-lt"/>
          <a:ea typeface="+mn-ea"/>
          <a:cs typeface="+mn-cs"/>
        </a:defRPr>
      </a:lvl7pPr>
      <a:lvl8pPr marL="6399200" algn="l" defTabSz="1828343" rtl="0" eaLnBrk="1" latinLnBrk="0" hangingPunct="1">
        <a:defRPr sz="3599" kern="1200">
          <a:solidFill>
            <a:schemeClr val="tx1"/>
          </a:solidFill>
          <a:latin typeface="+mn-lt"/>
          <a:ea typeface="+mn-ea"/>
          <a:cs typeface="+mn-cs"/>
        </a:defRPr>
      </a:lvl8pPr>
      <a:lvl9pPr marL="7313371" algn="l" defTabSz="1828343" rtl="0" eaLnBrk="1" latinLnBrk="0" hangingPunct="1">
        <a:defRPr sz="35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02">
          <p15:clr>
            <a:srgbClr val="F26B43"/>
          </p15:clr>
        </p15:guide>
        <p15:guide id="2" pos="627">
          <p15:clr>
            <a:srgbClr val="F26B43"/>
          </p15:clr>
        </p15:guide>
        <p15:guide id="3" pos="7055">
          <p15:clr>
            <a:srgbClr val="F26B43"/>
          </p15:clr>
        </p15:guide>
        <p15:guide id="4" orient="horz" pos="838">
          <p15:clr>
            <a:srgbClr val="F26B43"/>
          </p15:clr>
        </p15:guide>
        <p15:guide id="5" orient="horz" pos="612">
          <p15:clr>
            <a:srgbClr val="F26B43"/>
          </p15:clr>
        </p15:guide>
        <p15:guide id="6" orient="horz" pos="272">
          <p15:clr>
            <a:srgbClr val="F26B43"/>
          </p15:clr>
        </p15:guide>
      </p15:sldGuideLst>
    </p:ext>
  </p:extLst>
</p:sldMaster>
</file>

<file path=ppt/slides/_rels/slide1.xml.rels><?xml version="1.0" encoding="UTF-8" standalone="yes"?>
<Relationships xmlns="http://schemas.openxmlformats.org/package/2006/relationships"><Relationship Id="rId3" Type="http://schemas.microsoft.com/office/2018/10/relationships/comments" Target="../comments/modernComment_102_0.xml"/><Relationship Id="rId2" Type="http://schemas.openxmlformats.org/officeDocument/2006/relationships/notesSlide" Target="../notesSlides/notesSlide1.xml"/><Relationship Id="rId1" Type="http://schemas.openxmlformats.org/officeDocument/2006/relationships/slideLayout" Target="../slideLayouts/slideLayout4.xml"/><Relationship Id="rId5" Type="http://schemas.openxmlformats.org/officeDocument/2006/relationships/image" Target="../media/image4.pn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microsoft.com/office/2018/10/relationships/comments" Target="../comments/modernComment_10A_0.xml"/><Relationship Id="rId2" Type="http://schemas.openxmlformats.org/officeDocument/2006/relationships/notesSlide" Target="../notesSlides/notesSlide10.xml"/><Relationship Id="rId1" Type="http://schemas.openxmlformats.org/officeDocument/2006/relationships/slideLayout" Target="../slideLayouts/slideLayout23.xml"/><Relationship Id="rId5" Type="http://schemas.openxmlformats.org/officeDocument/2006/relationships/image" Target="../media/image47.png"/><Relationship Id="rId4" Type="http://schemas.openxmlformats.org/officeDocument/2006/relationships/image" Target="../media/image26.png"/></Relationships>
</file>

<file path=ppt/slides/_rels/slide13.xml.rels><?xml version="1.0" encoding="UTF-8" standalone="yes"?>
<Relationships xmlns="http://schemas.openxmlformats.org/package/2006/relationships"><Relationship Id="rId3" Type="http://schemas.microsoft.com/office/2018/10/relationships/comments" Target="../comments/modernComment_117_4AAA62A2.xml"/><Relationship Id="rId2" Type="http://schemas.openxmlformats.org/officeDocument/2006/relationships/notesSlide" Target="../notesSlides/notesSlide11.xml"/><Relationship Id="rId1" Type="http://schemas.openxmlformats.org/officeDocument/2006/relationships/slideLayout" Target="../slideLayouts/slideLayout23.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23.xml"/><Relationship Id="rId5" Type="http://schemas.openxmlformats.org/officeDocument/2006/relationships/image" Target="../media/image49.png"/><Relationship Id="rId4" Type="http://schemas.openxmlformats.org/officeDocument/2006/relationships/image" Target="../media/image47.png"/></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3.xml"/><Relationship Id="rId1" Type="http://schemas.openxmlformats.org/officeDocument/2006/relationships/slideLayout" Target="../slideLayouts/slideLayout23.xml"/><Relationship Id="rId5" Type="http://schemas.openxmlformats.org/officeDocument/2006/relationships/image" Target="../media/image50.png"/><Relationship Id="rId4" Type="http://schemas.openxmlformats.org/officeDocument/2006/relationships/image" Target="../media/image47.png"/></Relationships>
</file>

<file path=ppt/slides/_rels/slide16.xml.rels><?xml version="1.0" encoding="UTF-8" standalone="yes"?>
<Relationships xmlns="http://schemas.openxmlformats.org/package/2006/relationships"><Relationship Id="rId3" Type="http://schemas.microsoft.com/office/2018/10/relationships/comments" Target="../comments/modernComment_7FFFFEB5_27FB1D9F.xml"/><Relationship Id="rId2" Type="http://schemas.openxmlformats.org/officeDocument/2006/relationships/notesSlide" Target="../notesSlides/notesSlide14.xml"/><Relationship Id="rId1" Type="http://schemas.openxmlformats.org/officeDocument/2006/relationships/slideLayout" Target="../slideLayouts/slideLayout23.xml"/><Relationship Id="rId6" Type="http://schemas.openxmlformats.org/officeDocument/2006/relationships/image" Target="../media/image51.png"/><Relationship Id="rId5" Type="http://schemas.openxmlformats.org/officeDocument/2006/relationships/hyperlink" Target="https://kmft.us.kworld.kpmg.com/" TargetMode="External"/><Relationship Id="rId4" Type="http://schemas.openxmlformats.org/officeDocument/2006/relationships/image" Target="../media/image26.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microsoft.com/office/2018/10/relationships/comments" Target="../comments/modernComment_108_0.xml"/><Relationship Id="rId2" Type="http://schemas.openxmlformats.org/officeDocument/2006/relationships/notesSlide" Target="../notesSlides/notesSlide16.xml"/><Relationship Id="rId1" Type="http://schemas.openxmlformats.org/officeDocument/2006/relationships/slideLayout" Target="../slideLayouts/slideLayout23.xml"/><Relationship Id="rId5" Type="http://schemas.openxmlformats.org/officeDocument/2006/relationships/image" Target="../media/image51.png"/><Relationship Id="rId4" Type="http://schemas.openxmlformats.org/officeDocument/2006/relationships/image" Target="../media/image26.png"/></Relationships>
</file>

<file path=ppt/slides/_rels/slide19.xml.rels><?xml version="1.0" encoding="UTF-8" standalone="yes"?>
<Relationships xmlns="http://schemas.openxmlformats.org/package/2006/relationships"><Relationship Id="rId8" Type="http://schemas.openxmlformats.org/officeDocument/2006/relationships/hyperlink" Target="https://seaborn.pydata.org/" TargetMode="External"/><Relationship Id="rId3" Type="http://schemas.openxmlformats.org/officeDocument/2006/relationships/image" Target="../media/image26.png"/><Relationship Id="rId7" Type="http://schemas.openxmlformats.org/officeDocument/2006/relationships/hyperlink" Target="https://plotnine.org/" TargetMode="External"/><Relationship Id="rId2" Type="http://schemas.openxmlformats.org/officeDocument/2006/relationships/notesSlide" Target="../notesSlides/notesSlide17.xml"/><Relationship Id="rId1" Type="http://schemas.openxmlformats.org/officeDocument/2006/relationships/slideLayout" Target="../slideLayouts/slideLayout23.xml"/><Relationship Id="rId6" Type="http://schemas.openxmlformats.org/officeDocument/2006/relationships/hyperlink" Target="https://scikit-learn.org/" TargetMode="External"/><Relationship Id="rId5" Type="http://schemas.openxmlformats.org/officeDocument/2006/relationships/hyperlink" Target="https://geopandas.org/en/stable/" TargetMode="External"/><Relationship Id="rId10" Type="http://schemas.openxmlformats.org/officeDocument/2006/relationships/image" Target="../media/image52.png"/><Relationship Id="rId4" Type="http://schemas.openxmlformats.org/officeDocument/2006/relationships/hyperlink" Target="https://pandas.pydata.org/" TargetMode="External"/><Relationship Id="rId9" Type="http://schemas.openxmlformats.org/officeDocument/2006/relationships/hyperlink" Target="https://matplotlib.org/" TargetMode="External"/></Relationships>
</file>

<file path=ppt/slides/_rels/slide2.xml.rels><?xml version="1.0" encoding="UTF-8" standalone="yes"?>
<Relationships xmlns="http://schemas.openxmlformats.org/package/2006/relationships"><Relationship Id="rId8" Type="http://schemas.openxmlformats.org/officeDocument/2006/relationships/hyperlink" Target="mailto:avoet@kpmg.com" TargetMode="External"/><Relationship Id="rId13" Type="http://schemas.openxmlformats.org/officeDocument/2006/relationships/image" Target="../media/image30.jpeg"/><Relationship Id="rId18" Type="http://schemas.openxmlformats.org/officeDocument/2006/relationships/hyperlink" Target="mailto:nzaveri@kpmg.com" TargetMode="External"/><Relationship Id="rId26" Type="http://schemas.openxmlformats.org/officeDocument/2006/relationships/image" Target="../media/image37.png"/><Relationship Id="rId3" Type="http://schemas.openxmlformats.org/officeDocument/2006/relationships/notesSlide" Target="../notesSlides/notesSlide2.xml"/><Relationship Id="rId21" Type="http://schemas.openxmlformats.org/officeDocument/2006/relationships/image" Target="../media/image34.jpeg"/><Relationship Id="rId7" Type="http://schemas.openxmlformats.org/officeDocument/2006/relationships/image" Target="../media/image27.emf"/><Relationship Id="rId12" Type="http://schemas.openxmlformats.org/officeDocument/2006/relationships/hyperlink" Target="mailto:hkalantar@kpmg.com" TargetMode="External"/><Relationship Id="rId17" Type="http://schemas.openxmlformats.org/officeDocument/2006/relationships/image" Target="../media/image32.jpeg"/><Relationship Id="rId25" Type="http://schemas.openxmlformats.org/officeDocument/2006/relationships/hyperlink" Target="mailto:khoidao@kpmg.com" TargetMode="External"/><Relationship Id="rId2" Type="http://schemas.openxmlformats.org/officeDocument/2006/relationships/slideLayout" Target="../slideLayouts/slideLayout23.xml"/><Relationship Id="rId16" Type="http://schemas.openxmlformats.org/officeDocument/2006/relationships/hyperlink" Target="mailto:mabbitt@kpmg.com" TargetMode="External"/><Relationship Id="rId20" Type="http://schemas.openxmlformats.org/officeDocument/2006/relationships/hyperlink" Target="mailto:maciwilliams@kpmg.com" TargetMode="External"/><Relationship Id="rId29" Type="http://schemas.openxmlformats.org/officeDocument/2006/relationships/image" Target="../media/image39.jpeg"/><Relationship Id="rId1" Type="http://schemas.openxmlformats.org/officeDocument/2006/relationships/tags" Target="../tags/tag11.xml"/><Relationship Id="rId6" Type="http://schemas.openxmlformats.org/officeDocument/2006/relationships/oleObject" Target="../embeddings/oleObject7.bin"/><Relationship Id="rId11" Type="http://schemas.openxmlformats.org/officeDocument/2006/relationships/image" Target="../media/image29.jpeg"/><Relationship Id="rId24" Type="http://schemas.openxmlformats.org/officeDocument/2006/relationships/image" Target="../media/image36.jpeg"/><Relationship Id="rId5" Type="http://schemas.openxmlformats.org/officeDocument/2006/relationships/image" Target="../media/image26.png"/><Relationship Id="rId15" Type="http://schemas.openxmlformats.org/officeDocument/2006/relationships/image" Target="../media/image31.jpeg"/><Relationship Id="rId23" Type="http://schemas.openxmlformats.org/officeDocument/2006/relationships/image" Target="../media/image35.jpeg"/><Relationship Id="rId28" Type="http://schemas.openxmlformats.org/officeDocument/2006/relationships/image" Target="../media/image38.jpeg"/><Relationship Id="rId10" Type="http://schemas.openxmlformats.org/officeDocument/2006/relationships/hyperlink" Target="mailto:jcurley@kpmg.com" TargetMode="External"/><Relationship Id="rId19" Type="http://schemas.openxmlformats.org/officeDocument/2006/relationships/image" Target="../media/image33.jpeg"/><Relationship Id="rId4" Type="http://schemas.microsoft.com/office/2018/10/relationships/comments" Target="../comments/modernComment_103_0.xml"/><Relationship Id="rId9" Type="http://schemas.openxmlformats.org/officeDocument/2006/relationships/image" Target="../media/image28.jpeg"/><Relationship Id="rId14" Type="http://schemas.openxmlformats.org/officeDocument/2006/relationships/hyperlink" Target="mailto:samtan@kpmg.com" TargetMode="External"/><Relationship Id="rId22" Type="http://schemas.openxmlformats.org/officeDocument/2006/relationships/hyperlink" Target="mailto:pdave@kpmg.com" TargetMode="External"/><Relationship Id="rId27" Type="http://schemas.openxmlformats.org/officeDocument/2006/relationships/hyperlink" Target="mailto:dmitre@kpmg.com"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8.xml"/><Relationship Id="rId1" Type="http://schemas.openxmlformats.org/officeDocument/2006/relationships/slideLayout" Target="../slideLayouts/slideLayout23.xml"/><Relationship Id="rId4" Type="http://schemas.openxmlformats.org/officeDocument/2006/relationships/image" Target="../media/image53.png"/></Relationships>
</file>

<file path=ppt/slides/_rels/slide21.xml.rels><?xml version="1.0" encoding="UTF-8" standalone="yes"?>
<Relationships xmlns="http://schemas.openxmlformats.org/package/2006/relationships"><Relationship Id="rId8" Type="http://schemas.openxmlformats.org/officeDocument/2006/relationships/hyperlink" Target="https://r4ds.hadley.nz/" TargetMode="External"/><Relationship Id="rId3" Type="http://schemas.openxmlformats.org/officeDocument/2006/relationships/image" Target="../media/image26.png"/><Relationship Id="rId7" Type="http://schemas.openxmlformats.org/officeDocument/2006/relationships/hyperlink" Target="https://www.statlearning.com/" TargetMode="External"/><Relationship Id="rId2" Type="http://schemas.openxmlformats.org/officeDocument/2006/relationships/notesSlide" Target="../notesSlides/notesSlide19.xml"/><Relationship Id="rId1" Type="http://schemas.openxmlformats.org/officeDocument/2006/relationships/slideLayout" Target="../slideLayouts/slideLayout23.xml"/><Relationship Id="rId6" Type="http://schemas.openxmlformats.org/officeDocument/2006/relationships/hyperlink" Target="https://www.storytellingwithdata.com/" TargetMode="External"/><Relationship Id="rId5" Type="http://schemas.openxmlformats.org/officeDocument/2006/relationships/hyperlink" Target="Python%20for%20Data%20Analysis" TargetMode="External"/><Relationship Id="rId4" Type="http://schemas.openxmlformats.org/officeDocument/2006/relationships/hyperlink" Target="https://www.c5la.org/" TargetMode="External"/><Relationship Id="rId9" Type="http://schemas.openxmlformats.org/officeDocument/2006/relationships/image" Target="../media/image54.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microsoft.com/office/2018/10/relationships/comments" Target="../comments/modernComment_7FFFD22A_D794FD72.xml"/><Relationship Id="rId2" Type="http://schemas.openxmlformats.org/officeDocument/2006/relationships/notesSlide" Target="../notesSlides/notesSlide21.xml"/><Relationship Id="rId1" Type="http://schemas.openxmlformats.org/officeDocument/2006/relationships/slideLayout" Target="../slideLayouts/slideLayout14.xml"/><Relationship Id="rId4" Type="http://schemas.openxmlformats.org/officeDocument/2006/relationships/hyperlink" Target="https://www.datascience-pm.com/crisp-dm-2/" TargetMode="External"/></Relationships>
</file>

<file path=ppt/slides/_rels/slide24.xml.rels><?xml version="1.0" encoding="UTF-8" standalone="yes"?>
<Relationships xmlns="http://schemas.openxmlformats.org/package/2006/relationships"><Relationship Id="rId8" Type="http://schemas.openxmlformats.org/officeDocument/2006/relationships/image" Target="../media/image59.png"/><Relationship Id="rId3" Type="http://schemas.microsoft.com/office/2018/10/relationships/comments" Target="../comments/modernComment_7FFFFEAB_A761E530.xml"/><Relationship Id="rId7" Type="http://schemas.openxmlformats.org/officeDocument/2006/relationships/image" Target="../media/image58.svg"/><Relationship Id="rId2" Type="http://schemas.openxmlformats.org/officeDocument/2006/relationships/notesSlide" Target="../notesSlides/notesSlide22.xml"/><Relationship Id="rId1" Type="http://schemas.openxmlformats.org/officeDocument/2006/relationships/slideLayout" Target="../slideLayouts/slideLayout18.xml"/><Relationship Id="rId6" Type="http://schemas.openxmlformats.org/officeDocument/2006/relationships/image" Target="../media/image57.png"/><Relationship Id="rId5" Type="http://schemas.openxmlformats.org/officeDocument/2006/relationships/image" Target="../media/image56.svg"/><Relationship Id="rId4" Type="http://schemas.openxmlformats.org/officeDocument/2006/relationships/image" Target="../media/image55.png"/><Relationship Id="rId9" Type="http://schemas.openxmlformats.org/officeDocument/2006/relationships/image" Target="../media/image60.svg"/></Relationships>
</file>

<file path=ppt/slides/_rels/slide25.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notesSlide" Target="../notesSlides/notesSlide23.xml"/><Relationship Id="rId1" Type="http://schemas.openxmlformats.org/officeDocument/2006/relationships/slideLayout" Target="../slideLayouts/slideLayout18.xml"/><Relationship Id="rId6" Type="http://schemas.openxmlformats.org/officeDocument/2006/relationships/image" Target="../media/image58.svg"/><Relationship Id="rId5" Type="http://schemas.openxmlformats.org/officeDocument/2006/relationships/image" Target="../media/image57.png"/><Relationship Id="rId4" Type="http://schemas.openxmlformats.org/officeDocument/2006/relationships/image" Target="../media/image56.sv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3" Type="http://schemas.microsoft.com/office/2018/10/relationships/comments" Target="../comments/modernComment_7FFFFEB3_75C19485.xml"/><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3" Type="http://schemas.microsoft.com/office/2018/10/relationships/comments" Target="../comments/modernComment_10F_0.xml"/><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1.jpeg"/><Relationship Id="rId7" Type="http://schemas.openxmlformats.org/officeDocument/2006/relationships/image" Target="../media/image65.png"/><Relationship Id="rId2" Type="http://schemas.openxmlformats.org/officeDocument/2006/relationships/notesSlide" Target="../notesSlides/notesSlide27.xml"/><Relationship Id="rId1" Type="http://schemas.openxmlformats.org/officeDocument/2006/relationships/slideLayout" Target="../slideLayouts/slideLayout14.xml"/><Relationship Id="rId6" Type="http://schemas.openxmlformats.org/officeDocument/2006/relationships/image" Target="../media/image64.png"/><Relationship Id="rId11" Type="http://schemas.openxmlformats.org/officeDocument/2006/relationships/image" Target="../media/image69.svg"/><Relationship Id="rId5" Type="http://schemas.openxmlformats.org/officeDocument/2006/relationships/image" Target="../media/image63.png"/><Relationship Id="rId10" Type="http://schemas.openxmlformats.org/officeDocument/2006/relationships/image" Target="../media/image68.png"/><Relationship Id="rId4" Type="http://schemas.openxmlformats.org/officeDocument/2006/relationships/image" Target="../media/image62.png"/><Relationship Id="rId9" Type="http://schemas.openxmlformats.org/officeDocument/2006/relationships/image" Target="../media/image67.svg"/></Relationships>
</file>

<file path=ppt/slides/_rels/slide3.xml.rels><?xml version="1.0" encoding="UTF-8" standalone="yes"?>
<Relationships xmlns="http://schemas.openxmlformats.org/package/2006/relationships"><Relationship Id="rId3" Type="http://schemas.microsoft.com/office/2018/10/relationships/comments" Target="../comments/modernComment_7FFFFEBA_2F3F598.xml"/><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8.xml"/><Relationship Id="rId1" Type="http://schemas.openxmlformats.org/officeDocument/2006/relationships/tags" Target="../tags/tag14.xml"/><Relationship Id="rId6" Type="http://schemas.openxmlformats.org/officeDocument/2006/relationships/image" Target="../media/image27.emf"/><Relationship Id="rId5" Type="http://schemas.openxmlformats.org/officeDocument/2006/relationships/oleObject" Target="../embeddings/oleObject10.bin"/><Relationship Id="rId4" Type="http://schemas.microsoft.com/office/2018/10/relationships/comments" Target="../comments/modernComment_110_0.xml"/></Relationships>
</file>

<file path=ppt/slides/_rels/slide32.xml.rels><?xml version="1.0" encoding="UTF-8" standalone="yes"?>
<Relationships xmlns="http://schemas.openxmlformats.org/package/2006/relationships"><Relationship Id="rId3" Type="http://schemas.microsoft.com/office/2018/10/relationships/comments" Target="../comments/modernComment_7FFFFEB4_994EACED.xml"/><Relationship Id="rId2" Type="http://schemas.openxmlformats.org/officeDocument/2006/relationships/notesSlide" Target="../notesSlides/notesSlide30.xml"/><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4.xml"/></Relationships>
</file>

<file path=ppt/slides/_rels/slide34.xml.rels><?xml version="1.0" encoding="UTF-8" standalone="yes"?>
<Relationships xmlns="http://schemas.openxmlformats.org/package/2006/relationships"><Relationship Id="rId3" Type="http://schemas.microsoft.com/office/2018/10/relationships/comments" Target="../comments/modernComment_112_0.xml"/><Relationship Id="rId2" Type="http://schemas.openxmlformats.org/officeDocument/2006/relationships/notesSlide" Target="../notesSlides/notesSlide32.xml"/><Relationship Id="rId1" Type="http://schemas.openxmlformats.org/officeDocument/2006/relationships/slideLayout" Target="../slideLayouts/slideLayout23.xml"/><Relationship Id="rId4" Type="http://schemas.openxmlformats.org/officeDocument/2006/relationships/image" Target="../media/image26.png"/></Relationships>
</file>

<file path=ppt/slides/_rels/slide3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3.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40.jpeg"/><Relationship Id="rId2" Type="http://schemas.openxmlformats.org/officeDocument/2006/relationships/slideLayout" Target="../slideLayouts/slideLayout59.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41.jpeg"/></Relationships>
</file>

<file path=ppt/slides/_rels/slide6.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notesSlide" Target="../notesSlides/notesSlide6.xml"/><Relationship Id="rId7" Type="http://schemas.openxmlformats.org/officeDocument/2006/relationships/hyperlink" Target="https://info.kpmg.us/community-impact/data-citizens-with-purpose/university-innovation-programs.html" TargetMode="External"/><Relationship Id="rId2" Type="http://schemas.openxmlformats.org/officeDocument/2006/relationships/slideLayout" Target="../slideLayouts/slideLayout59.xml"/><Relationship Id="rId1" Type="http://schemas.openxmlformats.org/officeDocument/2006/relationships/tags" Target="../tags/tag13.xml"/><Relationship Id="rId6" Type="http://schemas.openxmlformats.org/officeDocument/2006/relationships/image" Target="../media/image1.emf"/><Relationship Id="rId11" Type="http://schemas.openxmlformats.org/officeDocument/2006/relationships/image" Target="../media/image45.svg"/><Relationship Id="rId5" Type="http://schemas.openxmlformats.org/officeDocument/2006/relationships/oleObject" Target="../embeddings/oleObject9.bin"/><Relationship Id="rId10" Type="http://schemas.openxmlformats.org/officeDocument/2006/relationships/image" Target="../media/image44.png"/><Relationship Id="rId4" Type="http://schemas.microsoft.com/office/2018/10/relationships/comments" Target="../comments/modernComment_7FFFFEAD_4EE0626F.xml"/><Relationship Id="rId9" Type="http://schemas.openxmlformats.org/officeDocument/2006/relationships/image" Target="../media/image43.sv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8.xml.rels><?xml version="1.0" encoding="UTF-8" standalone="yes"?>
<Relationships xmlns="http://schemas.openxmlformats.org/package/2006/relationships"><Relationship Id="rId3" Type="http://schemas.microsoft.com/office/2018/10/relationships/comments" Target="../comments/modernComment_106_0.xml"/><Relationship Id="rId2" Type="http://schemas.openxmlformats.org/officeDocument/2006/relationships/notesSlide" Target="../notesSlides/notesSlide7.xml"/><Relationship Id="rId1" Type="http://schemas.openxmlformats.org/officeDocument/2006/relationships/slideLayout" Target="../slideLayouts/slideLayout49.xml"/></Relationships>
</file>

<file path=ppt/slides/_rels/slide9.xml.rels><?xml version="1.0" encoding="UTF-8" standalone="yes"?>
<Relationships xmlns="http://schemas.openxmlformats.org/package/2006/relationships"><Relationship Id="rId3" Type="http://schemas.microsoft.com/office/2018/10/relationships/comments" Target="../comments/modernComment_107_0.xml"/><Relationship Id="rId2" Type="http://schemas.openxmlformats.org/officeDocument/2006/relationships/notesSlide" Target="../notesSlides/notesSlide8.xml"/><Relationship Id="rId1" Type="http://schemas.openxmlformats.org/officeDocument/2006/relationships/slideLayout" Target="../slideLayouts/slideLayout23.xml"/><Relationship Id="rId5" Type="http://schemas.openxmlformats.org/officeDocument/2006/relationships/image" Target="../media/image46.png"/><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1F400"/>
        </a:solidFill>
        <a:effectLst/>
      </p:bgPr>
    </p:bg>
    <p:spTree>
      <p:nvGrpSpPr>
        <p:cNvPr id="1" name="Shape 1299"/>
        <p:cNvGrpSpPr/>
        <p:nvPr/>
      </p:nvGrpSpPr>
      <p:grpSpPr>
        <a:xfrm>
          <a:off x="0" y="0"/>
          <a:ext cx="0" cy="0"/>
          <a:chOff x="0" y="0"/>
          <a:chExt cx="0" cy="0"/>
        </a:xfrm>
      </p:grpSpPr>
      <p:pic>
        <p:nvPicPr>
          <p:cNvPr id="1300" name="Google Shape;1300;p98" descr="Group of people in a hallway smiling and chatting"/>
          <p:cNvPicPr preferRelativeResize="0"/>
          <p:nvPr/>
        </p:nvPicPr>
        <p:blipFill>
          <a:blip r:embed="rId4">
            <a:alphaModFix/>
          </a:blip>
          <a:stretch>
            <a:fillRect/>
          </a:stretch>
        </p:blipFill>
        <p:spPr>
          <a:xfrm>
            <a:off x="0" y="3103025"/>
            <a:ext cx="24377651" cy="9337150"/>
          </a:xfrm>
          <a:prstGeom prst="rect">
            <a:avLst/>
          </a:prstGeom>
          <a:noFill/>
          <a:ln>
            <a:noFill/>
          </a:ln>
        </p:spPr>
      </p:pic>
      <p:sp>
        <p:nvSpPr>
          <p:cNvPr id="1301" name="Google Shape;1301;p98"/>
          <p:cNvSpPr/>
          <p:nvPr/>
        </p:nvSpPr>
        <p:spPr>
          <a:xfrm>
            <a:off x="19956001" y="4397425"/>
            <a:ext cx="3072638" cy="1745259"/>
          </a:xfrm>
          <a:custGeom>
            <a:avLst/>
            <a:gdLst/>
            <a:ahLst/>
            <a:cxnLst/>
            <a:rect l="l" t="t" r="r" b="b"/>
            <a:pathLst>
              <a:path w="3864954" h="2195294" extrusionOk="0">
                <a:moveTo>
                  <a:pt x="0" y="0"/>
                </a:moveTo>
                <a:lnTo>
                  <a:pt x="3864953" y="0"/>
                </a:lnTo>
                <a:lnTo>
                  <a:pt x="3864953" y="2195294"/>
                </a:lnTo>
                <a:lnTo>
                  <a:pt x="0" y="2195294"/>
                </a:lnTo>
                <a:lnTo>
                  <a:pt x="0" y="0"/>
                </a:lnTo>
                <a:close/>
              </a:path>
            </a:pathLst>
          </a:custGeom>
          <a:blipFill rotWithShape="1">
            <a:blip r:embed="rId5">
              <a:alphaModFix/>
            </a:blip>
            <a:stretch>
              <a:fillRect/>
            </a:stretch>
          </a:blipFill>
          <a:ln>
            <a:noFill/>
          </a:ln>
        </p:spPr>
        <p:txBody>
          <a:bodyPr/>
          <a:lstStyle/>
          <a:p>
            <a:endParaRPr lang="en-US"/>
          </a:p>
        </p:txBody>
      </p:sp>
      <p:sp>
        <p:nvSpPr>
          <p:cNvPr id="1302" name="Google Shape;1302;p98"/>
          <p:cNvSpPr txBox="1">
            <a:spLocks noGrp="1"/>
          </p:cNvSpPr>
          <p:nvPr>
            <p:ph type="subTitle" idx="1"/>
          </p:nvPr>
        </p:nvSpPr>
        <p:spPr>
          <a:xfrm>
            <a:off x="2090575" y="7622800"/>
            <a:ext cx="20398500" cy="12405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US"/>
              <a:t>KPMG LLP US</a:t>
            </a:r>
            <a:endParaRPr/>
          </a:p>
        </p:txBody>
      </p:sp>
      <p:sp>
        <p:nvSpPr>
          <p:cNvPr id="1303" name="Google Shape;1303;p98"/>
          <p:cNvSpPr txBox="1">
            <a:spLocks noGrp="1"/>
          </p:cNvSpPr>
          <p:nvPr>
            <p:ph type="title"/>
          </p:nvPr>
        </p:nvSpPr>
        <p:spPr>
          <a:xfrm>
            <a:off x="2090575" y="3944450"/>
            <a:ext cx="15421500" cy="3544800"/>
          </a:xfrm>
          <a:prstGeom prst="rect">
            <a:avLst/>
          </a:prstGeom>
        </p:spPr>
        <p:txBody>
          <a:bodyPr spcFirstLastPara="1" wrap="square" lIns="91425" tIns="91425" rIns="91425" bIns="91425" anchor="b" anchorCtr="0">
            <a:normAutofit/>
          </a:bodyPr>
          <a:lstStyle/>
          <a:p>
            <a:pPr marL="0" lvl="0" indent="0" algn="l" rtl="0">
              <a:spcBef>
                <a:spcPts val="0"/>
              </a:spcBef>
              <a:spcAft>
                <a:spcPts val="0"/>
              </a:spcAft>
              <a:buNone/>
            </a:pPr>
            <a:r>
              <a:rPr lang="en-US"/>
              <a:t>Break Through Tech AI Studio</a:t>
            </a:r>
            <a:endParaRPr/>
          </a:p>
        </p:txBody>
      </p:sp>
      <p:sp>
        <p:nvSpPr>
          <p:cNvPr id="1304" name="Google Shape;1304;p98"/>
          <p:cNvSpPr txBox="1">
            <a:spLocks noGrp="1"/>
          </p:cNvSpPr>
          <p:nvPr>
            <p:ph type="subTitle" idx="2"/>
          </p:nvPr>
        </p:nvSpPr>
        <p:spPr>
          <a:xfrm>
            <a:off x="17392050" y="11739600"/>
            <a:ext cx="5862900" cy="12405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r>
              <a:rPr lang="en-US"/>
              <a:t>August 2024</a:t>
            </a:r>
            <a:endParaRPr/>
          </a:p>
        </p:txBody>
      </p:sp>
    </p:spTree>
  </p:cSld>
  <p:clrMapOvr>
    <a:masterClrMapping/>
  </p:clrMapOvr>
  <p:extLst>
    <p:ext uri="{6950BFC3-D8DA-4A85-94F7-54DA5524770B}">
      <p188:commentRel xmlns:p188="http://schemas.microsoft.com/office/powerpoint/2018/8/main" r:id="rId3"/>
    </p:ext>
  </p:extLs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02A44"/>
        </a:solidFill>
        <a:effectLst/>
      </p:bgPr>
    </p:bg>
    <p:spTree>
      <p:nvGrpSpPr>
        <p:cNvPr id="1" name="Shape 1346"/>
        <p:cNvGrpSpPr/>
        <p:nvPr/>
      </p:nvGrpSpPr>
      <p:grpSpPr>
        <a:xfrm>
          <a:off x="0" y="0"/>
          <a:ext cx="0" cy="0"/>
          <a:chOff x="0" y="0"/>
          <a:chExt cx="0" cy="0"/>
        </a:xfrm>
      </p:grpSpPr>
      <p:sp>
        <p:nvSpPr>
          <p:cNvPr id="1347" name="Google Shape;1347;p102"/>
          <p:cNvSpPr txBox="1">
            <a:spLocks noGrp="1"/>
          </p:cNvSpPr>
          <p:nvPr>
            <p:ph type="title"/>
          </p:nvPr>
        </p:nvSpPr>
        <p:spPr>
          <a:xfrm>
            <a:off x="1908375" y="1231950"/>
            <a:ext cx="21437400" cy="15564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en-US"/>
              <a:t>Final Presentation Expectations</a:t>
            </a:r>
            <a:endParaRPr lang="en-US" sz="6000"/>
          </a:p>
        </p:txBody>
      </p:sp>
      <p:sp>
        <p:nvSpPr>
          <p:cNvPr id="4" name="TextBox 3">
            <a:extLst>
              <a:ext uri="{FF2B5EF4-FFF2-40B4-BE49-F238E27FC236}">
                <a16:creationId xmlns:a16="http://schemas.microsoft.com/office/drawing/2014/main" id="{D21026E1-EA64-6D3E-75F3-CDC0D2B6C5B0}"/>
              </a:ext>
            </a:extLst>
          </p:cNvPr>
          <p:cNvSpPr txBox="1"/>
          <p:nvPr/>
        </p:nvSpPr>
        <p:spPr>
          <a:xfrm>
            <a:off x="1783389" y="2788349"/>
            <a:ext cx="20685886" cy="10130481"/>
          </a:xfrm>
          <a:prstGeom prst="rect">
            <a:avLst/>
          </a:prstGeom>
        </p:spPr>
        <p:txBody>
          <a:bodyPr vert="horz" wrap="square" lIns="0" tIns="0" rIns="0" bIns="0" rtlCol="0" anchor="t" anchorCtr="0">
            <a:noAutofit/>
          </a:bodyPr>
          <a:lstStyle/>
          <a:p>
            <a:pPr algn="l">
              <a:spcAft>
                <a:spcPts val="600"/>
              </a:spcAft>
            </a:pPr>
            <a:r>
              <a:rPr lang="en-US" sz="4500" b="1">
                <a:solidFill>
                  <a:srgbClr val="C1F400"/>
                </a:solidFill>
              </a:rPr>
              <a:t>A live, virtual 25-35 min presentation and accompanying slide deck that:</a:t>
            </a:r>
          </a:p>
          <a:p>
            <a:pPr marL="285750" lvl="1" indent="-285750">
              <a:spcAft>
                <a:spcPts val="600"/>
              </a:spcAft>
              <a:buClr>
                <a:schemeClr val="bg1"/>
              </a:buClr>
              <a:buFont typeface="Wingdings" panose="05000000000000000000" pitchFamily="2" charset="2"/>
              <a:buChar char="q"/>
            </a:pPr>
            <a:r>
              <a:rPr lang="en-US" sz="4000">
                <a:solidFill>
                  <a:schemeClr val="tx2"/>
                </a:solidFill>
              </a:rPr>
              <a:t> Includes an Executive Summary that defines the problem statement and their proposed recommendation </a:t>
            </a:r>
          </a:p>
          <a:p>
            <a:pPr marL="285750" lvl="1" indent="-285750">
              <a:spcAft>
                <a:spcPts val="600"/>
              </a:spcAft>
              <a:buClr>
                <a:schemeClr val="bg1"/>
              </a:buClr>
              <a:buFont typeface="Wingdings" panose="05000000000000000000" pitchFamily="2" charset="2"/>
              <a:buChar char="q"/>
            </a:pPr>
            <a:r>
              <a:rPr lang="en-US" sz="4000">
                <a:solidFill>
                  <a:schemeClr val="tx2"/>
                </a:solidFill>
              </a:rPr>
              <a:t> Leverages data visualizations to detail the data trends and insights</a:t>
            </a:r>
          </a:p>
          <a:p>
            <a:pPr marL="285750" lvl="1" indent="-285750">
              <a:spcAft>
                <a:spcPts val="600"/>
              </a:spcAft>
              <a:buClr>
                <a:schemeClr val="bg1"/>
              </a:buClr>
              <a:buFont typeface="Wingdings" panose="05000000000000000000" pitchFamily="2" charset="2"/>
              <a:buChar char="q"/>
            </a:pPr>
            <a:r>
              <a:rPr lang="en-US" sz="4000">
                <a:solidFill>
                  <a:schemeClr val="tx2"/>
                </a:solidFill>
              </a:rPr>
              <a:t> Describes the machine learning model used to predict the likelihood of future donations, including</a:t>
            </a:r>
          </a:p>
          <a:p>
            <a:pPr marL="1997075" lvl="6" indent="-690563">
              <a:spcAft>
                <a:spcPts val="600"/>
              </a:spcAft>
              <a:buClr>
                <a:schemeClr val="bg1"/>
              </a:buClr>
              <a:buFont typeface="Wingdings" panose="05000000000000000000" pitchFamily="2" charset="2"/>
              <a:buChar char="q"/>
              <a:tabLst>
                <a:tab pos="1258888" algn="l"/>
              </a:tabLst>
            </a:pPr>
            <a:r>
              <a:rPr lang="en-US" sz="4000">
                <a:solidFill>
                  <a:schemeClr val="tx2"/>
                </a:solidFill>
              </a:rPr>
              <a:t>Model selection choice</a:t>
            </a:r>
          </a:p>
          <a:p>
            <a:pPr marL="1997075" lvl="6" indent="-690563">
              <a:spcAft>
                <a:spcPts val="600"/>
              </a:spcAft>
              <a:buClr>
                <a:schemeClr val="bg1"/>
              </a:buClr>
              <a:buFont typeface="Wingdings" panose="05000000000000000000" pitchFamily="2" charset="2"/>
              <a:buChar char="q"/>
              <a:tabLst>
                <a:tab pos="1258888" algn="l"/>
              </a:tabLst>
            </a:pPr>
            <a:r>
              <a:rPr lang="en-US" sz="4000">
                <a:solidFill>
                  <a:schemeClr val="tx2"/>
                </a:solidFill>
              </a:rPr>
              <a:t>Model parameters</a:t>
            </a:r>
          </a:p>
          <a:p>
            <a:pPr marL="1997075" lvl="6" indent="-690563">
              <a:spcAft>
                <a:spcPts val="600"/>
              </a:spcAft>
              <a:buClr>
                <a:schemeClr val="bg1"/>
              </a:buClr>
              <a:buFont typeface="Wingdings" panose="05000000000000000000" pitchFamily="2" charset="2"/>
              <a:buChar char="q"/>
              <a:tabLst>
                <a:tab pos="1258888" algn="l"/>
              </a:tabLst>
            </a:pPr>
            <a:r>
              <a:rPr lang="en-US" sz="4000">
                <a:solidFill>
                  <a:schemeClr val="tx2"/>
                </a:solidFill>
              </a:rPr>
              <a:t>Model metrics</a:t>
            </a:r>
          </a:p>
          <a:p>
            <a:pPr marL="1997075" lvl="6" indent="-690563">
              <a:spcAft>
                <a:spcPts val="600"/>
              </a:spcAft>
              <a:buClr>
                <a:schemeClr val="bg1"/>
              </a:buClr>
              <a:buFont typeface="Wingdings" panose="05000000000000000000" pitchFamily="2" charset="2"/>
              <a:buChar char="q"/>
              <a:tabLst>
                <a:tab pos="1258888" algn="l"/>
              </a:tabLst>
            </a:pPr>
            <a:r>
              <a:rPr lang="en-US" sz="4000">
                <a:solidFill>
                  <a:schemeClr val="tx2"/>
                </a:solidFill>
              </a:rPr>
              <a:t>Outcomes</a:t>
            </a:r>
          </a:p>
          <a:p>
            <a:pPr marL="285750" lvl="1" indent="-285750">
              <a:spcAft>
                <a:spcPts val="600"/>
              </a:spcAft>
              <a:buClr>
                <a:schemeClr val="bg1"/>
              </a:buClr>
              <a:buFont typeface="Wingdings" panose="05000000000000000000" pitchFamily="2" charset="2"/>
              <a:buChar char="q"/>
            </a:pPr>
            <a:r>
              <a:rPr lang="en-US" sz="4000">
                <a:solidFill>
                  <a:schemeClr val="tx2"/>
                </a:solidFill>
              </a:rPr>
              <a:t> Contains an actionable recommendation from the ML output for targeting donations or understanding the donation patterns for C5LA</a:t>
            </a:r>
          </a:p>
          <a:p>
            <a:pPr marL="285750" lvl="1" indent="-285750">
              <a:spcAft>
                <a:spcPts val="600"/>
              </a:spcAft>
              <a:buClr>
                <a:schemeClr val="bg1"/>
              </a:buClr>
              <a:buFont typeface="Wingdings" panose="05000000000000000000" pitchFamily="2" charset="2"/>
              <a:buChar char="q"/>
            </a:pPr>
            <a:r>
              <a:rPr lang="en-US" sz="4000">
                <a:solidFill>
                  <a:schemeClr val="tx2"/>
                </a:solidFill>
              </a:rPr>
              <a:t> Properly cites the tools, methodologies, and sources used for the final product</a:t>
            </a:r>
          </a:p>
          <a:p>
            <a:pPr marL="285750" lvl="1" indent="-285750">
              <a:spcAft>
                <a:spcPts val="600"/>
              </a:spcAft>
              <a:buClr>
                <a:schemeClr val="bg1"/>
              </a:buClr>
              <a:buFont typeface="Wingdings" panose="05000000000000000000" pitchFamily="2" charset="2"/>
              <a:buChar char="q"/>
            </a:pPr>
            <a:r>
              <a:rPr lang="en-US" sz="4000">
                <a:solidFill>
                  <a:schemeClr val="tx2"/>
                </a:solidFill>
              </a:rPr>
              <a:t> **Prepare for the Q&amp;A session at the end of the presentation**</a:t>
            </a:r>
          </a:p>
        </p:txBody>
      </p:sp>
    </p:spTree>
    <p:extLst>
      <p:ext uri="{BB962C8B-B14F-4D97-AF65-F5344CB8AC3E}">
        <p14:creationId xmlns:p14="http://schemas.microsoft.com/office/powerpoint/2010/main" val="13077339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B99CD2-D201-B23B-284E-DB9E1D5EB97F}"/>
              </a:ext>
            </a:extLst>
          </p:cNvPr>
          <p:cNvSpPr>
            <a:spLocks noGrp="1"/>
          </p:cNvSpPr>
          <p:nvPr>
            <p:ph type="title"/>
          </p:nvPr>
        </p:nvSpPr>
        <p:spPr/>
        <p:txBody>
          <a:bodyPr/>
          <a:lstStyle/>
          <a:p>
            <a:r>
              <a:rPr lang="en-US"/>
              <a:t>Data Overview</a:t>
            </a:r>
          </a:p>
        </p:txBody>
      </p:sp>
      <p:sp>
        <p:nvSpPr>
          <p:cNvPr id="3" name="Subtitle 2">
            <a:extLst>
              <a:ext uri="{FF2B5EF4-FFF2-40B4-BE49-F238E27FC236}">
                <a16:creationId xmlns:a16="http://schemas.microsoft.com/office/drawing/2014/main" id="{4D025F7B-32AF-DCE5-E86C-2B0099546A4E}"/>
              </a:ext>
            </a:extLst>
          </p:cNvPr>
          <p:cNvSpPr>
            <a:spLocks noGrp="1"/>
          </p:cNvSpPr>
          <p:nvPr>
            <p:ph type="subTitle" idx="1"/>
          </p:nvPr>
        </p:nvSpPr>
        <p:spPr/>
        <p:txBody>
          <a:bodyPr/>
          <a:lstStyle/>
          <a:p>
            <a:endParaRPr lang="en-US"/>
          </a:p>
        </p:txBody>
      </p:sp>
      <p:sp>
        <p:nvSpPr>
          <p:cNvPr id="4" name="Subtitle 3">
            <a:extLst>
              <a:ext uri="{FF2B5EF4-FFF2-40B4-BE49-F238E27FC236}">
                <a16:creationId xmlns:a16="http://schemas.microsoft.com/office/drawing/2014/main" id="{7669BE05-A9CA-5F98-D55E-9A3C012B2B2E}"/>
              </a:ext>
            </a:extLst>
          </p:cNvPr>
          <p:cNvSpPr>
            <a:spLocks noGrp="1"/>
          </p:cNvSpPr>
          <p:nvPr>
            <p:ph type="subTitle" idx="2"/>
          </p:nvPr>
        </p:nvSpPr>
        <p:spPr/>
        <p:txBody>
          <a:bodyPr/>
          <a:lstStyle/>
          <a:p>
            <a:endParaRPr lang="en-US"/>
          </a:p>
        </p:txBody>
      </p:sp>
    </p:spTree>
    <p:extLst>
      <p:ext uri="{BB962C8B-B14F-4D97-AF65-F5344CB8AC3E}">
        <p14:creationId xmlns:p14="http://schemas.microsoft.com/office/powerpoint/2010/main" val="39527499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1387"/>
        <p:cNvGrpSpPr/>
        <p:nvPr/>
      </p:nvGrpSpPr>
      <p:grpSpPr>
        <a:xfrm>
          <a:off x="0" y="0"/>
          <a:ext cx="0" cy="0"/>
          <a:chOff x="0" y="0"/>
          <a:chExt cx="0" cy="0"/>
        </a:xfrm>
      </p:grpSpPr>
      <p:sp>
        <p:nvSpPr>
          <p:cNvPr id="1388" name="Google Shape;1388;p106"/>
          <p:cNvSpPr txBox="1"/>
          <p:nvPr/>
        </p:nvSpPr>
        <p:spPr>
          <a:xfrm>
            <a:off x="2110237" y="1816572"/>
            <a:ext cx="20157176" cy="14873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Clr>
                <a:schemeClr val="dk1"/>
              </a:buClr>
              <a:buSzPts val="1100"/>
              <a:buFont typeface="Arial"/>
              <a:buNone/>
            </a:pPr>
            <a:r>
              <a:rPr lang="en-US" sz="7200">
                <a:solidFill>
                  <a:srgbClr val="002A44"/>
                </a:solidFill>
                <a:latin typeface="Montserrat Black"/>
                <a:ea typeface="Montserrat Black"/>
                <a:cs typeface="Montserrat Black"/>
                <a:sym typeface="Montserrat Black"/>
              </a:rPr>
              <a:t>Data overview</a:t>
            </a:r>
            <a:endParaRPr sz="7200" b="1">
              <a:solidFill>
                <a:srgbClr val="002A44"/>
              </a:solidFill>
              <a:latin typeface="Montserrat"/>
              <a:ea typeface="Montserrat"/>
              <a:cs typeface="Montserrat"/>
              <a:sym typeface="Montserrat"/>
            </a:endParaRPr>
          </a:p>
          <a:p>
            <a:pPr marL="0" lvl="0" indent="0" algn="l" rtl="0">
              <a:lnSpc>
                <a:spcPct val="115000"/>
              </a:lnSpc>
              <a:spcBef>
                <a:spcPts val="0"/>
              </a:spcBef>
              <a:spcAft>
                <a:spcPts val="0"/>
              </a:spcAft>
              <a:buNone/>
            </a:pPr>
            <a:endParaRPr sz="1100">
              <a:solidFill>
                <a:schemeClr val="dk1"/>
              </a:solidFill>
            </a:endParaRPr>
          </a:p>
        </p:txBody>
      </p:sp>
      <p:sp>
        <p:nvSpPr>
          <p:cNvPr id="1390" name="Google Shape;1390;p106"/>
          <p:cNvSpPr txBox="1"/>
          <p:nvPr/>
        </p:nvSpPr>
        <p:spPr>
          <a:xfrm>
            <a:off x="2110237" y="3278772"/>
            <a:ext cx="20157176" cy="2421941"/>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US" sz="5400">
                <a:solidFill>
                  <a:srgbClr val="002A44"/>
                </a:solidFill>
                <a:latin typeface="Montserrat"/>
                <a:ea typeface="Montserrat"/>
                <a:cs typeface="Montserrat"/>
                <a:sym typeface="Montserrat"/>
              </a:rPr>
              <a:t>You are provided with three datasets via a KPMG Secure File Transfer Protocol site to download the data. Data dictionaries are also provided for all datasets.</a:t>
            </a:r>
          </a:p>
        </p:txBody>
      </p:sp>
      <p:pic>
        <p:nvPicPr>
          <p:cNvPr id="1391" name="Google Shape;1391;p106"/>
          <p:cNvPicPr preferRelativeResize="0"/>
          <p:nvPr/>
        </p:nvPicPr>
        <p:blipFill>
          <a:blip r:embed="rId5">
            <a:alphaModFix/>
          </a:blip>
          <a:stretch>
            <a:fillRect/>
          </a:stretch>
        </p:blipFill>
        <p:spPr>
          <a:xfrm>
            <a:off x="22164030" y="11626596"/>
            <a:ext cx="1709928" cy="1709928"/>
          </a:xfrm>
          <a:prstGeom prst="rect">
            <a:avLst/>
          </a:prstGeom>
          <a:noFill/>
          <a:ln>
            <a:noFill/>
          </a:ln>
        </p:spPr>
      </p:pic>
      <p:graphicFrame>
        <p:nvGraphicFramePr>
          <p:cNvPr id="8" name="Table 8">
            <a:extLst>
              <a:ext uri="{FF2B5EF4-FFF2-40B4-BE49-F238E27FC236}">
                <a16:creationId xmlns:a16="http://schemas.microsoft.com/office/drawing/2014/main" id="{D2E1F5A9-41FF-0C40-B9B0-8869830EAB10}"/>
              </a:ext>
            </a:extLst>
          </p:cNvPr>
          <p:cNvGraphicFramePr>
            <a:graphicFrameLocks noGrp="1"/>
          </p:cNvGraphicFramePr>
          <p:nvPr>
            <p:extLst>
              <p:ext uri="{D42A27DB-BD31-4B8C-83A1-F6EECF244321}">
                <p14:modId xmlns:p14="http://schemas.microsoft.com/office/powerpoint/2010/main" val="3932985005"/>
              </p:ext>
            </p:extLst>
          </p:nvPr>
        </p:nvGraphicFramePr>
        <p:xfrm>
          <a:off x="2286382" y="6250942"/>
          <a:ext cx="20859367" cy="5541338"/>
        </p:xfrm>
        <a:graphic>
          <a:graphicData uri="http://schemas.openxmlformats.org/drawingml/2006/table">
            <a:tbl>
              <a:tblPr firstRow="1" bandRow="1">
                <a:tableStyleId>{808865FD-88DD-49D3-9B5D-C45A42B467EB}</a:tableStyleId>
              </a:tblPr>
              <a:tblGrid>
                <a:gridCol w="3096606">
                  <a:extLst>
                    <a:ext uri="{9D8B030D-6E8A-4147-A177-3AD203B41FA5}">
                      <a16:colId xmlns:a16="http://schemas.microsoft.com/office/drawing/2014/main" val="2705104468"/>
                    </a:ext>
                  </a:extLst>
                </a:gridCol>
                <a:gridCol w="5203732">
                  <a:extLst>
                    <a:ext uri="{9D8B030D-6E8A-4147-A177-3AD203B41FA5}">
                      <a16:colId xmlns:a16="http://schemas.microsoft.com/office/drawing/2014/main" val="2793358206"/>
                    </a:ext>
                  </a:extLst>
                </a:gridCol>
                <a:gridCol w="6110147">
                  <a:extLst>
                    <a:ext uri="{9D8B030D-6E8A-4147-A177-3AD203B41FA5}">
                      <a16:colId xmlns:a16="http://schemas.microsoft.com/office/drawing/2014/main" val="4148213575"/>
                    </a:ext>
                  </a:extLst>
                </a:gridCol>
                <a:gridCol w="6448882">
                  <a:extLst>
                    <a:ext uri="{9D8B030D-6E8A-4147-A177-3AD203B41FA5}">
                      <a16:colId xmlns:a16="http://schemas.microsoft.com/office/drawing/2014/main" val="3154425304"/>
                    </a:ext>
                  </a:extLst>
                </a:gridCol>
              </a:tblGrid>
              <a:tr h="1152218">
                <a:tc>
                  <a:txBody>
                    <a:bodyPr/>
                    <a:lstStyle/>
                    <a:p>
                      <a:pPr algn="ctr"/>
                      <a:endParaRPr lang="en-US" sz="4500" b="1" i="0" u="none" strike="noStrike" cap="none">
                        <a:solidFill>
                          <a:srgbClr val="002A44"/>
                        </a:solidFill>
                        <a:latin typeface="Montserrat"/>
                        <a:sym typeface="Arial"/>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a:r>
                        <a:rPr lang="en-US" sz="4500" b="1" i="0" u="none" strike="noStrike" cap="none">
                          <a:solidFill>
                            <a:srgbClr val="002A44"/>
                          </a:solidFill>
                          <a:latin typeface="Montserrat"/>
                          <a:sym typeface="Arial"/>
                        </a:rPr>
                        <a:t>Donation Data</a:t>
                      </a:r>
                    </a:p>
                  </a:txBody>
                  <a:tcPr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a:r>
                        <a:rPr lang="en-US" sz="4500" b="1">
                          <a:solidFill>
                            <a:srgbClr val="002A44"/>
                          </a:solidFill>
                          <a:latin typeface="Montserrat"/>
                          <a:ea typeface="Montserrat"/>
                          <a:cs typeface="Montserrat"/>
                          <a:sym typeface="Montserrat"/>
                        </a:rPr>
                        <a:t>ACS Sociodemographics</a:t>
                      </a:r>
                      <a:endParaRPr lang="en-US" sz="4500"/>
                    </a:p>
                  </a:txBody>
                  <a:tcPr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a:r>
                        <a:rPr lang="en-US" sz="4500" b="1">
                          <a:solidFill>
                            <a:srgbClr val="002A44"/>
                          </a:solidFill>
                          <a:latin typeface="Montserrat Black"/>
                          <a:ea typeface="Montserrat"/>
                          <a:cs typeface="Montserrat"/>
                          <a:sym typeface="Montserrat Black"/>
                        </a:rPr>
                        <a:t>County to Zip Code Crosswalk </a:t>
                      </a:r>
                      <a:endParaRPr lang="en-US" sz="4500" b="1"/>
                    </a:p>
                  </a:txBody>
                  <a:tcPr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0691978"/>
                  </a:ext>
                </a:extLst>
              </a:tr>
              <a:tr h="1152218">
                <a:tc>
                  <a:txBody>
                    <a:bodyPr/>
                    <a:lstStyle/>
                    <a:p>
                      <a:pPr marR="0" algn="ctr" rtl="0">
                        <a:lnSpc>
                          <a:spcPct val="100000"/>
                        </a:lnSpc>
                        <a:spcBef>
                          <a:spcPts val="0"/>
                        </a:spcBef>
                        <a:spcAft>
                          <a:spcPts val="0"/>
                        </a:spcAft>
                        <a:buClr>
                          <a:srgbClr val="000000"/>
                        </a:buClr>
                        <a:buFont typeface="Arial"/>
                      </a:pPr>
                      <a:r>
                        <a:rPr lang="en-US" sz="4500" b="1" i="0" u="none" strike="noStrike" cap="none">
                          <a:solidFill>
                            <a:srgbClr val="002A44"/>
                          </a:solidFill>
                          <a:latin typeface="Montserrat"/>
                          <a:cs typeface="Arial"/>
                          <a:sym typeface="Arial"/>
                        </a:rPr>
                        <a:t>Format</a:t>
                      </a: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R="0" algn="ctr" rtl="0">
                        <a:lnSpc>
                          <a:spcPct val="100000"/>
                        </a:lnSpc>
                        <a:spcBef>
                          <a:spcPts val="0"/>
                        </a:spcBef>
                        <a:spcAft>
                          <a:spcPts val="0"/>
                        </a:spcAft>
                        <a:buClr>
                          <a:srgbClr val="000000"/>
                        </a:buClr>
                        <a:buFont typeface="Arial"/>
                      </a:pPr>
                      <a:r>
                        <a:rPr lang="en-US" sz="4500" b="0" i="0" u="none" strike="noStrike" cap="none">
                          <a:solidFill>
                            <a:srgbClr val="002A44"/>
                          </a:solidFill>
                          <a:latin typeface="Montserrat"/>
                          <a:cs typeface="Arial"/>
                          <a:sym typeface="Arial"/>
                        </a:rPr>
                        <a:t>.xlsx</a:t>
                      </a: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4500" b="0" i="0" u="none" strike="noStrike" cap="none">
                          <a:solidFill>
                            <a:srgbClr val="002A44"/>
                          </a:solidFill>
                          <a:latin typeface="Montserrat"/>
                          <a:cs typeface="Arial"/>
                          <a:sym typeface="Arial"/>
                        </a:rPr>
                        <a:t>.xlsx</a:t>
                      </a: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4500" b="0" i="0" u="none" strike="noStrike" cap="none">
                          <a:solidFill>
                            <a:srgbClr val="002A44"/>
                          </a:solidFill>
                          <a:latin typeface="Montserrat"/>
                          <a:cs typeface="Arial"/>
                          <a:sym typeface="Arial"/>
                        </a:rPr>
                        <a:t>.xlsx</a:t>
                      </a: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90843366"/>
                  </a:ext>
                </a:extLst>
              </a:tr>
              <a:tr h="1059538">
                <a:tc>
                  <a:txBody>
                    <a:bodyPr/>
                    <a:lstStyle/>
                    <a:p>
                      <a:pPr marR="0" algn="ctr" rtl="0">
                        <a:lnSpc>
                          <a:spcPct val="100000"/>
                        </a:lnSpc>
                        <a:spcBef>
                          <a:spcPts val="0"/>
                        </a:spcBef>
                        <a:spcAft>
                          <a:spcPts val="0"/>
                        </a:spcAft>
                        <a:buClr>
                          <a:srgbClr val="000000"/>
                        </a:buClr>
                        <a:buFont typeface="Arial"/>
                      </a:pPr>
                      <a:r>
                        <a:rPr lang="en-US" sz="4500" b="1" i="0" u="none" strike="noStrike" cap="none">
                          <a:solidFill>
                            <a:srgbClr val="002A44"/>
                          </a:solidFill>
                          <a:latin typeface="Montserrat"/>
                          <a:cs typeface="Arial"/>
                          <a:sym typeface="Arial"/>
                        </a:rPr>
                        <a:t>Data types</a:t>
                      </a: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a:r>
                        <a:rPr lang="en-US" sz="4500">
                          <a:solidFill>
                            <a:srgbClr val="002A44"/>
                          </a:solidFill>
                          <a:latin typeface="Montserrat"/>
                        </a:rPr>
                        <a:t>Numerical </a:t>
                      </a:r>
                      <a:r>
                        <a:rPr lang="en-US" sz="4500" b="0">
                          <a:solidFill>
                            <a:srgbClr val="002A44"/>
                          </a:solidFill>
                          <a:latin typeface="Montserrat"/>
                        </a:rPr>
                        <a:t>and</a:t>
                      </a:r>
                      <a:r>
                        <a:rPr lang="en-US" sz="4500">
                          <a:solidFill>
                            <a:srgbClr val="002A44"/>
                          </a:solidFill>
                          <a:latin typeface="Montserrat"/>
                        </a:rPr>
                        <a:t> Categorical</a:t>
                      </a:r>
                      <a:endParaRPr lang="en-US" sz="4500"/>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a:r>
                        <a:rPr lang="en-US" sz="4500">
                          <a:solidFill>
                            <a:srgbClr val="002A44"/>
                          </a:solidFill>
                          <a:latin typeface="Montserrat"/>
                        </a:rPr>
                        <a:t>Numerical and Categorical</a:t>
                      </a:r>
                      <a:endParaRPr lang="en-US" sz="4500"/>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4500">
                          <a:solidFill>
                            <a:srgbClr val="002A44"/>
                          </a:solidFill>
                          <a:latin typeface="Montserrat"/>
                        </a:rPr>
                        <a:t>Categorical</a:t>
                      </a:r>
                      <a:endParaRPr lang="en-US" sz="4500"/>
                    </a:p>
                    <a:p>
                      <a:pPr algn="ctr"/>
                      <a:endParaRPr lang="en-US" sz="4500"/>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62693053"/>
                  </a:ext>
                </a:extLst>
              </a:tr>
              <a:tr h="1059538">
                <a:tc>
                  <a:txBody>
                    <a:bodyPr/>
                    <a:lstStyle/>
                    <a:p>
                      <a:pPr marR="0" algn="ctr" rtl="0">
                        <a:lnSpc>
                          <a:spcPct val="100000"/>
                        </a:lnSpc>
                        <a:spcBef>
                          <a:spcPts val="0"/>
                        </a:spcBef>
                        <a:spcAft>
                          <a:spcPts val="0"/>
                        </a:spcAft>
                        <a:buClr>
                          <a:srgbClr val="000000"/>
                        </a:buClr>
                        <a:buFont typeface="Arial"/>
                      </a:pPr>
                      <a:r>
                        <a:rPr lang="en-US" sz="4500" b="1" i="0" u="none" strike="noStrike" cap="none">
                          <a:solidFill>
                            <a:srgbClr val="002A44"/>
                          </a:solidFill>
                          <a:latin typeface="Montserrat"/>
                          <a:cs typeface="Arial"/>
                          <a:sym typeface="Arial"/>
                        </a:rPr>
                        <a:t>Approx. Size</a:t>
                      </a: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a:r>
                        <a:rPr lang="en-US" sz="4500">
                          <a:solidFill>
                            <a:srgbClr val="002A44"/>
                          </a:solidFill>
                          <a:latin typeface="Montserrat"/>
                        </a:rPr>
                        <a:t>200 KB</a:t>
                      </a:r>
                      <a:endParaRPr lang="en-US" sz="4500"/>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a:r>
                        <a:rPr lang="en-US" sz="4500">
                          <a:solidFill>
                            <a:srgbClr val="002A44"/>
                          </a:solidFill>
                          <a:latin typeface="Montserrat"/>
                        </a:rPr>
                        <a:t>40,000 KB (0.40 GB)</a:t>
                      </a:r>
                      <a:endParaRPr lang="en-US" sz="4500"/>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a:r>
                        <a:rPr lang="en-US" sz="4500" b="0" i="0" u="none" strike="noStrike" cap="none">
                          <a:solidFill>
                            <a:srgbClr val="002A44"/>
                          </a:solidFill>
                          <a:latin typeface="Montserrat"/>
                          <a:cs typeface="Arial"/>
                          <a:sym typeface="Arial"/>
                        </a:rPr>
                        <a:t>41,700 KB (.41 GB)</a:t>
                      </a:r>
                      <a:endParaRPr lang="en-US" sz="4500"/>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47755208"/>
                  </a:ext>
                </a:extLst>
              </a:tr>
            </a:tbl>
          </a:graphicData>
        </a:graphic>
      </p:graphicFrame>
    </p:spTree>
  </p:cSld>
  <p:clrMapOvr>
    <a:masterClrMapping/>
  </p:clrMapOvr>
  <p:extLst>
    <p:ext uri="{6950BFC3-D8DA-4A85-94F7-54DA5524770B}">
      <p188:commentRel xmlns:p188="http://schemas.microsoft.com/office/powerpoint/2018/8/main" r:id="rId3"/>
    </p:ext>
  </p:extLst>
</p:sld>
</file>

<file path=ppt/slides/slide13.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1387"/>
        <p:cNvGrpSpPr/>
        <p:nvPr/>
      </p:nvGrpSpPr>
      <p:grpSpPr>
        <a:xfrm>
          <a:off x="0" y="0"/>
          <a:ext cx="0" cy="0"/>
          <a:chOff x="0" y="0"/>
          <a:chExt cx="0" cy="0"/>
        </a:xfrm>
      </p:grpSpPr>
      <p:sp>
        <p:nvSpPr>
          <p:cNvPr id="1388" name="Google Shape;1388;p106"/>
          <p:cNvSpPr txBox="1"/>
          <p:nvPr/>
        </p:nvSpPr>
        <p:spPr>
          <a:xfrm>
            <a:off x="2142929" y="1816572"/>
            <a:ext cx="20124484" cy="14873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Clr>
                <a:schemeClr val="dk1"/>
              </a:buClr>
              <a:buSzPts val="1100"/>
              <a:buFont typeface="Arial"/>
              <a:buNone/>
            </a:pPr>
            <a:r>
              <a:rPr lang="en-US" sz="7200">
                <a:solidFill>
                  <a:srgbClr val="002A44"/>
                </a:solidFill>
                <a:latin typeface="Montserrat Black"/>
                <a:ea typeface="Montserrat"/>
                <a:cs typeface="Montserrat"/>
                <a:sym typeface="Montserrat Black"/>
              </a:rPr>
              <a:t>Dataset 1 – Donation Data</a:t>
            </a:r>
            <a:endParaRPr sz="7200">
              <a:solidFill>
                <a:srgbClr val="002A44"/>
              </a:solidFill>
              <a:latin typeface="Montserrat"/>
              <a:ea typeface="Montserrat"/>
              <a:cs typeface="Montserrat"/>
              <a:sym typeface="Montserrat"/>
            </a:endParaRPr>
          </a:p>
          <a:p>
            <a:pPr marL="0" lvl="0" indent="0" algn="l" rtl="0">
              <a:lnSpc>
                <a:spcPct val="115000"/>
              </a:lnSpc>
              <a:spcBef>
                <a:spcPts val="0"/>
              </a:spcBef>
              <a:spcAft>
                <a:spcPts val="0"/>
              </a:spcAft>
              <a:buNone/>
            </a:pPr>
            <a:endParaRPr sz="1100">
              <a:solidFill>
                <a:schemeClr val="dk1"/>
              </a:solidFill>
            </a:endParaRPr>
          </a:p>
        </p:txBody>
      </p:sp>
      <p:sp>
        <p:nvSpPr>
          <p:cNvPr id="1389" name="Google Shape;1389;p106"/>
          <p:cNvSpPr txBox="1"/>
          <p:nvPr/>
        </p:nvSpPr>
        <p:spPr>
          <a:xfrm>
            <a:off x="2128775" y="3927831"/>
            <a:ext cx="20960909" cy="2031295"/>
          </a:xfrm>
          <a:prstGeom prst="rect">
            <a:avLst/>
          </a:prstGeom>
          <a:noFill/>
          <a:ln>
            <a:noFill/>
          </a:ln>
        </p:spPr>
        <p:txBody>
          <a:bodyPr spcFirstLastPara="1" wrap="square" lIns="91425" tIns="91425" rIns="91425" bIns="91425" anchor="t" anchorCtr="0">
            <a:spAutoFit/>
          </a:bodyPr>
          <a:lstStyle/>
          <a:p>
            <a:pPr lvl="0" algn="l" rtl="0">
              <a:spcBef>
                <a:spcPts val="0"/>
              </a:spcBef>
              <a:spcAft>
                <a:spcPts val="0"/>
              </a:spcAft>
              <a:buClr>
                <a:srgbClr val="002A44"/>
              </a:buClr>
              <a:buSzPts val="3600"/>
            </a:pPr>
            <a:r>
              <a:rPr lang="en-US" sz="4000">
                <a:solidFill>
                  <a:schemeClr val="tx1"/>
                </a:solidFill>
                <a:latin typeface="Montserrat"/>
                <a:ea typeface="Montserrat"/>
                <a:cs typeface="Montserrat"/>
                <a:sym typeface="Montserrat"/>
              </a:rPr>
              <a:t>A tabular dataset containing information about one-time and recurring individual household or corporate donors. Data is created from Salesforce and reformatted for simplicity. Attributes include: </a:t>
            </a:r>
          </a:p>
          <a:p>
            <a:pPr marL="685800" lvl="0" indent="-685800" algn="l" rtl="0">
              <a:spcBef>
                <a:spcPts val="0"/>
              </a:spcBef>
              <a:spcAft>
                <a:spcPts val="0"/>
              </a:spcAft>
              <a:buClr>
                <a:srgbClr val="002A44"/>
              </a:buClr>
              <a:buSzPts val="3600"/>
              <a:buFont typeface="Arial" panose="020B0604020202020204" pitchFamily="34" charset="0"/>
              <a:buChar char="•"/>
            </a:pPr>
            <a:endParaRPr lang="en-US" sz="4000" b="1">
              <a:solidFill>
                <a:schemeClr val="tx1"/>
              </a:solidFill>
              <a:latin typeface="Montserrat"/>
              <a:ea typeface="Montserrat"/>
              <a:cs typeface="Montserrat"/>
              <a:sym typeface="Montserrat"/>
            </a:endParaRPr>
          </a:p>
        </p:txBody>
      </p:sp>
      <p:pic>
        <p:nvPicPr>
          <p:cNvPr id="1391" name="Google Shape;1391;p106"/>
          <p:cNvPicPr preferRelativeResize="0"/>
          <p:nvPr/>
        </p:nvPicPr>
        <p:blipFill>
          <a:blip r:embed="rId5">
            <a:alphaModFix/>
          </a:blip>
          <a:stretch>
            <a:fillRect/>
          </a:stretch>
        </p:blipFill>
        <p:spPr>
          <a:xfrm>
            <a:off x="22234720" y="11845688"/>
            <a:ext cx="1709928" cy="1709928"/>
          </a:xfrm>
          <a:prstGeom prst="rect">
            <a:avLst/>
          </a:prstGeom>
          <a:noFill/>
          <a:ln>
            <a:noFill/>
          </a:ln>
        </p:spPr>
      </p:pic>
      <p:pic>
        <p:nvPicPr>
          <p:cNvPr id="4" name="Picture 3">
            <a:extLst>
              <a:ext uri="{FF2B5EF4-FFF2-40B4-BE49-F238E27FC236}">
                <a16:creationId xmlns:a16="http://schemas.microsoft.com/office/drawing/2014/main" id="{0F5E598F-0178-92ED-BD05-3F4A9748801F}"/>
              </a:ext>
            </a:extLst>
          </p:cNvPr>
          <p:cNvPicPr>
            <a:picLocks noChangeAspect="1"/>
          </p:cNvPicPr>
          <p:nvPr/>
        </p:nvPicPr>
        <p:blipFill rotWithShape="1">
          <a:blip r:embed="rId6"/>
          <a:srcRect t="6516"/>
          <a:stretch/>
        </p:blipFill>
        <p:spPr>
          <a:xfrm>
            <a:off x="2128775" y="8592304"/>
            <a:ext cx="20091791" cy="3688081"/>
          </a:xfrm>
          <a:prstGeom prst="rect">
            <a:avLst/>
          </a:prstGeom>
        </p:spPr>
      </p:pic>
      <p:sp>
        <p:nvSpPr>
          <p:cNvPr id="2" name="TextBox 1">
            <a:extLst>
              <a:ext uri="{FF2B5EF4-FFF2-40B4-BE49-F238E27FC236}">
                <a16:creationId xmlns:a16="http://schemas.microsoft.com/office/drawing/2014/main" id="{16588215-0542-78D0-0D97-A1FC2D319EA2}"/>
              </a:ext>
            </a:extLst>
          </p:cNvPr>
          <p:cNvSpPr txBox="1"/>
          <p:nvPr/>
        </p:nvSpPr>
        <p:spPr>
          <a:xfrm>
            <a:off x="2142929" y="3081401"/>
            <a:ext cx="11934376" cy="707886"/>
          </a:xfrm>
          <a:prstGeom prst="rect">
            <a:avLst/>
          </a:prstGeom>
          <a:noFill/>
        </p:spPr>
        <p:txBody>
          <a:bodyPr wrap="square" rtlCol="0">
            <a:spAutoFit/>
          </a:bodyPr>
          <a:lstStyle/>
          <a:p>
            <a:r>
              <a:rPr lang="en-US" sz="4000" u="sng"/>
              <a:t>Filename: </a:t>
            </a:r>
            <a:r>
              <a:rPr lang="en-US" sz="4000" i="1" u="sng"/>
              <a:t>DonationsC5LA.xlsx</a:t>
            </a:r>
          </a:p>
        </p:txBody>
      </p:sp>
      <p:sp>
        <p:nvSpPr>
          <p:cNvPr id="6" name="TextBox 5">
            <a:extLst>
              <a:ext uri="{FF2B5EF4-FFF2-40B4-BE49-F238E27FC236}">
                <a16:creationId xmlns:a16="http://schemas.microsoft.com/office/drawing/2014/main" id="{0C309ADC-EC20-62CE-E901-8704AFE75310}"/>
              </a:ext>
            </a:extLst>
          </p:cNvPr>
          <p:cNvSpPr txBox="1"/>
          <p:nvPr/>
        </p:nvSpPr>
        <p:spPr>
          <a:xfrm>
            <a:off x="2142929" y="5272950"/>
            <a:ext cx="12192000" cy="3170099"/>
          </a:xfrm>
          <a:prstGeom prst="rect">
            <a:avLst/>
          </a:prstGeom>
          <a:noFill/>
        </p:spPr>
        <p:txBody>
          <a:bodyPr wrap="square">
            <a:spAutoFit/>
          </a:bodyPr>
          <a:lstStyle/>
          <a:p>
            <a:pPr marL="685800" lvl="0" indent="-685800" algn="l" rtl="0">
              <a:spcBef>
                <a:spcPts val="0"/>
              </a:spcBef>
              <a:spcAft>
                <a:spcPts val="0"/>
              </a:spcAft>
              <a:buClr>
                <a:srgbClr val="002A44"/>
              </a:buClr>
              <a:buSzPts val="3600"/>
              <a:buFont typeface="Arial" panose="020B0604020202020204" pitchFamily="34" charset="0"/>
              <a:buChar char="•"/>
            </a:pPr>
            <a:r>
              <a:rPr lang="en-US" sz="4000" b="1">
                <a:solidFill>
                  <a:schemeClr val="tx1"/>
                </a:solidFill>
                <a:latin typeface="Montserrat"/>
                <a:ea typeface="Montserrat"/>
                <a:cs typeface="Montserrat"/>
                <a:sym typeface="Montserrat"/>
              </a:rPr>
              <a:t>Unique donor ID</a:t>
            </a:r>
          </a:p>
          <a:p>
            <a:pPr marL="685800" lvl="0" indent="-685800" algn="l" rtl="0">
              <a:spcBef>
                <a:spcPts val="0"/>
              </a:spcBef>
              <a:spcAft>
                <a:spcPts val="0"/>
              </a:spcAft>
              <a:buClr>
                <a:srgbClr val="002A44"/>
              </a:buClr>
              <a:buSzPts val="3600"/>
              <a:buFont typeface="Arial" panose="020B0604020202020204" pitchFamily="34" charset="0"/>
              <a:buChar char="•"/>
            </a:pPr>
            <a:r>
              <a:rPr lang="en-US" sz="4000" b="1">
                <a:solidFill>
                  <a:schemeClr val="tx1"/>
                </a:solidFill>
                <a:latin typeface="Montserrat"/>
                <a:ea typeface="Montserrat"/>
                <a:cs typeface="Montserrat"/>
                <a:sym typeface="Montserrat"/>
              </a:rPr>
              <a:t>Donation amount</a:t>
            </a:r>
          </a:p>
          <a:p>
            <a:pPr marL="685800" lvl="0" indent="-685800" algn="l" rtl="0">
              <a:spcBef>
                <a:spcPts val="0"/>
              </a:spcBef>
              <a:spcAft>
                <a:spcPts val="0"/>
              </a:spcAft>
              <a:buClr>
                <a:srgbClr val="002A44"/>
              </a:buClr>
              <a:buSzPts val="3600"/>
              <a:buFont typeface="Arial" panose="020B0604020202020204" pitchFamily="34" charset="0"/>
              <a:buChar char="•"/>
            </a:pPr>
            <a:r>
              <a:rPr lang="en-US" sz="4000" b="1">
                <a:solidFill>
                  <a:schemeClr val="tx1"/>
                </a:solidFill>
                <a:latin typeface="Montserrat"/>
                <a:ea typeface="Montserrat"/>
                <a:cs typeface="Montserrat"/>
                <a:sym typeface="Montserrat"/>
              </a:rPr>
              <a:t>Donation date</a:t>
            </a:r>
          </a:p>
          <a:p>
            <a:pPr marL="685800" lvl="0" indent="-685800" algn="l" rtl="0">
              <a:spcBef>
                <a:spcPts val="0"/>
              </a:spcBef>
              <a:spcAft>
                <a:spcPts val="0"/>
              </a:spcAft>
              <a:buClr>
                <a:srgbClr val="002A44"/>
              </a:buClr>
              <a:buSzPts val="3600"/>
              <a:buFont typeface="Arial" panose="020B0604020202020204" pitchFamily="34" charset="0"/>
              <a:buChar char="•"/>
            </a:pPr>
            <a:r>
              <a:rPr lang="en-US" sz="4000" b="1">
                <a:solidFill>
                  <a:schemeClr val="tx1"/>
                </a:solidFill>
                <a:latin typeface="Montserrat"/>
                <a:sym typeface="Montserrat"/>
              </a:rPr>
              <a:t>Donor zip code</a:t>
            </a:r>
          </a:p>
          <a:p>
            <a:pPr marL="685800" lvl="0" indent="-685800" algn="l" rtl="0">
              <a:spcBef>
                <a:spcPts val="0"/>
              </a:spcBef>
              <a:spcAft>
                <a:spcPts val="0"/>
              </a:spcAft>
              <a:buClr>
                <a:srgbClr val="002A44"/>
              </a:buClr>
              <a:buSzPts val="3600"/>
              <a:buFont typeface="Arial" panose="020B0604020202020204" pitchFamily="34" charset="0"/>
              <a:buChar char="•"/>
            </a:pPr>
            <a:r>
              <a:rPr lang="en-US" sz="4000" b="1">
                <a:solidFill>
                  <a:schemeClr val="tx1"/>
                </a:solidFill>
                <a:latin typeface="Montserrat"/>
                <a:sym typeface="Montserrat"/>
              </a:rPr>
              <a:t>Donation campaign name</a:t>
            </a:r>
          </a:p>
        </p:txBody>
      </p:sp>
    </p:spTree>
    <p:extLst>
      <p:ext uri="{BB962C8B-B14F-4D97-AF65-F5344CB8AC3E}">
        <p14:creationId xmlns:p14="http://schemas.microsoft.com/office/powerpoint/2010/main" val="1252680354"/>
      </p:ext>
    </p:extLst>
  </p:cSld>
  <p:clrMapOvr>
    <a:masterClrMapping/>
  </p:clrMapOvr>
  <p:extLst>
    <p:ext uri="{6950BFC3-D8DA-4A85-94F7-54DA5524770B}">
      <p188:commentRel xmlns:p188="http://schemas.microsoft.com/office/powerpoint/2018/8/main" r:id="rId3"/>
    </p:ext>
  </p:extLst>
</p:sld>
</file>

<file path=ppt/slides/slide14.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1387"/>
        <p:cNvGrpSpPr/>
        <p:nvPr/>
      </p:nvGrpSpPr>
      <p:grpSpPr>
        <a:xfrm>
          <a:off x="0" y="0"/>
          <a:ext cx="0" cy="0"/>
          <a:chOff x="0" y="0"/>
          <a:chExt cx="0" cy="0"/>
        </a:xfrm>
      </p:grpSpPr>
      <p:sp>
        <p:nvSpPr>
          <p:cNvPr id="1388" name="Google Shape;1388;p106"/>
          <p:cNvSpPr txBox="1"/>
          <p:nvPr/>
        </p:nvSpPr>
        <p:spPr>
          <a:xfrm>
            <a:off x="2086106" y="1816572"/>
            <a:ext cx="20181307" cy="1292631"/>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Clr>
                <a:schemeClr val="dk1"/>
              </a:buClr>
              <a:buSzPts val="1100"/>
              <a:buFont typeface="Arial"/>
              <a:buNone/>
            </a:pPr>
            <a:r>
              <a:rPr lang="en-US" sz="7200">
                <a:solidFill>
                  <a:srgbClr val="002A44"/>
                </a:solidFill>
                <a:latin typeface="Montserrat Black"/>
                <a:ea typeface="Montserrat"/>
                <a:cs typeface="Montserrat"/>
                <a:sym typeface="Montserrat Black"/>
              </a:rPr>
              <a:t>Dataset 2 – ACS Sociodemographic Panel</a:t>
            </a:r>
            <a:endParaRPr sz="1100">
              <a:solidFill>
                <a:schemeClr val="dk1"/>
              </a:solidFill>
            </a:endParaRPr>
          </a:p>
        </p:txBody>
      </p:sp>
      <p:sp>
        <p:nvSpPr>
          <p:cNvPr id="1389" name="Google Shape;1389;p106"/>
          <p:cNvSpPr txBox="1"/>
          <p:nvPr/>
        </p:nvSpPr>
        <p:spPr>
          <a:xfrm>
            <a:off x="2156272" y="4031067"/>
            <a:ext cx="20205437" cy="1415742"/>
          </a:xfrm>
          <a:prstGeom prst="rect">
            <a:avLst/>
          </a:prstGeom>
          <a:noFill/>
          <a:ln>
            <a:noFill/>
          </a:ln>
        </p:spPr>
        <p:txBody>
          <a:bodyPr spcFirstLastPara="1" wrap="square" lIns="91425" tIns="91425" rIns="91425" bIns="91425" anchor="t" anchorCtr="0">
            <a:spAutoFit/>
          </a:bodyPr>
          <a:lstStyle/>
          <a:p>
            <a:pPr lvl="0" algn="l" rtl="0">
              <a:spcBef>
                <a:spcPts val="0"/>
              </a:spcBef>
              <a:spcAft>
                <a:spcPts val="0"/>
              </a:spcAft>
              <a:buClr>
                <a:srgbClr val="002A44"/>
              </a:buClr>
              <a:buSzPts val="3600"/>
            </a:pPr>
            <a:r>
              <a:rPr lang="en-US" sz="4000">
                <a:solidFill>
                  <a:schemeClr val="tx1"/>
                </a:solidFill>
                <a:latin typeface="Montserrat"/>
                <a:ea typeface="Montserrat"/>
                <a:cs typeface="Montserrat"/>
                <a:sym typeface="Montserrat"/>
              </a:rPr>
              <a:t>A single dataset that contains socioeconomic details by zip code, from the American Community Survey (ACS) from the Census Bureau. Attributes include:</a:t>
            </a:r>
          </a:p>
        </p:txBody>
      </p:sp>
      <p:pic>
        <p:nvPicPr>
          <p:cNvPr id="1391" name="Google Shape;1391;p106"/>
          <p:cNvPicPr preferRelativeResize="0"/>
          <p:nvPr/>
        </p:nvPicPr>
        <p:blipFill>
          <a:blip r:embed="rId4">
            <a:alphaModFix/>
          </a:blip>
          <a:stretch>
            <a:fillRect/>
          </a:stretch>
        </p:blipFill>
        <p:spPr>
          <a:xfrm>
            <a:off x="22267413" y="11044464"/>
            <a:ext cx="1709928" cy="1709928"/>
          </a:xfrm>
          <a:prstGeom prst="rect">
            <a:avLst/>
          </a:prstGeom>
          <a:noFill/>
          <a:ln>
            <a:noFill/>
          </a:ln>
        </p:spPr>
      </p:pic>
      <p:pic>
        <p:nvPicPr>
          <p:cNvPr id="2" name="Picture 1" descr="A screenshot of a computer&#10;&#10;Description automatically generated">
            <a:extLst>
              <a:ext uri="{FF2B5EF4-FFF2-40B4-BE49-F238E27FC236}">
                <a16:creationId xmlns:a16="http://schemas.microsoft.com/office/drawing/2014/main" id="{A57EDCE6-AE99-BB04-524A-ABF6DB49E026}"/>
              </a:ext>
            </a:extLst>
          </p:cNvPr>
          <p:cNvPicPr>
            <a:picLocks noChangeAspect="1"/>
          </p:cNvPicPr>
          <p:nvPr/>
        </p:nvPicPr>
        <p:blipFill rotWithShape="1">
          <a:blip r:embed="rId5"/>
          <a:srcRect t="13961" b="19332"/>
          <a:stretch/>
        </p:blipFill>
        <p:spPr bwMode="auto">
          <a:xfrm>
            <a:off x="2267582" y="7986732"/>
            <a:ext cx="19982815" cy="3571048"/>
          </a:xfrm>
          <a:prstGeom prst="rect">
            <a:avLst/>
          </a:prstGeom>
          <a:ln>
            <a:noFill/>
          </a:ln>
          <a:extLst>
            <a:ext uri="{53640926-AAD7-44D8-BBD7-CCE9431645EC}">
              <a14:shadowObscured xmlns:a14="http://schemas.microsoft.com/office/drawing/2010/main"/>
            </a:ext>
          </a:extLst>
        </p:spPr>
      </p:pic>
      <p:sp>
        <p:nvSpPr>
          <p:cNvPr id="3" name="TextBox 2">
            <a:extLst>
              <a:ext uri="{FF2B5EF4-FFF2-40B4-BE49-F238E27FC236}">
                <a16:creationId xmlns:a16="http://schemas.microsoft.com/office/drawing/2014/main" id="{E463AD04-7263-EBCC-39BA-7A59104B2845}"/>
              </a:ext>
            </a:extLst>
          </p:cNvPr>
          <p:cNvSpPr txBox="1"/>
          <p:nvPr/>
        </p:nvSpPr>
        <p:spPr>
          <a:xfrm>
            <a:off x="2142929" y="3257698"/>
            <a:ext cx="11934376" cy="707886"/>
          </a:xfrm>
          <a:prstGeom prst="rect">
            <a:avLst/>
          </a:prstGeom>
          <a:noFill/>
        </p:spPr>
        <p:txBody>
          <a:bodyPr wrap="square" rtlCol="0">
            <a:spAutoFit/>
          </a:bodyPr>
          <a:lstStyle/>
          <a:p>
            <a:r>
              <a:rPr lang="en-US" sz="4000" u="sng"/>
              <a:t>Filename: </a:t>
            </a:r>
            <a:r>
              <a:rPr lang="en-US" sz="4000" i="1" u="sng"/>
              <a:t>ACSSociodemographics.xlsx</a:t>
            </a:r>
          </a:p>
        </p:txBody>
      </p:sp>
      <p:sp>
        <p:nvSpPr>
          <p:cNvPr id="5" name="TextBox 4">
            <a:extLst>
              <a:ext uri="{FF2B5EF4-FFF2-40B4-BE49-F238E27FC236}">
                <a16:creationId xmlns:a16="http://schemas.microsoft.com/office/drawing/2014/main" id="{04809454-6AC6-7535-4BA6-A99053FF4970}"/>
              </a:ext>
            </a:extLst>
          </p:cNvPr>
          <p:cNvSpPr txBox="1"/>
          <p:nvPr/>
        </p:nvSpPr>
        <p:spPr>
          <a:xfrm>
            <a:off x="2156272" y="5446809"/>
            <a:ext cx="12186138" cy="1938992"/>
          </a:xfrm>
          <a:prstGeom prst="rect">
            <a:avLst/>
          </a:prstGeom>
          <a:noFill/>
        </p:spPr>
        <p:txBody>
          <a:bodyPr wrap="square">
            <a:spAutoFit/>
          </a:bodyPr>
          <a:lstStyle/>
          <a:p>
            <a:pPr marL="685800" lvl="0" indent="-685800" algn="l" rtl="0">
              <a:spcBef>
                <a:spcPts val="0"/>
              </a:spcBef>
              <a:spcAft>
                <a:spcPts val="0"/>
              </a:spcAft>
              <a:buClr>
                <a:srgbClr val="002A44"/>
              </a:buClr>
              <a:buSzPts val="3600"/>
              <a:buFont typeface="Arial" panose="020B0604020202020204" pitchFamily="34" charset="0"/>
              <a:buChar char="•"/>
            </a:pPr>
            <a:r>
              <a:rPr lang="en-US" sz="4000" b="1">
                <a:solidFill>
                  <a:schemeClr val="tx1"/>
                </a:solidFill>
                <a:latin typeface="Montserrat"/>
                <a:ea typeface="Montserrat"/>
                <a:cs typeface="Montserrat"/>
                <a:sym typeface="Montserrat"/>
              </a:rPr>
              <a:t>Household income</a:t>
            </a:r>
          </a:p>
          <a:p>
            <a:pPr marL="685800" lvl="0" indent="-685800" algn="l" rtl="0">
              <a:spcBef>
                <a:spcPts val="0"/>
              </a:spcBef>
              <a:spcAft>
                <a:spcPts val="0"/>
              </a:spcAft>
              <a:buClr>
                <a:srgbClr val="002A44"/>
              </a:buClr>
              <a:buSzPts val="3600"/>
              <a:buFont typeface="Arial" panose="020B0604020202020204" pitchFamily="34" charset="0"/>
              <a:buChar char="•"/>
            </a:pPr>
            <a:r>
              <a:rPr lang="en-US" sz="4000" b="1">
                <a:solidFill>
                  <a:schemeClr val="tx1"/>
                </a:solidFill>
                <a:latin typeface="Montserrat"/>
                <a:ea typeface="Montserrat"/>
                <a:cs typeface="Montserrat"/>
                <a:sym typeface="Montserrat"/>
              </a:rPr>
              <a:t>Population</a:t>
            </a:r>
          </a:p>
          <a:p>
            <a:pPr marL="685800" lvl="0" indent="-685800" algn="l" rtl="0">
              <a:spcBef>
                <a:spcPts val="0"/>
              </a:spcBef>
              <a:spcAft>
                <a:spcPts val="0"/>
              </a:spcAft>
              <a:buClr>
                <a:srgbClr val="002A44"/>
              </a:buClr>
              <a:buSzPts val="3600"/>
              <a:buFont typeface="Arial" panose="020B0604020202020204" pitchFamily="34" charset="0"/>
              <a:buChar char="•"/>
            </a:pPr>
            <a:r>
              <a:rPr lang="en-US" sz="4000" b="1">
                <a:solidFill>
                  <a:schemeClr val="tx1"/>
                </a:solidFill>
                <a:latin typeface="Montserrat"/>
                <a:ea typeface="Montserrat"/>
                <a:cs typeface="Montserrat"/>
                <a:sym typeface="Montserrat"/>
              </a:rPr>
              <a:t>Education level</a:t>
            </a:r>
          </a:p>
        </p:txBody>
      </p:sp>
    </p:spTree>
    <p:extLst>
      <p:ext uri="{BB962C8B-B14F-4D97-AF65-F5344CB8AC3E}">
        <p14:creationId xmlns:p14="http://schemas.microsoft.com/office/powerpoint/2010/main" val="41808470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1387"/>
        <p:cNvGrpSpPr/>
        <p:nvPr/>
      </p:nvGrpSpPr>
      <p:grpSpPr>
        <a:xfrm>
          <a:off x="0" y="0"/>
          <a:ext cx="0" cy="0"/>
          <a:chOff x="0" y="0"/>
          <a:chExt cx="0" cy="0"/>
        </a:xfrm>
      </p:grpSpPr>
      <p:sp>
        <p:nvSpPr>
          <p:cNvPr id="1388" name="Google Shape;1388;p106"/>
          <p:cNvSpPr txBox="1"/>
          <p:nvPr/>
        </p:nvSpPr>
        <p:spPr>
          <a:xfrm>
            <a:off x="2086106" y="1816572"/>
            <a:ext cx="20181307" cy="1292631"/>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Clr>
                <a:schemeClr val="dk1"/>
              </a:buClr>
              <a:buSzPts val="1100"/>
              <a:buFont typeface="Arial"/>
              <a:buNone/>
            </a:pPr>
            <a:r>
              <a:rPr lang="en-US" sz="7200">
                <a:solidFill>
                  <a:srgbClr val="002A44"/>
                </a:solidFill>
                <a:latin typeface="Montserrat Black"/>
                <a:ea typeface="Montserrat"/>
                <a:cs typeface="Montserrat"/>
                <a:sym typeface="Montserrat Black"/>
              </a:rPr>
              <a:t>Dataset 3 – County to Zip Code Crosswalk </a:t>
            </a:r>
            <a:endParaRPr sz="1100">
              <a:solidFill>
                <a:schemeClr val="dk1"/>
              </a:solidFill>
            </a:endParaRPr>
          </a:p>
        </p:txBody>
      </p:sp>
      <p:sp>
        <p:nvSpPr>
          <p:cNvPr id="1389" name="Google Shape;1389;p106"/>
          <p:cNvSpPr txBox="1"/>
          <p:nvPr/>
        </p:nvSpPr>
        <p:spPr>
          <a:xfrm>
            <a:off x="2156272" y="4031067"/>
            <a:ext cx="20205437" cy="3262401"/>
          </a:xfrm>
          <a:prstGeom prst="rect">
            <a:avLst/>
          </a:prstGeom>
          <a:noFill/>
          <a:ln>
            <a:noFill/>
          </a:ln>
        </p:spPr>
        <p:txBody>
          <a:bodyPr spcFirstLastPara="1" wrap="square" lIns="91425" tIns="91425" rIns="91425" bIns="91425" anchor="t" anchorCtr="0">
            <a:spAutoFit/>
          </a:bodyPr>
          <a:lstStyle/>
          <a:p>
            <a:pPr marL="571500" lvl="0" indent="-571500" algn="l" rtl="0">
              <a:spcBef>
                <a:spcPts val="0"/>
              </a:spcBef>
              <a:spcAft>
                <a:spcPts val="0"/>
              </a:spcAft>
              <a:buClr>
                <a:srgbClr val="002A44"/>
              </a:buClr>
              <a:buSzPts val="3600"/>
              <a:buFont typeface="Arial" panose="020B0604020202020204" pitchFamily="34" charset="0"/>
              <a:buChar char="•"/>
            </a:pPr>
            <a:r>
              <a:rPr lang="en-US" sz="4000">
                <a:solidFill>
                  <a:schemeClr val="tx1"/>
                </a:solidFill>
                <a:latin typeface="Montserrat"/>
                <a:ea typeface="Montserrat"/>
                <a:cs typeface="Montserrat"/>
                <a:sym typeface="Montserrat"/>
              </a:rPr>
              <a:t>Each row contains a 5-digit State County FIPS code mapped to a corresponding 5-digit USPS Zip code. </a:t>
            </a:r>
          </a:p>
          <a:p>
            <a:pPr marL="571500" lvl="0" indent="-571500" algn="l" rtl="0">
              <a:spcBef>
                <a:spcPts val="0"/>
              </a:spcBef>
              <a:spcAft>
                <a:spcPts val="0"/>
              </a:spcAft>
              <a:buClr>
                <a:srgbClr val="002A44"/>
              </a:buClr>
              <a:buSzPts val="3600"/>
              <a:buFont typeface="Arial" panose="020B0604020202020204" pitchFamily="34" charset="0"/>
              <a:buChar char="•"/>
            </a:pPr>
            <a:r>
              <a:rPr lang="en-US" sz="4000">
                <a:solidFill>
                  <a:schemeClr val="tx1"/>
                </a:solidFill>
                <a:latin typeface="Montserrat"/>
                <a:ea typeface="Montserrat"/>
                <a:cs typeface="Montserrat"/>
                <a:sym typeface="Montserrat"/>
              </a:rPr>
              <a:t>Use this file in conjunction with the ACS data to uncover trends at a county level</a:t>
            </a:r>
          </a:p>
          <a:p>
            <a:pPr marL="571500" lvl="0" indent="-571500" algn="l" rtl="0">
              <a:spcBef>
                <a:spcPts val="0"/>
              </a:spcBef>
              <a:spcAft>
                <a:spcPts val="0"/>
              </a:spcAft>
              <a:buClr>
                <a:srgbClr val="002A44"/>
              </a:buClr>
              <a:buSzPts val="3600"/>
              <a:buFont typeface="Arial" panose="020B0604020202020204" pitchFamily="34" charset="0"/>
              <a:buChar char="•"/>
            </a:pPr>
            <a:r>
              <a:rPr lang="en-US" sz="4000">
                <a:solidFill>
                  <a:schemeClr val="tx1"/>
                </a:solidFill>
                <a:latin typeface="Montserrat"/>
                <a:ea typeface="Montserrat"/>
                <a:cs typeface="Montserrat"/>
                <a:sym typeface="Montserrat"/>
              </a:rPr>
              <a:t>There are valuable data available only at the ZIP code level that, when combined with demographic data at various Census geography levels, could open new areas of exploration. </a:t>
            </a:r>
            <a:endParaRPr lang="en-US" sz="4000" b="1">
              <a:solidFill>
                <a:schemeClr val="tx1"/>
              </a:solidFill>
              <a:latin typeface="Montserrat"/>
              <a:ea typeface="Montserrat"/>
              <a:cs typeface="Montserrat"/>
              <a:sym typeface="Montserrat"/>
            </a:endParaRPr>
          </a:p>
        </p:txBody>
      </p:sp>
      <p:pic>
        <p:nvPicPr>
          <p:cNvPr id="1391" name="Google Shape;1391;p106"/>
          <p:cNvPicPr preferRelativeResize="0"/>
          <p:nvPr/>
        </p:nvPicPr>
        <p:blipFill>
          <a:blip r:embed="rId4">
            <a:alphaModFix/>
          </a:blip>
          <a:stretch>
            <a:fillRect/>
          </a:stretch>
        </p:blipFill>
        <p:spPr>
          <a:xfrm>
            <a:off x="22267413" y="11044464"/>
            <a:ext cx="1709928" cy="1709928"/>
          </a:xfrm>
          <a:prstGeom prst="rect">
            <a:avLst/>
          </a:prstGeom>
          <a:noFill/>
          <a:ln>
            <a:noFill/>
          </a:ln>
        </p:spPr>
      </p:pic>
      <p:sp>
        <p:nvSpPr>
          <p:cNvPr id="3" name="TextBox 2">
            <a:extLst>
              <a:ext uri="{FF2B5EF4-FFF2-40B4-BE49-F238E27FC236}">
                <a16:creationId xmlns:a16="http://schemas.microsoft.com/office/drawing/2014/main" id="{E463AD04-7263-EBCC-39BA-7A59104B2845}"/>
              </a:ext>
            </a:extLst>
          </p:cNvPr>
          <p:cNvSpPr txBox="1"/>
          <p:nvPr/>
        </p:nvSpPr>
        <p:spPr>
          <a:xfrm>
            <a:off x="2142929" y="3257698"/>
            <a:ext cx="11934376" cy="707886"/>
          </a:xfrm>
          <a:prstGeom prst="rect">
            <a:avLst/>
          </a:prstGeom>
          <a:noFill/>
        </p:spPr>
        <p:txBody>
          <a:bodyPr wrap="square" rtlCol="0">
            <a:spAutoFit/>
          </a:bodyPr>
          <a:lstStyle/>
          <a:p>
            <a:r>
              <a:rPr lang="en-US" sz="4000" u="sng"/>
              <a:t>Filename: </a:t>
            </a:r>
            <a:r>
              <a:rPr lang="en-US" sz="4000" i="1" u="sng"/>
              <a:t>us_geo_county_to_zip.xlsx</a:t>
            </a:r>
          </a:p>
        </p:txBody>
      </p:sp>
      <p:pic>
        <p:nvPicPr>
          <p:cNvPr id="5" name="Picture 4">
            <a:extLst>
              <a:ext uri="{FF2B5EF4-FFF2-40B4-BE49-F238E27FC236}">
                <a16:creationId xmlns:a16="http://schemas.microsoft.com/office/drawing/2014/main" id="{98FB4D5F-A129-FBD6-1862-E17BE788BF0E}"/>
              </a:ext>
            </a:extLst>
          </p:cNvPr>
          <p:cNvPicPr>
            <a:picLocks noChangeAspect="1"/>
          </p:cNvPicPr>
          <p:nvPr/>
        </p:nvPicPr>
        <p:blipFill>
          <a:blip r:embed="rId5"/>
          <a:stretch>
            <a:fillRect/>
          </a:stretch>
        </p:blipFill>
        <p:spPr>
          <a:xfrm>
            <a:off x="1596885" y="7716580"/>
            <a:ext cx="21324209" cy="3133281"/>
          </a:xfrm>
          <a:prstGeom prst="rect">
            <a:avLst/>
          </a:prstGeom>
        </p:spPr>
      </p:pic>
    </p:spTree>
    <p:extLst>
      <p:ext uri="{BB962C8B-B14F-4D97-AF65-F5344CB8AC3E}">
        <p14:creationId xmlns:p14="http://schemas.microsoft.com/office/powerpoint/2010/main" val="1438174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1396"/>
        <p:cNvGrpSpPr/>
        <p:nvPr/>
      </p:nvGrpSpPr>
      <p:grpSpPr>
        <a:xfrm>
          <a:off x="0" y="0"/>
          <a:ext cx="0" cy="0"/>
          <a:chOff x="0" y="0"/>
          <a:chExt cx="0" cy="0"/>
        </a:xfrm>
      </p:grpSpPr>
      <p:sp>
        <p:nvSpPr>
          <p:cNvPr id="1397" name="Google Shape;1397;p107"/>
          <p:cNvSpPr txBox="1"/>
          <p:nvPr/>
        </p:nvSpPr>
        <p:spPr>
          <a:xfrm>
            <a:off x="2071413" y="2009607"/>
            <a:ext cx="20196000" cy="12930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Clr>
                <a:schemeClr val="dk1"/>
              </a:buClr>
              <a:buSzPts val="1100"/>
              <a:buFont typeface="Arial"/>
              <a:buNone/>
            </a:pPr>
            <a:r>
              <a:rPr lang="en-US" sz="7200">
                <a:solidFill>
                  <a:srgbClr val="002A44"/>
                </a:solidFill>
                <a:latin typeface="Montserrat Black"/>
                <a:ea typeface="Montserrat Black"/>
                <a:cs typeface="Montserrat Black"/>
                <a:sym typeface="Montserrat Black"/>
              </a:rPr>
              <a:t>Data Access Instructions</a:t>
            </a:r>
            <a:endParaRPr sz="1100">
              <a:solidFill>
                <a:schemeClr val="dk1"/>
              </a:solidFill>
            </a:endParaRPr>
          </a:p>
        </p:txBody>
      </p:sp>
      <p:sp>
        <p:nvSpPr>
          <p:cNvPr id="1399" name="Google Shape;1399;p107"/>
          <p:cNvSpPr txBox="1"/>
          <p:nvPr/>
        </p:nvSpPr>
        <p:spPr>
          <a:xfrm>
            <a:off x="2071413" y="3461975"/>
            <a:ext cx="20078700" cy="16812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None/>
            </a:pPr>
            <a:r>
              <a:rPr lang="en-US" sz="3600" b="1">
                <a:solidFill>
                  <a:srgbClr val="002A44"/>
                </a:solidFill>
                <a:latin typeface="Aptos"/>
                <a:ea typeface="Montserrat"/>
                <a:cs typeface="Montserrat"/>
                <a:sym typeface="Montserrat"/>
              </a:rPr>
              <a:t>Download the datasets and accompanying data dictionaries from the Secure File Transfer Protocol site (SFTP site): </a:t>
            </a:r>
            <a:r>
              <a:rPr lang="en-US" sz="3600" u="sng">
                <a:solidFill>
                  <a:srgbClr val="000000"/>
                </a:solidFill>
                <a:effectLst/>
                <a:latin typeface="Aptos"/>
                <a:ea typeface="Aptos"/>
              </a:rPr>
              <a:t>BTT AI Studio 2024</a:t>
            </a:r>
            <a:endParaRPr lang="en-US" sz="3600" b="1" u="sng">
              <a:solidFill>
                <a:srgbClr val="002A44"/>
              </a:solidFill>
              <a:latin typeface="Aptos"/>
              <a:ea typeface="Montserrat"/>
              <a:cs typeface="Montserrat"/>
              <a:sym typeface="Montserrat"/>
            </a:endParaRPr>
          </a:p>
          <a:p>
            <a:pPr marL="0" lvl="0" indent="0" algn="l" rtl="0">
              <a:lnSpc>
                <a:spcPct val="115000"/>
              </a:lnSpc>
              <a:spcBef>
                <a:spcPts val="0"/>
              </a:spcBef>
              <a:spcAft>
                <a:spcPts val="0"/>
              </a:spcAft>
              <a:buNone/>
            </a:pPr>
            <a:endParaRPr lang="en-US" sz="3600">
              <a:solidFill>
                <a:srgbClr val="002A44"/>
              </a:solidFill>
              <a:latin typeface="Montserrat"/>
              <a:ea typeface="Montserrat"/>
              <a:cs typeface="Montserrat"/>
              <a:sym typeface="Montserrat"/>
            </a:endParaRPr>
          </a:p>
          <a:p>
            <a:pPr marL="0" lvl="0" indent="0" algn="l" rtl="0">
              <a:lnSpc>
                <a:spcPct val="115000"/>
              </a:lnSpc>
              <a:spcBef>
                <a:spcPts val="0"/>
              </a:spcBef>
              <a:spcAft>
                <a:spcPts val="0"/>
              </a:spcAft>
              <a:buNone/>
            </a:pPr>
            <a:r>
              <a:rPr lang="en-US" sz="3600" b="1">
                <a:solidFill>
                  <a:srgbClr val="002A44"/>
                </a:solidFill>
                <a:latin typeface="Montserrat"/>
                <a:ea typeface="Montserrat"/>
                <a:cs typeface="Montserrat"/>
                <a:sym typeface="Montserrat"/>
              </a:rPr>
              <a:t>Instructions:</a:t>
            </a:r>
          </a:p>
          <a:p>
            <a:pPr marL="742950" indent="-742950">
              <a:lnSpc>
                <a:spcPct val="115000"/>
              </a:lnSpc>
              <a:buFont typeface="+mj-lt"/>
              <a:buAutoNum type="arabicPeriod"/>
            </a:pPr>
            <a:r>
              <a:rPr lang="en-US" sz="3600">
                <a:solidFill>
                  <a:srgbClr val="002A44"/>
                </a:solidFill>
                <a:latin typeface="Montserrat"/>
                <a:ea typeface="Montserrat"/>
                <a:cs typeface="Montserrat"/>
                <a:sym typeface="Montserrat"/>
              </a:rPr>
              <a:t>Go to </a:t>
            </a:r>
            <a:r>
              <a:rPr lang="en-US" sz="3600">
                <a:solidFill>
                  <a:srgbClr val="002A44"/>
                </a:solidFill>
                <a:latin typeface="Montserrat"/>
                <a:ea typeface="Montserrat"/>
                <a:cs typeface="Montserrat"/>
                <a:sym typeface="Montserrat"/>
                <a:hlinkClick r:id="rId5"/>
              </a:rPr>
              <a:t>https://kmft.us.kworld.kpmg.com/</a:t>
            </a:r>
            <a:endParaRPr lang="en-US" sz="3600">
              <a:solidFill>
                <a:srgbClr val="002A44"/>
              </a:solidFill>
              <a:latin typeface="Montserrat"/>
              <a:ea typeface="Montserrat"/>
              <a:cs typeface="Montserrat"/>
              <a:sym typeface="Montserrat"/>
            </a:endParaRPr>
          </a:p>
          <a:p>
            <a:pPr marL="742950" indent="-742950">
              <a:lnSpc>
                <a:spcPct val="115000"/>
              </a:lnSpc>
              <a:buFont typeface="+mj-lt"/>
              <a:buAutoNum type="arabicPeriod"/>
            </a:pPr>
            <a:r>
              <a:rPr lang="en-US" sz="3600" i="1">
                <a:solidFill>
                  <a:srgbClr val="002A44"/>
                </a:solidFill>
                <a:latin typeface="Montserrat"/>
                <a:ea typeface="Montserrat"/>
                <a:cs typeface="Montserrat"/>
                <a:sym typeface="Montserrat"/>
              </a:rPr>
              <a:t>First Time login: </a:t>
            </a:r>
            <a:r>
              <a:rPr lang="en-US" sz="3600">
                <a:solidFill>
                  <a:srgbClr val="002A44"/>
                </a:solidFill>
                <a:latin typeface="Montserrat"/>
                <a:ea typeface="Montserrat"/>
                <a:cs typeface="Montserrat"/>
                <a:sym typeface="Montserrat"/>
              </a:rPr>
              <a:t>Use your username and temporary password emailed to you to log in. </a:t>
            </a:r>
          </a:p>
          <a:p>
            <a:pPr lvl="8">
              <a:lnSpc>
                <a:spcPct val="115000"/>
              </a:lnSpc>
            </a:pPr>
            <a:r>
              <a:rPr lang="en-US" sz="3600">
                <a:solidFill>
                  <a:srgbClr val="002A44"/>
                </a:solidFill>
                <a:latin typeface="Montserrat"/>
                <a:ea typeface="Montserrat"/>
                <a:cs typeface="Montserrat"/>
                <a:sym typeface="Montserrat"/>
              </a:rPr>
              <a:t>	- Change your temporary password for future logins. </a:t>
            </a:r>
          </a:p>
          <a:p>
            <a:pPr lvl="8">
              <a:lnSpc>
                <a:spcPct val="115000"/>
              </a:lnSpc>
            </a:pPr>
            <a:r>
              <a:rPr lang="en-US" sz="3600">
                <a:solidFill>
                  <a:srgbClr val="002A44"/>
                </a:solidFill>
                <a:latin typeface="Montserrat"/>
                <a:ea typeface="Montserrat"/>
                <a:cs typeface="Montserrat"/>
                <a:sym typeface="Montserrat"/>
              </a:rPr>
              <a:t>	- Sign up for the two-factor authorization process when prompted</a:t>
            </a:r>
          </a:p>
          <a:p>
            <a:pPr marL="742950" lvl="0" indent="-742950" algn="l" rtl="0">
              <a:lnSpc>
                <a:spcPct val="115000"/>
              </a:lnSpc>
              <a:spcBef>
                <a:spcPts val="0"/>
              </a:spcBef>
              <a:spcAft>
                <a:spcPts val="0"/>
              </a:spcAft>
              <a:buFont typeface="+mj-lt"/>
              <a:buAutoNum type="arabicPeriod"/>
            </a:pPr>
            <a:r>
              <a:rPr lang="en-US" sz="3600">
                <a:solidFill>
                  <a:srgbClr val="002A44"/>
                </a:solidFill>
                <a:latin typeface="Montserrat"/>
                <a:ea typeface="Montserrat"/>
                <a:cs typeface="Montserrat"/>
                <a:sym typeface="Montserrat"/>
              </a:rPr>
              <a:t>Download the files for use on your challenge project</a:t>
            </a:r>
          </a:p>
          <a:p>
            <a:pPr marL="742950" lvl="0" indent="-742950" algn="l" rtl="0">
              <a:lnSpc>
                <a:spcPct val="115000"/>
              </a:lnSpc>
              <a:spcBef>
                <a:spcPts val="0"/>
              </a:spcBef>
              <a:spcAft>
                <a:spcPts val="0"/>
              </a:spcAft>
              <a:buFont typeface="+mj-lt"/>
              <a:buAutoNum type="arabicPeriod"/>
            </a:pPr>
            <a:r>
              <a:rPr lang="en-US" sz="3600">
                <a:solidFill>
                  <a:srgbClr val="002A44"/>
                </a:solidFill>
                <a:latin typeface="Montserrat"/>
                <a:ea typeface="Montserrat"/>
                <a:cs typeface="Montserrat"/>
                <a:sym typeface="Montserrat"/>
              </a:rPr>
              <a:t>Save a master copy of the originals (in case you corrupt the file)</a:t>
            </a:r>
          </a:p>
          <a:p>
            <a:pPr marL="742950" lvl="0" indent="-742950" algn="l" rtl="0">
              <a:lnSpc>
                <a:spcPct val="115000"/>
              </a:lnSpc>
              <a:spcBef>
                <a:spcPts val="0"/>
              </a:spcBef>
              <a:spcAft>
                <a:spcPts val="0"/>
              </a:spcAft>
              <a:buFont typeface="+mj-lt"/>
              <a:buAutoNum type="arabicPeriod"/>
            </a:pPr>
            <a:r>
              <a:rPr lang="en-US" sz="3600">
                <a:solidFill>
                  <a:srgbClr val="002A44"/>
                </a:solidFill>
                <a:latin typeface="Montserrat"/>
                <a:ea typeface="Montserrat"/>
                <a:cs typeface="Montserrat"/>
                <a:sym typeface="Montserrat"/>
              </a:rPr>
              <a:t>Delete any unused files at the end of your semester</a:t>
            </a:r>
          </a:p>
          <a:p>
            <a:pPr marL="742950" lvl="0" indent="-742950" algn="l" rtl="0">
              <a:lnSpc>
                <a:spcPct val="115000"/>
              </a:lnSpc>
              <a:spcBef>
                <a:spcPts val="0"/>
              </a:spcBef>
              <a:spcAft>
                <a:spcPts val="0"/>
              </a:spcAft>
              <a:buFont typeface="+mj-lt"/>
              <a:buAutoNum type="arabicPeriod"/>
            </a:pPr>
            <a:endParaRPr lang="en-US" sz="3600">
              <a:solidFill>
                <a:srgbClr val="002A44"/>
              </a:solidFill>
              <a:latin typeface="Montserrat"/>
              <a:ea typeface="Montserrat"/>
              <a:cs typeface="Montserrat"/>
              <a:sym typeface="Montserrat"/>
            </a:endParaRPr>
          </a:p>
          <a:p>
            <a:pPr lvl="0" algn="l" rtl="0">
              <a:lnSpc>
                <a:spcPct val="115000"/>
              </a:lnSpc>
              <a:spcBef>
                <a:spcPts val="0"/>
              </a:spcBef>
              <a:spcAft>
                <a:spcPts val="0"/>
              </a:spcAft>
            </a:pPr>
            <a:r>
              <a:rPr lang="en-US" sz="3600" b="1">
                <a:solidFill>
                  <a:srgbClr val="002A44"/>
                </a:solidFill>
                <a:latin typeface="Montserrat"/>
                <a:ea typeface="Montserrat"/>
                <a:cs typeface="Montserrat"/>
                <a:sym typeface="Montserrat"/>
              </a:rPr>
              <a:t>Note: Files are deleted from the SFTP after 7 days, on August 20! We will reupload again next week.</a:t>
            </a:r>
          </a:p>
          <a:p>
            <a:pPr lvl="0" algn="l" rtl="0">
              <a:lnSpc>
                <a:spcPct val="115000"/>
              </a:lnSpc>
              <a:spcBef>
                <a:spcPts val="0"/>
              </a:spcBef>
              <a:spcAft>
                <a:spcPts val="0"/>
              </a:spcAft>
            </a:pPr>
            <a:r>
              <a:rPr lang="en-US" sz="3600" b="1">
                <a:solidFill>
                  <a:srgbClr val="002A44"/>
                </a:solidFill>
                <a:latin typeface="Montserrat"/>
                <a:ea typeface="Montserrat"/>
                <a:cs typeface="Montserrat"/>
                <a:sym typeface="Montserrat"/>
              </a:rPr>
              <a:t>If you need to access the files again, let your challenge advisor know.</a:t>
            </a:r>
            <a:endParaRPr lang="en-US" sz="3600">
              <a:solidFill>
                <a:srgbClr val="002A44"/>
              </a:solidFill>
              <a:latin typeface="Montserrat"/>
              <a:ea typeface="Montserrat"/>
              <a:cs typeface="Montserrat"/>
              <a:sym typeface="Montserrat"/>
            </a:endParaRPr>
          </a:p>
        </p:txBody>
      </p:sp>
      <p:pic>
        <p:nvPicPr>
          <p:cNvPr id="2" name="Google Shape;1366;p104">
            <a:extLst>
              <a:ext uri="{FF2B5EF4-FFF2-40B4-BE49-F238E27FC236}">
                <a16:creationId xmlns:a16="http://schemas.microsoft.com/office/drawing/2014/main" id="{844F27FF-A268-7F06-93D6-F909B564FD01}"/>
              </a:ext>
            </a:extLst>
          </p:cNvPr>
          <p:cNvPicPr preferRelativeResize="0"/>
          <p:nvPr/>
        </p:nvPicPr>
        <p:blipFill>
          <a:blip r:embed="rId6">
            <a:alphaModFix/>
          </a:blip>
          <a:stretch>
            <a:fillRect/>
          </a:stretch>
        </p:blipFill>
        <p:spPr>
          <a:xfrm>
            <a:off x="22146768" y="10497312"/>
            <a:ext cx="1709928" cy="1709928"/>
          </a:xfrm>
          <a:prstGeom prst="rect">
            <a:avLst/>
          </a:prstGeom>
          <a:noFill/>
          <a:ln>
            <a:noFill/>
          </a:ln>
        </p:spPr>
      </p:pic>
    </p:spTree>
    <p:extLst>
      <p:ext uri="{BB962C8B-B14F-4D97-AF65-F5344CB8AC3E}">
        <p14:creationId xmlns:p14="http://schemas.microsoft.com/office/powerpoint/2010/main" val="670768543"/>
      </p:ext>
    </p:extLst>
  </p:cSld>
  <p:clrMapOvr>
    <a:masterClrMapping/>
  </p:clrMapOvr>
  <p:extLst>
    <p:ext uri="{6950BFC3-D8DA-4A85-94F7-54DA5524770B}">
      <p188:commentRel xmlns:p188="http://schemas.microsoft.com/office/powerpoint/2018/8/main" r:id="rId3"/>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B99CD2-D201-B23B-284E-DB9E1D5EB97F}"/>
              </a:ext>
            </a:extLst>
          </p:cNvPr>
          <p:cNvSpPr>
            <a:spLocks noGrp="1"/>
          </p:cNvSpPr>
          <p:nvPr>
            <p:ph type="title"/>
          </p:nvPr>
        </p:nvSpPr>
        <p:spPr/>
        <p:txBody>
          <a:bodyPr/>
          <a:lstStyle/>
          <a:p>
            <a:r>
              <a:rPr lang="en-US"/>
              <a:t>Machine Learning Approach</a:t>
            </a:r>
          </a:p>
        </p:txBody>
      </p:sp>
      <p:sp>
        <p:nvSpPr>
          <p:cNvPr id="3" name="Subtitle 2">
            <a:extLst>
              <a:ext uri="{FF2B5EF4-FFF2-40B4-BE49-F238E27FC236}">
                <a16:creationId xmlns:a16="http://schemas.microsoft.com/office/drawing/2014/main" id="{4D025F7B-32AF-DCE5-E86C-2B0099546A4E}"/>
              </a:ext>
            </a:extLst>
          </p:cNvPr>
          <p:cNvSpPr>
            <a:spLocks noGrp="1"/>
          </p:cNvSpPr>
          <p:nvPr>
            <p:ph type="subTitle" idx="1"/>
          </p:nvPr>
        </p:nvSpPr>
        <p:spPr/>
        <p:txBody>
          <a:bodyPr/>
          <a:lstStyle/>
          <a:p>
            <a:endParaRPr lang="en-US"/>
          </a:p>
        </p:txBody>
      </p:sp>
      <p:sp>
        <p:nvSpPr>
          <p:cNvPr id="4" name="Subtitle 3">
            <a:extLst>
              <a:ext uri="{FF2B5EF4-FFF2-40B4-BE49-F238E27FC236}">
                <a16:creationId xmlns:a16="http://schemas.microsoft.com/office/drawing/2014/main" id="{7669BE05-A9CA-5F98-D55E-9A3C012B2B2E}"/>
              </a:ext>
            </a:extLst>
          </p:cNvPr>
          <p:cNvSpPr>
            <a:spLocks noGrp="1"/>
          </p:cNvSpPr>
          <p:nvPr>
            <p:ph type="subTitle" idx="2"/>
          </p:nvPr>
        </p:nvSpPr>
        <p:spPr/>
        <p:txBody>
          <a:bodyPr/>
          <a:lstStyle/>
          <a:p>
            <a:endParaRPr lang="en-US"/>
          </a:p>
        </p:txBody>
      </p:sp>
    </p:spTree>
    <p:extLst>
      <p:ext uri="{BB962C8B-B14F-4D97-AF65-F5344CB8AC3E}">
        <p14:creationId xmlns:p14="http://schemas.microsoft.com/office/powerpoint/2010/main" val="4838141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1362"/>
        <p:cNvGrpSpPr/>
        <p:nvPr/>
      </p:nvGrpSpPr>
      <p:grpSpPr>
        <a:xfrm>
          <a:off x="0" y="0"/>
          <a:ext cx="0" cy="0"/>
          <a:chOff x="0" y="0"/>
          <a:chExt cx="0" cy="0"/>
        </a:xfrm>
      </p:grpSpPr>
      <p:sp>
        <p:nvSpPr>
          <p:cNvPr id="1363" name="Google Shape;1363;p104"/>
          <p:cNvSpPr txBox="1"/>
          <p:nvPr/>
        </p:nvSpPr>
        <p:spPr>
          <a:xfrm>
            <a:off x="2071424" y="1999775"/>
            <a:ext cx="20078700" cy="14622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Clr>
                <a:schemeClr val="dk1"/>
              </a:buClr>
              <a:buSzPts val="1100"/>
              <a:buFont typeface="Arial"/>
              <a:buNone/>
            </a:pPr>
            <a:r>
              <a:rPr lang="en-US" sz="7200">
                <a:solidFill>
                  <a:srgbClr val="002A44"/>
                </a:solidFill>
                <a:latin typeface="Montserrat Black"/>
                <a:ea typeface="Montserrat Black"/>
                <a:cs typeface="Montserrat Black"/>
                <a:sym typeface="Montserrat Black"/>
              </a:rPr>
              <a:t>Suggested ML approach</a:t>
            </a:r>
            <a:endParaRPr sz="7200" b="1">
              <a:solidFill>
                <a:srgbClr val="002A44"/>
              </a:solidFill>
              <a:latin typeface="Montserrat"/>
              <a:ea typeface="Montserrat"/>
              <a:cs typeface="Montserrat"/>
              <a:sym typeface="Montserrat"/>
            </a:endParaRPr>
          </a:p>
          <a:p>
            <a:pPr marL="0" lvl="0" indent="0" algn="l" rtl="0">
              <a:lnSpc>
                <a:spcPct val="115000"/>
              </a:lnSpc>
              <a:spcBef>
                <a:spcPts val="0"/>
              </a:spcBef>
              <a:spcAft>
                <a:spcPts val="0"/>
              </a:spcAft>
              <a:buNone/>
            </a:pPr>
            <a:endParaRPr sz="1100">
              <a:solidFill>
                <a:schemeClr val="dk1"/>
              </a:solidFill>
            </a:endParaRPr>
          </a:p>
        </p:txBody>
      </p:sp>
      <p:sp>
        <p:nvSpPr>
          <p:cNvPr id="1364" name="Google Shape;1364;p104"/>
          <p:cNvSpPr txBox="1"/>
          <p:nvPr/>
        </p:nvSpPr>
        <p:spPr>
          <a:xfrm>
            <a:off x="2690845" y="4002618"/>
            <a:ext cx="19873200" cy="5078283"/>
          </a:xfrm>
          <a:prstGeom prst="rect">
            <a:avLst/>
          </a:prstGeom>
          <a:noFill/>
          <a:ln>
            <a:noFill/>
          </a:ln>
        </p:spPr>
        <p:txBody>
          <a:bodyPr spcFirstLastPara="1" wrap="square" lIns="91425" tIns="91425" rIns="91425" bIns="91425" anchor="t" anchorCtr="0">
            <a:spAutoFit/>
          </a:bodyPr>
          <a:lstStyle/>
          <a:p>
            <a:pPr marL="457200" lvl="0" indent="-457200" algn="l" rtl="0">
              <a:lnSpc>
                <a:spcPct val="150000"/>
              </a:lnSpc>
              <a:spcBef>
                <a:spcPts val="0"/>
              </a:spcBef>
              <a:spcAft>
                <a:spcPts val="0"/>
              </a:spcAft>
              <a:buClr>
                <a:srgbClr val="002A44"/>
              </a:buClr>
              <a:buSzPts val="3600"/>
              <a:buFont typeface="Arial" panose="020B0604020202020204" pitchFamily="34" charset="0"/>
              <a:buChar char="•"/>
            </a:pPr>
            <a:r>
              <a:rPr lang="en-US" sz="3000" b="1">
                <a:solidFill>
                  <a:srgbClr val="002A44"/>
                </a:solidFill>
                <a:latin typeface="Aptos"/>
                <a:ea typeface="Montserrat"/>
                <a:cs typeface="Montserrat"/>
                <a:sym typeface="Montserrat"/>
              </a:rPr>
              <a:t>Binary Classification: </a:t>
            </a:r>
            <a:r>
              <a:rPr lang="en-US" sz="3000">
                <a:solidFill>
                  <a:srgbClr val="002A44"/>
                </a:solidFill>
                <a:effectLst/>
                <a:latin typeface="Aptos"/>
                <a:ea typeface="Aptos"/>
                <a:cs typeface="Times New Roman" panose="02020603050405020304" pitchFamily="18" charset="0"/>
              </a:rPr>
              <a:t>c</a:t>
            </a:r>
            <a:r>
              <a:rPr lang="en-US" sz="3000" i="1">
                <a:solidFill>
                  <a:srgbClr val="002A44"/>
                </a:solidFill>
                <a:effectLst/>
                <a:latin typeface="Aptos"/>
                <a:ea typeface="Aptos"/>
                <a:cs typeface="Times New Roman" panose="02020603050405020304" pitchFamily="18" charset="0"/>
              </a:rPr>
              <a:t>an you predict whether a donor will donate again?</a:t>
            </a:r>
          </a:p>
          <a:p>
            <a:pPr marL="457200" lvl="0" indent="-457200" algn="l" rtl="0">
              <a:lnSpc>
                <a:spcPct val="150000"/>
              </a:lnSpc>
              <a:spcBef>
                <a:spcPts val="0"/>
              </a:spcBef>
              <a:spcAft>
                <a:spcPts val="0"/>
              </a:spcAft>
              <a:buClr>
                <a:srgbClr val="002A44"/>
              </a:buClr>
              <a:buSzPts val="3600"/>
              <a:buFont typeface="Arial" panose="020B0604020202020204" pitchFamily="34" charset="0"/>
              <a:buChar char="•"/>
            </a:pPr>
            <a:r>
              <a:rPr lang="en-US" sz="3000" b="1">
                <a:solidFill>
                  <a:srgbClr val="002A44"/>
                </a:solidFill>
                <a:latin typeface="Aptos"/>
                <a:ea typeface="Montserrat"/>
                <a:cs typeface="Montserrat"/>
                <a:sym typeface="Montserrat"/>
              </a:rPr>
              <a:t>Regression analysis</a:t>
            </a:r>
            <a:r>
              <a:rPr lang="en-US" sz="3000">
                <a:solidFill>
                  <a:srgbClr val="002A44"/>
                </a:solidFill>
                <a:latin typeface="Aptos"/>
                <a:ea typeface="Montserrat"/>
                <a:cs typeface="Montserrat"/>
                <a:sym typeface="Montserrat"/>
              </a:rPr>
              <a:t>: </a:t>
            </a:r>
            <a:r>
              <a:rPr lang="en-US" sz="3000">
                <a:solidFill>
                  <a:srgbClr val="002A44"/>
                </a:solidFill>
                <a:effectLst/>
                <a:latin typeface="Aptos"/>
                <a:ea typeface="Aptos"/>
                <a:cs typeface="Times New Roman" panose="02020603050405020304" pitchFamily="18" charset="0"/>
              </a:rPr>
              <a:t>c</a:t>
            </a:r>
            <a:r>
              <a:rPr lang="en-US" sz="3000" i="1">
                <a:solidFill>
                  <a:srgbClr val="002A44"/>
                </a:solidFill>
                <a:effectLst/>
                <a:latin typeface="Aptos"/>
                <a:ea typeface="Aptos"/>
                <a:cs typeface="Times New Roman" panose="02020603050405020304" pitchFamily="18" charset="0"/>
              </a:rPr>
              <a:t>an you predict how much a repeat donor will donate</a:t>
            </a:r>
          </a:p>
          <a:p>
            <a:pPr marL="1311275" lvl="2" indent="-457200" defTabSz="792163">
              <a:lnSpc>
                <a:spcPct val="150000"/>
              </a:lnSpc>
              <a:buClr>
                <a:srgbClr val="002A44"/>
              </a:buClr>
              <a:buSzPts val="3600"/>
              <a:buFont typeface="Arial" panose="020B0604020202020204" pitchFamily="34" charset="0"/>
              <a:buChar char="•"/>
            </a:pPr>
            <a:r>
              <a:rPr lang="en-US" sz="3000">
                <a:solidFill>
                  <a:srgbClr val="002A44"/>
                </a:solidFill>
                <a:effectLst/>
                <a:latin typeface="Aptos"/>
                <a:ea typeface="Aptos"/>
                <a:cs typeface="Times New Roman" panose="02020603050405020304" pitchFamily="18" charset="0"/>
              </a:rPr>
              <a:t>Example algorithms include: logistic/linear regression (for binary and regression modes); random forest, gradient boosting, k-nearest neighbors</a:t>
            </a:r>
            <a:endParaRPr lang="en-US" sz="3000">
              <a:solidFill>
                <a:srgbClr val="002A44"/>
              </a:solidFill>
              <a:latin typeface="Aptos"/>
              <a:ea typeface="Montserrat"/>
              <a:cs typeface="Montserrat"/>
              <a:sym typeface="Montserrat"/>
            </a:endParaRPr>
          </a:p>
          <a:p>
            <a:pPr marL="1260475" lvl="0" indent="-457200" algn="l" rtl="0">
              <a:lnSpc>
                <a:spcPct val="115000"/>
              </a:lnSpc>
              <a:spcBef>
                <a:spcPts val="0"/>
              </a:spcBef>
              <a:spcAft>
                <a:spcPts val="0"/>
              </a:spcAft>
              <a:buClr>
                <a:srgbClr val="002A44"/>
              </a:buClr>
              <a:buSzPts val="3600"/>
              <a:buFont typeface="Arial" panose="020B0604020202020204" pitchFamily="34" charset="0"/>
              <a:buChar char="•"/>
            </a:pPr>
            <a:r>
              <a:rPr lang="en-US" sz="3000">
                <a:solidFill>
                  <a:srgbClr val="002A44"/>
                </a:solidFill>
                <a:latin typeface="Aptos"/>
                <a:ea typeface="Montserrat"/>
                <a:cs typeface="Montserrat"/>
                <a:sym typeface="Montserrat"/>
              </a:rPr>
              <a:t>Evaluation metrics should be selected based on your approach, but could include: accuracy, precision, recall, F1 score (classification); mean squared error, mean absolute error, or mean absolute percentage error</a:t>
            </a:r>
            <a:br>
              <a:rPr lang="en-US" sz="3000">
                <a:solidFill>
                  <a:srgbClr val="002A44"/>
                </a:solidFill>
                <a:latin typeface="Aptos"/>
                <a:ea typeface="Montserrat"/>
                <a:cs typeface="Montserrat"/>
                <a:sym typeface="Montserrat"/>
              </a:rPr>
            </a:br>
            <a:endParaRPr lang="en-US" sz="3000">
              <a:solidFill>
                <a:srgbClr val="002A44"/>
              </a:solidFill>
              <a:latin typeface="Aptos"/>
              <a:ea typeface="Montserrat"/>
              <a:cs typeface="Montserrat"/>
              <a:sym typeface="Montserrat"/>
            </a:endParaRPr>
          </a:p>
          <a:p>
            <a:pPr marL="457200" lvl="0" indent="-457200" algn="l" rtl="0">
              <a:lnSpc>
                <a:spcPct val="115000"/>
              </a:lnSpc>
              <a:spcBef>
                <a:spcPts val="0"/>
              </a:spcBef>
              <a:spcAft>
                <a:spcPts val="0"/>
              </a:spcAft>
              <a:buClr>
                <a:srgbClr val="002A44"/>
              </a:buClr>
              <a:buSzPts val="3600"/>
              <a:buFont typeface="Arial" panose="020B0604020202020204" pitchFamily="34" charset="0"/>
              <a:buChar char="•"/>
            </a:pPr>
            <a:r>
              <a:rPr lang="en-US" sz="3000">
                <a:solidFill>
                  <a:srgbClr val="002A44"/>
                </a:solidFill>
                <a:latin typeface="Aptos"/>
                <a:ea typeface="Montserrat"/>
                <a:cs typeface="Montserrat"/>
                <a:sym typeface="Montserrat"/>
              </a:rPr>
              <a:t>Also consider how to </a:t>
            </a:r>
            <a:r>
              <a:rPr lang="en-US" sz="3000" b="1">
                <a:solidFill>
                  <a:srgbClr val="002A44"/>
                </a:solidFill>
                <a:latin typeface="Aptos"/>
                <a:ea typeface="Montserrat"/>
                <a:cs typeface="Montserrat"/>
                <a:sym typeface="Montserrat"/>
              </a:rPr>
              <a:t>leverage interpretable models </a:t>
            </a:r>
            <a:r>
              <a:rPr lang="en-US" sz="3000">
                <a:solidFill>
                  <a:srgbClr val="002A44"/>
                </a:solidFill>
                <a:latin typeface="Aptos"/>
                <a:ea typeface="Montserrat"/>
                <a:cs typeface="Montserrat"/>
                <a:sym typeface="Montserrat"/>
              </a:rPr>
              <a:t>that can identify the important factor(s) in making your prediction</a:t>
            </a:r>
          </a:p>
        </p:txBody>
      </p:sp>
      <p:sp>
        <p:nvSpPr>
          <p:cNvPr id="1365" name="Google Shape;1365;p104"/>
          <p:cNvSpPr txBox="1"/>
          <p:nvPr/>
        </p:nvSpPr>
        <p:spPr>
          <a:xfrm>
            <a:off x="2071413" y="3255497"/>
            <a:ext cx="20078700" cy="923213"/>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None/>
            </a:pPr>
            <a:r>
              <a:rPr lang="en-US" sz="3600">
                <a:solidFill>
                  <a:srgbClr val="002A44"/>
                </a:solidFill>
                <a:latin typeface="Aptos"/>
                <a:ea typeface="Montserrat"/>
                <a:cs typeface="Montserrat"/>
                <a:sym typeface="Montserrat"/>
              </a:rPr>
              <a:t>Recommend a </a:t>
            </a:r>
            <a:r>
              <a:rPr lang="en-US" sz="3600" b="1">
                <a:solidFill>
                  <a:srgbClr val="002A44"/>
                </a:solidFill>
                <a:latin typeface="Aptos"/>
                <a:ea typeface="Montserrat"/>
                <a:cs typeface="Montserrat"/>
                <a:sym typeface="Montserrat"/>
              </a:rPr>
              <a:t>supervised learning </a:t>
            </a:r>
            <a:r>
              <a:rPr lang="en-US" sz="3600">
                <a:solidFill>
                  <a:srgbClr val="002A44"/>
                </a:solidFill>
                <a:latin typeface="Aptos"/>
                <a:ea typeface="Montserrat"/>
                <a:cs typeface="Montserrat"/>
                <a:sym typeface="Montserrat"/>
              </a:rPr>
              <a:t>approach</a:t>
            </a:r>
          </a:p>
        </p:txBody>
      </p:sp>
      <p:pic>
        <p:nvPicPr>
          <p:cNvPr id="1366" name="Google Shape;1366;p104"/>
          <p:cNvPicPr preferRelativeResize="0"/>
          <p:nvPr/>
        </p:nvPicPr>
        <p:blipFill>
          <a:blip r:embed="rId5">
            <a:alphaModFix/>
          </a:blip>
          <a:stretch>
            <a:fillRect/>
          </a:stretch>
        </p:blipFill>
        <p:spPr>
          <a:xfrm>
            <a:off x="22146768" y="10497312"/>
            <a:ext cx="1709928" cy="1709928"/>
          </a:xfrm>
          <a:prstGeom prst="rect">
            <a:avLst/>
          </a:prstGeom>
          <a:noFill/>
          <a:ln>
            <a:noFill/>
          </a:ln>
        </p:spPr>
      </p:pic>
    </p:spTree>
  </p:cSld>
  <p:clrMapOvr>
    <a:masterClrMapping/>
  </p:clrMapOvr>
  <p:extLst>
    <p:ext uri="{6950BFC3-D8DA-4A85-94F7-54DA5524770B}">
      <p188:commentRel xmlns:p188="http://schemas.microsoft.com/office/powerpoint/2018/8/main" r:id="rId3"/>
    </p:ext>
  </p:extLst>
</p:sld>
</file>

<file path=ppt/slides/slide19.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1396"/>
        <p:cNvGrpSpPr/>
        <p:nvPr/>
      </p:nvGrpSpPr>
      <p:grpSpPr>
        <a:xfrm>
          <a:off x="0" y="0"/>
          <a:ext cx="0" cy="0"/>
          <a:chOff x="0" y="0"/>
          <a:chExt cx="0" cy="0"/>
        </a:xfrm>
      </p:grpSpPr>
      <p:sp>
        <p:nvSpPr>
          <p:cNvPr id="1397" name="Google Shape;1397;p107"/>
          <p:cNvSpPr txBox="1"/>
          <p:nvPr/>
        </p:nvSpPr>
        <p:spPr>
          <a:xfrm>
            <a:off x="2071425" y="1999775"/>
            <a:ext cx="20196000" cy="12930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Clr>
                <a:schemeClr val="dk1"/>
              </a:buClr>
              <a:buSzPts val="1100"/>
              <a:buFont typeface="Arial"/>
              <a:buNone/>
            </a:pPr>
            <a:r>
              <a:rPr lang="en-US" sz="7200">
                <a:solidFill>
                  <a:srgbClr val="002A44"/>
                </a:solidFill>
                <a:latin typeface="Montserrat Black"/>
                <a:ea typeface="Montserrat Black"/>
                <a:cs typeface="Montserrat Black"/>
                <a:sym typeface="Montserrat Black"/>
              </a:rPr>
              <a:t>Python libraries</a:t>
            </a:r>
            <a:endParaRPr sz="1100">
              <a:solidFill>
                <a:schemeClr val="dk1"/>
              </a:solidFill>
            </a:endParaRPr>
          </a:p>
        </p:txBody>
      </p:sp>
      <p:sp>
        <p:nvSpPr>
          <p:cNvPr id="1398" name="Google Shape;1398;p107"/>
          <p:cNvSpPr txBox="1"/>
          <p:nvPr/>
        </p:nvSpPr>
        <p:spPr>
          <a:xfrm>
            <a:off x="2071425" y="3386420"/>
            <a:ext cx="19873200" cy="4339619"/>
          </a:xfrm>
          <a:prstGeom prst="rect">
            <a:avLst/>
          </a:prstGeom>
          <a:noFill/>
          <a:ln>
            <a:noFill/>
          </a:ln>
        </p:spPr>
        <p:txBody>
          <a:bodyPr spcFirstLastPara="1" wrap="square" lIns="91425" tIns="91425" rIns="91425" bIns="91425" anchor="t" anchorCtr="0">
            <a:spAutoFit/>
          </a:bodyPr>
          <a:lstStyle/>
          <a:p>
            <a:pPr marL="457200" lvl="0" indent="-457200" algn="l" rtl="0">
              <a:lnSpc>
                <a:spcPct val="150000"/>
              </a:lnSpc>
              <a:spcBef>
                <a:spcPts val="0"/>
              </a:spcBef>
              <a:spcAft>
                <a:spcPts val="0"/>
              </a:spcAft>
              <a:buClr>
                <a:srgbClr val="002A44"/>
              </a:buClr>
              <a:buSzPts val="3600"/>
              <a:buFont typeface="Montserrat"/>
              <a:buChar char="●"/>
            </a:pPr>
            <a:r>
              <a:rPr lang="en-US" sz="3600">
                <a:solidFill>
                  <a:srgbClr val="002A44"/>
                </a:solidFill>
                <a:latin typeface="Montserrat"/>
                <a:ea typeface="Montserrat"/>
                <a:cs typeface="Montserrat"/>
                <a:sym typeface="Montserrat"/>
                <a:hlinkClick r:id="rId4"/>
              </a:rPr>
              <a:t>pandas</a:t>
            </a:r>
            <a:r>
              <a:rPr lang="en-US" sz="3600">
                <a:solidFill>
                  <a:srgbClr val="002A44"/>
                </a:solidFill>
                <a:latin typeface="Montserrat"/>
                <a:ea typeface="Montserrat"/>
                <a:cs typeface="Montserrat"/>
                <a:sym typeface="Montserrat"/>
              </a:rPr>
              <a:t> – working with ‘rectangles’ (tables) of data</a:t>
            </a:r>
          </a:p>
          <a:p>
            <a:pPr marL="457200" lvl="0" indent="-457200" algn="l" rtl="0">
              <a:lnSpc>
                <a:spcPct val="150000"/>
              </a:lnSpc>
              <a:spcBef>
                <a:spcPts val="0"/>
              </a:spcBef>
              <a:spcAft>
                <a:spcPts val="0"/>
              </a:spcAft>
              <a:buClr>
                <a:srgbClr val="002A44"/>
              </a:buClr>
              <a:buSzPts val="3600"/>
              <a:buFont typeface="Montserrat"/>
              <a:buChar char="●"/>
            </a:pPr>
            <a:r>
              <a:rPr lang="en-US" sz="3600" err="1">
                <a:solidFill>
                  <a:srgbClr val="002A44"/>
                </a:solidFill>
                <a:latin typeface="Montserrat"/>
                <a:ea typeface="Montserrat"/>
                <a:cs typeface="Montserrat"/>
                <a:sym typeface="Montserrat"/>
                <a:hlinkClick r:id="rId5"/>
              </a:rPr>
              <a:t>geopandas</a:t>
            </a:r>
            <a:r>
              <a:rPr lang="en-US" sz="3600">
                <a:solidFill>
                  <a:srgbClr val="002A44"/>
                </a:solidFill>
                <a:latin typeface="Montserrat"/>
                <a:ea typeface="Montserrat"/>
                <a:cs typeface="Montserrat"/>
                <a:sym typeface="Montserrat"/>
              </a:rPr>
              <a:t> – working with geospatial data</a:t>
            </a:r>
          </a:p>
          <a:p>
            <a:pPr marL="457200" lvl="0" indent="-457200" algn="l" rtl="0">
              <a:lnSpc>
                <a:spcPct val="150000"/>
              </a:lnSpc>
              <a:spcBef>
                <a:spcPts val="0"/>
              </a:spcBef>
              <a:spcAft>
                <a:spcPts val="0"/>
              </a:spcAft>
              <a:buClr>
                <a:srgbClr val="002A44"/>
              </a:buClr>
              <a:buSzPts val="3600"/>
              <a:buFont typeface="Montserrat"/>
              <a:buChar char="●"/>
            </a:pPr>
            <a:r>
              <a:rPr lang="en-US" sz="3600">
                <a:solidFill>
                  <a:srgbClr val="002A44"/>
                </a:solidFill>
                <a:latin typeface="Montserrat"/>
                <a:ea typeface="Montserrat"/>
                <a:cs typeface="Montserrat"/>
                <a:sym typeface="Montserrat"/>
                <a:hlinkClick r:id="rId6"/>
              </a:rPr>
              <a:t>scikit-learn</a:t>
            </a:r>
            <a:r>
              <a:rPr lang="en-US" sz="3600">
                <a:solidFill>
                  <a:srgbClr val="002A44"/>
                </a:solidFill>
                <a:latin typeface="Montserrat"/>
                <a:ea typeface="Montserrat"/>
                <a:cs typeface="Montserrat"/>
                <a:sym typeface="Montserrat"/>
              </a:rPr>
              <a:t> – leveraging ML algorithms</a:t>
            </a:r>
          </a:p>
          <a:p>
            <a:pPr marL="457200" lvl="0" indent="-457200" algn="l" rtl="0">
              <a:lnSpc>
                <a:spcPct val="150000"/>
              </a:lnSpc>
              <a:spcBef>
                <a:spcPts val="0"/>
              </a:spcBef>
              <a:spcAft>
                <a:spcPts val="0"/>
              </a:spcAft>
              <a:buClr>
                <a:srgbClr val="002A44"/>
              </a:buClr>
              <a:buSzPts val="3600"/>
              <a:buFont typeface="Montserrat"/>
              <a:buChar char="●"/>
            </a:pPr>
            <a:r>
              <a:rPr lang="en-US" sz="3600" err="1">
                <a:solidFill>
                  <a:srgbClr val="002A44"/>
                </a:solidFill>
                <a:latin typeface="Montserrat"/>
                <a:ea typeface="Montserrat"/>
                <a:cs typeface="Montserrat"/>
                <a:sym typeface="Montserrat"/>
                <a:hlinkClick r:id="rId7"/>
              </a:rPr>
              <a:t>plotnine</a:t>
            </a:r>
            <a:r>
              <a:rPr lang="en-US" sz="3600">
                <a:solidFill>
                  <a:srgbClr val="002A44"/>
                </a:solidFill>
                <a:latin typeface="Montserrat"/>
                <a:ea typeface="Montserrat"/>
                <a:cs typeface="Montserrat"/>
                <a:sym typeface="Montserrat"/>
              </a:rPr>
              <a:t> or </a:t>
            </a:r>
            <a:r>
              <a:rPr lang="en-US" sz="3600">
                <a:solidFill>
                  <a:srgbClr val="002A44"/>
                </a:solidFill>
                <a:latin typeface="Montserrat"/>
                <a:ea typeface="Montserrat"/>
                <a:cs typeface="Montserrat"/>
                <a:sym typeface="Montserrat"/>
                <a:hlinkClick r:id="rId8"/>
              </a:rPr>
              <a:t>seaborn</a:t>
            </a:r>
            <a:r>
              <a:rPr lang="en-US" sz="3600">
                <a:solidFill>
                  <a:srgbClr val="002A44"/>
                </a:solidFill>
                <a:latin typeface="Montserrat"/>
                <a:ea typeface="Montserrat"/>
                <a:cs typeface="Montserrat"/>
                <a:sym typeface="Montserrat"/>
              </a:rPr>
              <a:t> – data visualization</a:t>
            </a:r>
          </a:p>
          <a:p>
            <a:pPr marL="1493838" lvl="1" indent="-457200">
              <a:lnSpc>
                <a:spcPct val="150000"/>
              </a:lnSpc>
              <a:buClr>
                <a:srgbClr val="002A44"/>
              </a:buClr>
              <a:buSzPts val="3600"/>
              <a:buFont typeface="Montserrat"/>
              <a:buChar char="●"/>
            </a:pPr>
            <a:r>
              <a:rPr lang="en-US" sz="3600">
                <a:solidFill>
                  <a:srgbClr val="002A44"/>
                </a:solidFill>
                <a:latin typeface="Montserrat"/>
                <a:ea typeface="Montserrat"/>
                <a:cs typeface="Montserrat"/>
                <a:sym typeface="Montserrat"/>
                <a:hlinkClick r:id="rId9"/>
              </a:rPr>
              <a:t>matplotlib</a:t>
            </a:r>
            <a:r>
              <a:rPr lang="en-US" sz="3600">
                <a:solidFill>
                  <a:srgbClr val="002A44"/>
                </a:solidFill>
                <a:latin typeface="Montserrat"/>
                <a:ea typeface="Montserrat"/>
                <a:cs typeface="Montserrat"/>
                <a:sym typeface="Montserrat"/>
              </a:rPr>
              <a:t> – </a:t>
            </a:r>
            <a:r>
              <a:rPr lang="en-US" sz="3600" i="1">
                <a:solidFill>
                  <a:srgbClr val="002A44"/>
                </a:solidFill>
                <a:latin typeface="Montserrat"/>
                <a:ea typeface="Montserrat"/>
                <a:cs typeface="Montserrat"/>
                <a:sym typeface="Montserrat"/>
              </a:rPr>
              <a:t>more</a:t>
            </a:r>
            <a:r>
              <a:rPr lang="en-US" sz="3600">
                <a:solidFill>
                  <a:srgbClr val="002A44"/>
                </a:solidFill>
                <a:latin typeface="Montserrat"/>
                <a:ea typeface="Montserrat"/>
                <a:cs typeface="Montserrat"/>
                <a:sym typeface="Montserrat"/>
              </a:rPr>
              <a:t> data vis.</a:t>
            </a:r>
          </a:p>
        </p:txBody>
      </p:sp>
      <p:pic>
        <p:nvPicPr>
          <p:cNvPr id="1400" name="Google Shape;1400;p107"/>
          <p:cNvPicPr preferRelativeResize="0"/>
          <p:nvPr/>
        </p:nvPicPr>
        <p:blipFill>
          <a:blip r:embed="rId10">
            <a:alphaModFix/>
          </a:blip>
          <a:stretch>
            <a:fillRect/>
          </a:stretch>
        </p:blipFill>
        <p:spPr>
          <a:xfrm>
            <a:off x="22146768" y="10497312"/>
            <a:ext cx="1709929" cy="1861924"/>
          </a:xfrm>
          <a:prstGeom prst="rect">
            <a:avLst/>
          </a:prstGeom>
          <a:noFill/>
          <a:ln>
            <a:noFill/>
          </a:ln>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a:blip r:embed="rId5">
            <a:alphaModFix/>
          </a:blip>
          <a:stretch>
            <a:fillRect/>
          </a:stretch>
        </a:blipFill>
        <a:effectLst/>
      </p:bgPr>
    </p:bg>
    <p:spTree>
      <p:nvGrpSpPr>
        <p:cNvPr id="1" name="Shape 1310"/>
        <p:cNvGrpSpPr/>
        <p:nvPr/>
      </p:nvGrpSpPr>
      <p:grpSpPr>
        <a:xfrm>
          <a:off x="0" y="0"/>
          <a:ext cx="0" cy="0"/>
          <a:chOff x="0" y="0"/>
          <a:chExt cx="0" cy="0"/>
        </a:xfrm>
      </p:grpSpPr>
      <p:graphicFrame>
        <p:nvGraphicFramePr>
          <p:cNvPr id="47" name="think-cell data - do not delete" hidden="1">
            <a:extLst>
              <a:ext uri="{FF2B5EF4-FFF2-40B4-BE49-F238E27FC236}">
                <a16:creationId xmlns:a16="http://schemas.microsoft.com/office/drawing/2014/main" id="{2DA2C73E-4674-6ED6-CDF7-F548679AFA1D}"/>
              </a:ext>
            </a:extLst>
          </p:cNvPr>
          <p:cNvGraphicFramePr>
            <a:graphicFrameLocks noChangeAspect="1"/>
          </p:cNvGraphicFramePr>
          <p:nvPr>
            <p:custDataLst>
              <p:tags r:id="rId1"/>
            </p:custDataLst>
            <p:extLst>
              <p:ext uri="{D42A27DB-BD31-4B8C-83A1-F6EECF244321}">
                <p14:modId xmlns:p14="http://schemas.microsoft.com/office/powerpoint/2010/main" val="2162368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47" name="think-cell data - do not delete" hidden="1">
                        <a:extLst>
                          <a:ext uri="{FF2B5EF4-FFF2-40B4-BE49-F238E27FC236}">
                            <a16:creationId xmlns:a16="http://schemas.microsoft.com/office/drawing/2014/main" id="{2DA2C73E-4674-6ED6-CDF7-F548679AFA1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30" name="Group 29">
            <a:extLst>
              <a:ext uri="{FF2B5EF4-FFF2-40B4-BE49-F238E27FC236}">
                <a16:creationId xmlns:a16="http://schemas.microsoft.com/office/drawing/2014/main" id="{F3F666BB-6B78-0463-5DA8-24754023DE61}"/>
              </a:ext>
            </a:extLst>
          </p:cNvPr>
          <p:cNvGrpSpPr/>
          <p:nvPr/>
        </p:nvGrpSpPr>
        <p:grpSpPr>
          <a:xfrm>
            <a:off x="12718494" y="3229373"/>
            <a:ext cx="3955115" cy="3338905"/>
            <a:chOff x="13777839" y="3537385"/>
            <a:chExt cx="4422027" cy="3548072"/>
          </a:xfrm>
        </p:grpSpPr>
        <p:sp>
          <p:nvSpPr>
            <p:cNvPr id="31" name="Google Shape;1313;p99">
              <a:extLst>
                <a:ext uri="{FF2B5EF4-FFF2-40B4-BE49-F238E27FC236}">
                  <a16:creationId xmlns:a16="http://schemas.microsoft.com/office/drawing/2014/main" id="{370A09A7-51E1-B026-0C52-F2A9B6E5FDEB}"/>
                </a:ext>
              </a:extLst>
            </p:cNvPr>
            <p:cNvSpPr txBox="1"/>
            <p:nvPr/>
          </p:nvSpPr>
          <p:spPr>
            <a:xfrm>
              <a:off x="13777839" y="5602950"/>
              <a:ext cx="4422027" cy="1482507"/>
            </a:xfrm>
            <a:prstGeom prst="rect">
              <a:avLst/>
            </a:prstGeom>
            <a:noFill/>
            <a:ln>
              <a:noFill/>
            </a:ln>
          </p:spPr>
          <p:txBody>
            <a:bodyPr spcFirstLastPara="1" wrap="square" lIns="91425" tIns="91425" rIns="91425" bIns="91425" anchor="t" anchorCtr="0">
              <a:spAutoFit/>
            </a:bodyPr>
            <a:lstStyle/>
            <a:p>
              <a:pPr algn="ctr"/>
              <a:r>
                <a:rPr lang="en-US" sz="2400" b="1">
                  <a:latin typeface="Montserrat"/>
                  <a:ea typeface="Montserrat"/>
                  <a:cs typeface="Montserrat"/>
                  <a:sym typeface="Montserrat"/>
                </a:rPr>
                <a:t>Alex </a:t>
              </a:r>
              <a:r>
                <a:rPr lang="en-US" sz="2400" b="1" err="1">
                  <a:latin typeface="Montserrat"/>
                  <a:ea typeface="Montserrat"/>
                  <a:cs typeface="Montserrat"/>
                  <a:sym typeface="Montserrat"/>
                </a:rPr>
                <a:t>Voet</a:t>
              </a:r>
              <a:r>
                <a:rPr lang="en-US" sz="2400" b="1">
                  <a:latin typeface="Montserrat"/>
                  <a:ea typeface="Montserrat"/>
                  <a:cs typeface="Montserrat"/>
                  <a:sym typeface="Montserrat"/>
                </a:rPr>
                <a:t> </a:t>
              </a:r>
              <a:r>
                <a:rPr lang="en-US" sz="2400">
                  <a:solidFill>
                    <a:schemeClr val="dk1"/>
                  </a:solidFill>
                  <a:latin typeface="Montserrat"/>
                  <a:ea typeface="Montserrat"/>
                  <a:cs typeface="Montserrat"/>
                  <a:sym typeface="Montserrat"/>
                </a:rPr>
                <a:t>(He/Him/His)</a:t>
              </a:r>
              <a:endParaRPr lang="en-US" sz="2400" b="1">
                <a:solidFill>
                  <a:schemeClr val="dk1"/>
                </a:solidFill>
                <a:latin typeface="Montserrat"/>
                <a:ea typeface="Montserrat"/>
                <a:cs typeface="Montserrat"/>
                <a:sym typeface="Montserrat"/>
              </a:endParaRPr>
            </a:p>
            <a:p>
              <a:pPr algn="ctr"/>
              <a:r>
                <a:rPr lang="en-US" sz="2400">
                  <a:latin typeface="Montserrat"/>
                  <a:ea typeface="Montserrat"/>
                  <a:cs typeface="Montserrat"/>
                  <a:sym typeface="Montserrat"/>
                </a:rPr>
                <a:t>Senior Associate</a:t>
              </a:r>
            </a:p>
            <a:p>
              <a:pPr algn="ctr"/>
              <a:r>
                <a:rPr lang="en-US" sz="2400">
                  <a:latin typeface="Montserrat"/>
                  <a:ea typeface="Montserrat"/>
                  <a:cs typeface="Montserrat"/>
                  <a:sym typeface="Montserrat"/>
                  <a:hlinkClick r:id="rId8"/>
                </a:rPr>
                <a:t>avoet@kpmg.com</a:t>
              </a:r>
              <a:r>
                <a:rPr lang="en-US" sz="2400">
                  <a:latin typeface="Montserrat"/>
                  <a:ea typeface="Montserrat"/>
                  <a:cs typeface="Montserrat"/>
                  <a:sym typeface="Montserrat"/>
                </a:rPr>
                <a:t> </a:t>
              </a:r>
            </a:p>
          </p:txBody>
        </p:sp>
        <p:pic>
          <p:nvPicPr>
            <p:cNvPr id="32" name="Picture 31">
              <a:extLst>
                <a:ext uri="{FF2B5EF4-FFF2-40B4-BE49-F238E27FC236}">
                  <a16:creationId xmlns:a16="http://schemas.microsoft.com/office/drawing/2014/main" id="{7425C8F8-BE5A-16B3-93FD-C1E8ED16725C}"/>
                </a:ext>
              </a:extLst>
            </p:cNvPr>
            <p:cNvPicPr>
              <a:picLocks noChangeAspect="1"/>
            </p:cNvPicPr>
            <p:nvPr/>
          </p:nvPicPr>
          <p:blipFill>
            <a:blip r:embed="rId9"/>
            <a:srcRect t="10343" b="10343"/>
            <a:stretch/>
          </p:blipFill>
          <p:spPr>
            <a:xfrm>
              <a:off x="14741559" y="3537385"/>
              <a:ext cx="2286000" cy="2146088"/>
            </a:xfrm>
            <a:prstGeom prst="ellipse">
              <a:avLst/>
            </a:prstGeom>
            <a:noFill/>
            <a:ln>
              <a:noFill/>
            </a:ln>
          </p:spPr>
        </p:pic>
      </p:grpSp>
      <p:sp>
        <p:nvSpPr>
          <p:cNvPr id="1311" name="Google Shape;1311;p99"/>
          <p:cNvSpPr txBox="1"/>
          <p:nvPr/>
        </p:nvSpPr>
        <p:spPr>
          <a:xfrm>
            <a:off x="473471" y="1213161"/>
            <a:ext cx="22907100" cy="14622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Clr>
                <a:schemeClr val="dk1"/>
              </a:buClr>
              <a:buSzPts val="1100"/>
              <a:buFont typeface="Arial"/>
              <a:buNone/>
            </a:pPr>
            <a:r>
              <a:rPr lang="en-US" sz="7200">
                <a:solidFill>
                  <a:srgbClr val="002A44"/>
                </a:solidFill>
                <a:latin typeface="Montserrat Black"/>
                <a:ea typeface="Montserrat Black"/>
                <a:cs typeface="Montserrat Black"/>
                <a:sym typeface="Montserrat Black"/>
              </a:rPr>
              <a:t>We’re excited to be your Challenge Advisors!</a:t>
            </a:r>
            <a:endParaRPr sz="7200" b="1">
              <a:solidFill>
                <a:srgbClr val="002A44"/>
              </a:solidFill>
              <a:latin typeface="Montserrat"/>
              <a:ea typeface="Montserrat"/>
              <a:cs typeface="Montserrat"/>
              <a:sym typeface="Montserrat"/>
            </a:endParaRPr>
          </a:p>
          <a:p>
            <a:pPr marL="0" lvl="0" indent="0" algn="l" rtl="0">
              <a:lnSpc>
                <a:spcPct val="115000"/>
              </a:lnSpc>
              <a:spcBef>
                <a:spcPts val="0"/>
              </a:spcBef>
              <a:spcAft>
                <a:spcPts val="0"/>
              </a:spcAft>
              <a:buNone/>
            </a:pPr>
            <a:endParaRPr sz="1100">
              <a:solidFill>
                <a:schemeClr val="dk1"/>
              </a:solidFill>
            </a:endParaRPr>
          </a:p>
        </p:txBody>
      </p:sp>
      <p:grpSp>
        <p:nvGrpSpPr>
          <p:cNvPr id="15" name="Group 14">
            <a:extLst>
              <a:ext uri="{FF2B5EF4-FFF2-40B4-BE49-F238E27FC236}">
                <a16:creationId xmlns:a16="http://schemas.microsoft.com/office/drawing/2014/main" id="{BF9E1337-FF95-23D6-4754-D08F7E1640FF}"/>
              </a:ext>
            </a:extLst>
          </p:cNvPr>
          <p:cNvGrpSpPr/>
          <p:nvPr/>
        </p:nvGrpSpPr>
        <p:grpSpPr>
          <a:xfrm>
            <a:off x="19031199" y="3229373"/>
            <a:ext cx="4753375" cy="3365084"/>
            <a:chOff x="18219211" y="3622766"/>
            <a:chExt cx="5719200" cy="3977637"/>
          </a:xfrm>
        </p:grpSpPr>
        <p:sp>
          <p:nvSpPr>
            <p:cNvPr id="1312" name="Google Shape;1312;p99"/>
            <p:cNvSpPr txBox="1"/>
            <p:nvPr/>
          </p:nvSpPr>
          <p:spPr>
            <a:xfrm>
              <a:off x="18219211" y="6072472"/>
              <a:ext cx="5719200" cy="1527931"/>
            </a:xfrm>
            <a:prstGeom prst="rect">
              <a:avLst/>
            </a:prstGeom>
            <a:noFill/>
            <a:ln>
              <a:noFill/>
            </a:ln>
          </p:spPr>
          <p:txBody>
            <a:bodyPr spcFirstLastPara="1" wrap="square" lIns="91425" tIns="91425" rIns="91425" bIns="91425" anchor="t" anchorCtr="0">
              <a:spAutoFit/>
            </a:bodyPr>
            <a:lstStyle>
              <a:defPPr marR="0" lvl="0" algn="l" rtl="0">
                <a:lnSpc>
                  <a:spcPct val="100000"/>
                </a:lnSpc>
                <a:spcBef>
                  <a:spcPts val="0"/>
                </a:spcBef>
                <a:spcAft>
                  <a:spcPts val="0"/>
                </a:spcAft>
              </a:defPPr>
              <a:lvl1pPr algn="ctr">
                <a:defRPr sz="2400" b="1">
                  <a:latin typeface="Montserrat"/>
                  <a:ea typeface="Montserrat"/>
                  <a:cs typeface="Montserrat"/>
                </a:defRPr>
              </a:lvl1pPr>
            </a:lstStyle>
            <a:p>
              <a:r>
                <a:rPr lang="en-US">
                  <a:sym typeface="Montserrat"/>
                </a:rPr>
                <a:t>Jessica Curley</a:t>
              </a:r>
              <a:r>
                <a:rPr lang="en-US" b="0">
                  <a:sym typeface="Montserrat"/>
                </a:rPr>
                <a:t> (She/Her/Hers)</a:t>
              </a:r>
            </a:p>
            <a:p>
              <a:r>
                <a:rPr lang="en-US" b="0">
                  <a:sym typeface="Montserrat"/>
                </a:rPr>
                <a:t>Lead Specialist </a:t>
              </a:r>
            </a:p>
            <a:p>
              <a:r>
                <a:rPr lang="en-US" b="0">
                  <a:sym typeface="Montserrat"/>
                  <a:hlinkClick r:id="rId10"/>
                </a:rPr>
                <a:t>jcurley@kpmg.com</a:t>
              </a:r>
              <a:endParaRPr lang="en-US" b="0">
                <a:sym typeface="Montserrat"/>
              </a:endParaRPr>
            </a:p>
          </p:txBody>
        </p:sp>
        <p:pic>
          <p:nvPicPr>
            <p:cNvPr id="1314" name="Google Shape;1314;p99"/>
            <p:cNvPicPr preferRelativeResize="0"/>
            <p:nvPr/>
          </p:nvPicPr>
          <p:blipFill>
            <a:blip r:embed="rId11"/>
            <a:srcRect t="7794" b="7794"/>
            <a:stretch/>
          </p:blipFill>
          <p:spPr>
            <a:xfrm>
              <a:off x="19899778" y="3622766"/>
              <a:ext cx="2286000" cy="2286000"/>
            </a:xfrm>
            <a:prstGeom prst="ellipse">
              <a:avLst/>
            </a:prstGeom>
            <a:noFill/>
            <a:ln>
              <a:noFill/>
            </a:ln>
          </p:spPr>
        </p:pic>
      </p:grpSp>
      <p:grpSp>
        <p:nvGrpSpPr>
          <p:cNvPr id="13" name="Group 12">
            <a:extLst>
              <a:ext uri="{FF2B5EF4-FFF2-40B4-BE49-F238E27FC236}">
                <a16:creationId xmlns:a16="http://schemas.microsoft.com/office/drawing/2014/main" id="{5FCB6C4C-CAFB-2486-A112-CAD998098806}"/>
              </a:ext>
            </a:extLst>
          </p:cNvPr>
          <p:cNvGrpSpPr/>
          <p:nvPr/>
        </p:nvGrpSpPr>
        <p:grpSpPr>
          <a:xfrm>
            <a:off x="6652285" y="3229373"/>
            <a:ext cx="4132143" cy="3132643"/>
            <a:chOff x="13777839" y="3537384"/>
            <a:chExt cx="4422027" cy="3358198"/>
          </a:xfrm>
        </p:grpSpPr>
        <p:sp>
          <p:nvSpPr>
            <p:cNvPr id="2" name="Google Shape;1313;p99">
              <a:extLst>
                <a:ext uri="{FF2B5EF4-FFF2-40B4-BE49-F238E27FC236}">
                  <a16:creationId xmlns:a16="http://schemas.microsoft.com/office/drawing/2014/main" id="{86FD94F5-5757-F7AB-8A65-4A3E38E2A6A8}"/>
                </a:ext>
              </a:extLst>
            </p:cNvPr>
            <p:cNvSpPr txBox="1"/>
            <p:nvPr/>
          </p:nvSpPr>
          <p:spPr>
            <a:xfrm>
              <a:off x="13777839" y="5602951"/>
              <a:ext cx="4422027" cy="1292631"/>
            </a:xfrm>
            <a:prstGeom prst="rect">
              <a:avLst/>
            </a:prstGeom>
            <a:noFill/>
            <a:ln>
              <a:noFill/>
            </a:ln>
          </p:spPr>
          <p:txBody>
            <a:bodyPr spcFirstLastPara="1" wrap="square" lIns="91425" tIns="91425" rIns="91425" bIns="91425" anchor="t" anchorCtr="0">
              <a:spAutoFit/>
            </a:bodyPr>
            <a:lstStyle/>
            <a:p>
              <a:pPr algn="ctr"/>
              <a:r>
                <a:rPr lang="en-US" sz="2400" b="1">
                  <a:latin typeface="Montserrat"/>
                  <a:ea typeface="Montserrat"/>
                  <a:cs typeface="Montserrat"/>
                  <a:sym typeface="Montserrat"/>
                </a:rPr>
                <a:t>Hossein </a:t>
              </a:r>
              <a:r>
                <a:rPr lang="en-US" sz="2400" b="1">
                  <a:solidFill>
                    <a:schemeClr val="dk1"/>
                  </a:solidFill>
                  <a:latin typeface="Montserrat"/>
                  <a:ea typeface="Montserrat"/>
                  <a:cs typeface="Montserrat"/>
                  <a:sym typeface="Montserrat"/>
                </a:rPr>
                <a:t>Kalantar </a:t>
              </a:r>
              <a:r>
                <a:rPr lang="en-US" sz="2400">
                  <a:solidFill>
                    <a:schemeClr val="dk1"/>
                  </a:solidFill>
                  <a:latin typeface="Montserrat"/>
                  <a:ea typeface="Montserrat"/>
                  <a:cs typeface="Montserrat"/>
                  <a:sym typeface="Montserrat"/>
                </a:rPr>
                <a:t>(He/Him/His)</a:t>
              </a:r>
              <a:endParaRPr lang="en-US" sz="2400" b="1">
                <a:solidFill>
                  <a:schemeClr val="dk1"/>
                </a:solidFill>
                <a:latin typeface="Montserrat"/>
                <a:ea typeface="Montserrat"/>
                <a:cs typeface="Montserrat"/>
                <a:sym typeface="Montserrat"/>
              </a:endParaRPr>
            </a:p>
            <a:p>
              <a:pPr algn="ctr"/>
              <a:r>
                <a:rPr lang="en-US" sz="2400">
                  <a:latin typeface="Montserrat"/>
                  <a:ea typeface="Montserrat"/>
                  <a:cs typeface="Montserrat"/>
                  <a:sym typeface="Montserrat"/>
                </a:rPr>
                <a:t>Senior Associate </a:t>
              </a:r>
              <a:r>
                <a:rPr lang="en-US" sz="2400">
                  <a:latin typeface="Montserrat"/>
                  <a:ea typeface="Montserrat"/>
                  <a:cs typeface="Montserrat"/>
                  <a:sym typeface="Montserrat"/>
                  <a:hlinkClick r:id="rId12"/>
                </a:rPr>
                <a:t>hkalantar@kpmg.com</a:t>
              </a:r>
              <a:r>
                <a:rPr lang="en-US" sz="2400">
                  <a:latin typeface="Montserrat"/>
                  <a:ea typeface="Montserrat"/>
                  <a:cs typeface="Montserrat"/>
                  <a:sym typeface="Montserrat"/>
                </a:rPr>
                <a:t> </a:t>
              </a:r>
            </a:p>
          </p:txBody>
        </p:sp>
        <p:pic>
          <p:nvPicPr>
            <p:cNvPr id="6" name="Picture 5" descr="A person in a suit and tie&#10;&#10;Description automatically generated">
              <a:extLst>
                <a:ext uri="{FF2B5EF4-FFF2-40B4-BE49-F238E27FC236}">
                  <a16:creationId xmlns:a16="http://schemas.microsoft.com/office/drawing/2014/main" id="{F8989862-5EBD-9859-E1DD-7A50510051ED}"/>
                </a:ext>
              </a:extLst>
            </p:cNvPr>
            <p:cNvPicPr>
              <a:picLocks noChangeAspect="1"/>
            </p:cNvPicPr>
            <p:nvPr/>
          </p:nvPicPr>
          <p:blipFill>
            <a:blip r:embed="rId13"/>
            <a:stretch>
              <a:fillRect/>
            </a:stretch>
          </p:blipFill>
          <p:spPr>
            <a:xfrm>
              <a:off x="14741558" y="3537384"/>
              <a:ext cx="2286000" cy="2146088"/>
            </a:xfrm>
            <a:prstGeom prst="ellipse">
              <a:avLst/>
            </a:prstGeom>
            <a:noFill/>
            <a:ln>
              <a:noFill/>
            </a:ln>
          </p:spPr>
        </p:pic>
      </p:grpSp>
      <p:sp>
        <p:nvSpPr>
          <p:cNvPr id="10" name="TextBox 9">
            <a:extLst>
              <a:ext uri="{FF2B5EF4-FFF2-40B4-BE49-F238E27FC236}">
                <a16:creationId xmlns:a16="http://schemas.microsoft.com/office/drawing/2014/main" id="{B889E171-89FC-8770-CBFD-E1DFAE8421CF}"/>
              </a:ext>
            </a:extLst>
          </p:cNvPr>
          <p:cNvSpPr txBox="1"/>
          <p:nvPr/>
        </p:nvSpPr>
        <p:spPr>
          <a:xfrm>
            <a:off x="339868" y="2511974"/>
            <a:ext cx="4689231" cy="769441"/>
          </a:xfrm>
          <a:prstGeom prst="rect">
            <a:avLst/>
          </a:prstGeom>
          <a:noFill/>
        </p:spPr>
        <p:txBody>
          <a:bodyPr wrap="square" rtlCol="0">
            <a:spAutoFit/>
          </a:bodyPr>
          <a:lstStyle/>
          <a:p>
            <a:pPr algn="ctr"/>
            <a:r>
              <a:rPr lang="en-US" sz="4400" b="1">
                <a:solidFill>
                  <a:schemeClr val="accent6"/>
                </a:solidFill>
              </a:rPr>
              <a:t>Team 1A</a:t>
            </a:r>
          </a:p>
        </p:txBody>
      </p:sp>
      <p:sp>
        <p:nvSpPr>
          <p:cNvPr id="11" name="TextBox 10">
            <a:extLst>
              <a:ext uri="{FF2B5EF4-FFF2-40B4-BE49-F238E27FC236}">
                <a16:creationId xmlns:a16="http://schemas.microsoft.com/office/drawing/2014/main" id="{74D50F07-3D8A-227E-73E3-F7CDC1A44CB3}"/>
              </a:ext>
            </a:extLst>
          </p:cNvPr>
          <p:cNvSpPr txBox="1"/>
          <p:nvPr/>
        </p:nvSpPr>
        <p:spPr>
          <a:xfrm>
            <a:off x="6360802" y="2474082"/>
            <a:ext cx="4689231" cy="769441"/>
          </a:xfrm>
          <a:prstGeom prst="rect">
            <a:avLst/>
          </a:prstGeom>
          <a:noFill/>
        </p:spPr>
        <p:txBody>
          <a:bodyPr wrap="square" rtlCol="0">
            <a:spAutoFit/>
          </a:bodyPr>
          <a:lstStyle/>
          <a:p>
            <a:pPr algn="ctr"/>
            <a:r>
              <a:rPr lang="en-US" sz="4400" b="1">
                <a:solidFill>
                  <a:srgbClr val="7030A0"/>
                </a:solidFill>
              </a:rPr>
              <a:t>Team 1B</a:t>
            </a:r>
          </a:p>
        </p:txBody>
      </p:sp>
      <p:sp>
        <p:nvSpPr>
          <p:cNvPr id="12" name="TextBox 11">
            <a:extLst>
              <a:ext uri="{FF2B5EF4-FFF2-40B4-BE49-F238E27FC236}">
                <a16:creationId xmlns:a16="http://schemas.microsoft.com/office/drawing/2014/main" id="{62FC6E56-195E-B50B-B1EF-544E06F221F2}"/>
              </a:ext>
            </a:extLst>
          </p:cNvPr>
          <p:cNvSpPr txBox="1"/>
          <p:nvPr/>
        </p:nvSpPr>
        <p:spPr>
          <a:xfrm>
            <a:off x="12188824" y="2511974"/>
            <a:ext cx="4689231" cy="769441"/>
          </a:xfrm>
          <a:prstGeom prst="rect">
            <a:avLst/>
          </a:prstGeom>
          <a:noFill/>
        </p:spPr>
        <p:txBody>
          <a:bodyPr wrap="square" rtlCol="0">
            <a:spAutoFit/>
          </a:bodyPr>
          <a:lstStyle/>
          <a:p>
            <a:pPr algn="ctr"/>
            <a:r>
              <a:rPr lang="en-US" sz="4400" b="1">
                <a:solidFill>
                  <a:srgbClr val="002060"/>
                </a:solidFill>
              </a:rPr>
              <a:t>Team 1C</a:t>
            </a:r>
          </a:p>
        </p:txBody>
      </p:sp>
      <p:sp>
        <p:nvSpPr>
          <p:cNvPr id="14" name="TextBox 13">
            <a:extLst>
              <a:ext uri="{FF2B5EF4-FFF2-40B4-BE49-F238E27FC236}">
                <a16:creationId xmlns:a16="http://schemas.microsoft.com/office/drawing/2014/main" id="{AC1E53FF-E2D4-A8FE-AA59-6AB236A9276F}"/>
              </a:ext>
            </a:extLst>
          </p:cNvPr>
          <p:cNvSpPr txBox="1"/>
          <p:nvPr/>
        </p:nvSpPr>
        <p:spPr>
          <a:xfrm>
            <a:off x="18016846" y="2454346"/>
            <a:ext cx="6555913" cy="769441"/>
          </a:xfrm>
          <a:prstGeom prst="rect">
            <a:avLst/>
          </a:prstGeom>
          <a:noFill/>
        </p:spPr>
        <p:txBody>
          <a:bodyPr wrap="square" rtlCol="0">
            <a:spAutoFit/>
          </a:bodyPr>
          <a:lstStyle/>
          <a:p>
            <a:pPr algn="ctr"/>
            <a:r>
              <a:rPr lang="en-US" sz="4400" b="1">
                <a:solidFill>
                  <a:schemeClr val="accent2"/>
                </a:solidFill>
              </a:rPr>
              <a:t>Program Support</a:t>
            </a:r>
          </a:p>
        </p:txBody>
      </p:sp>
      <p:grpSp>
        <p:nvGrpSpPr>
          <p:cNvPr id="4" name="Group 3">
            <a:extLst>
              <a:ext uri="{FF2B5EF4-FFF2-40B4-BE49-F238E27FC236}">
                <a16:creationId xmlns:a16="http://schemas.microsoft.com/office/drawing/2014/main" id="{07685841-8C8D-A5AF-2114-E66264E6F9D5}"/>
              </a:ext>
            </a:extLst>
          </p:cNvPr>
          <p:cNvGrpSpPr/>
          <p:nvPr/>
        </p:nvGrpSpPr>
        <p:grpSpPr>
          <a:xfrm>
            <a:off x="824742" y="6721565"/>
            <a:ext cx="3560891" cy="2831379"/>
            <a:chOff x="13777839" y="3537384"/>
            <a:chExt cx="4422027" cy="3358198"/>
          </a:xfrm>
        </p:grpSpPr>
        <p:sp>
          <p:nvSpPr>
            <p:cNvPr id="5" name="Google Shape;1313;p99">
              <a:extLst>
                <a:ext uri="{FF2B5EF4-FFF2-40B4-BE49-F238E27FC236}">
                  <a16:creationId xmlns:a16="http://schemas.microsoft.com/office/drawing/2014/main" id="{717AF6D6-B969-A456-08BE-3574561BCB2B}"/>
                </a:ext>
              </a:extLst>
            </p:cNvPr>
            <p:cNvSpPr txBox="1"/>
            <p:nvPr/>
          </p:nvSpPr>
          <p:spPr>
            <a:xfrm>
              <a:off x="13777839" y="5602951"/>
              <a:ext cx="4422027" cy="1292631"/>
            </a:xfrm>
            <a:prstGeom prst="rect">
              <a:avLst/>
            </a:prstGeom>
            <a:noFill/>
            <a:ln>
              <a:noFill/>
            </a:ln>
          </p:spPr>
          <p:txBody>
            <a:bodyPr spcFirstLastPara="1" wrap="square" lIns="91425" tIns="91425" rIns="91425" bIns="91425" anchor="t" anchorCtr="0">
              <a:spAutoFit/>
            </a:bodyPr>
            <a:lstStyle/>
            <a:p>
              <a:pPr algn="ctr"/>
              <a:r>
                <a:rPr lang="en-US" sz="2400" b="1">
                  <a:latin typeface="Montserrat"/>
                  <a:ea typeface="Montserrat"/>
                  <a:cs typeface="Montserrat"/>
                  <a:sym typeface="Montserrat"/>
                </a:rPr>
                <a:t>Sam Tan</a:t>
              </a:r>
              <a:r>
                <a:rPr lang="en-US" sz="2400" b="1">
                  <a:solidFill>
                    <a:schemeClr val="dk1"/>
                  </a:solidFill>
                  <a:latin typeface="Montserrat"/>
                  <a:ea typeface="Montserrat"/>
                  <a:cs typeface="Montserrat"/>
                  <a:sym typeface="Montserrat"/>
                </a:rPr>
                <a:t> </a:t>
              </a:r>
              <a:r>
                <a:rPr lang="en-US" sz="2400">
                  <a:solidFill>
                    <a:schemeClr val="dk1"/>
                  </a:solidFill>
                  <a:latin typeface="Montserrat"/>
                  <a:ea typeface="Montserrat"/>
                  <a:cs typeface="Montserrat"/>
                  <a:sym typeface="Montserrat"/>
                </a:rPr>
                <a:t>(He/Him/His)</a:t>
              </a:r>
              <a:endParaRPr lang="en-US" sz="2400" b="1">
                <a:solidFill>
                  <a:schemeClr val="dk1"/>
                </a:solidFill>
                <a:latin typeface="Montserrat"/>
                <a:ea typeface="Montserrat"/>
                <a:cs typeface="Montserrat"/>
                <a:sym typeface="Montserrat"/>
              </a:endParaRPr>
            </a:p>
            <a:p>
              <a:pPr algn="ctr"/>
              <a:r>
                <a:rPr lang="en-US" sz="2400">
                  <a:latin typeface="Montserrat"/>
                  <a:ea typeface="Montserrat"/>
                  <a:cs typeface="Montserrat"/>
                  <a:sym typeface="Montserrat"/>
                </a:rPr>
                <a:t>Senior Specialist </a:t>
              </a:r>
              <a:r>
                <a:rPr lang="en-US" sz="2400">
                  <a:latin typeface="Montserrat"/>
                  <a:ea typeface="Montserrat"/>
                  <a:cs typeface="Montserrat"/>
                  <a:sym typeface="Montserrat"/>
                  <a:hlinkClick r:id="rId14"/>
                </a:rPr>
                <a:t>samtan@kpmg.com</a:t>
              </a:r>
              <a:r>
                <a:rPr lang="en-US" sz="2400">
                  <a:latin typeface="Montserrat"/>
                  <a:ea typeface="Montserrat"/>
                  <a:cs typeface="Montserrat"/>
                  <a:sym typeface="Montserrat"/>
                </a:rPr>
                <a:t> </a:t>
              </a:r>
            </a:p>
          </p:txBody>
        </p:sp>
        <p:pic>
          <p:nvPicPr>
            <p:cNvPr id="17" name="Picture 16">
              <a:extLst>
                <a:ext uri="{FF2B5EF4-FFF2-40B4-BE49-F238E27FC236}">
                  <a16:creationId xmlns:a16="http://schemas.microsoft.com/office/drawing/2014/main" id="{4C717E16-43A3-6DB3-522B-C64800990D49}"/>
                </a:ext>
              </a:extLst>
            </p:cNvPr>
            <p:cNvPicPr>
              <a:picLocks noChangeAspect="1"/>
            </p:cNvPicPr>
            <p:nvPr/>
          </p:nvPicPr>
          <p:blipFill>
            <a:blip r:embed="rId15"/>
            <a:srcRect t="13423" b="13423"/>
            <a:stretch/>
          </p:blipFill>
          <p:spPr>
            <a:xfrm>
              <a:off x="14741558" y="3537384"/>
              <a:ext cx="2286000" cy="2146088"/>
            </a:xfrm>
            <a:prstGeom prst="ellipse">
              <a:avLst/>
            </a:prstGeom>
            <a:noFill/>
            <a:ln>
              <a:noFill/>
            </a:ln>
          </p:spPr>
        </p:pic>
      </p:grpSp>
      <p:grpSp>
        <p:nvGrpSpPr>
          <p:cNvPr id="18" name="Group 17">
            <a:extLst>
              <a:ext uri="{FF2B5EF4-FFF2-40B4-BE49-F238E27FC236}">
                <a16:creationId xmlns:a16="http://schemas.microsoft.com/office/drawing/2014/main" id="{C98D62A7-ABF5-705D-DDDD-965ABAC144D1}"/>
              </a:ext>
            </a:extLst>
          </p:cNvPr>
          <p:cNvGrpSpPr/>
          <p:nvPr/>
        </p:nvGrpSpPr>
        <p:grpSpPr>
          <a:xfrm>
            <a:off x="577237" y="3229373"/>
            <a:ext cx="4140982" cy="3372591"/>
            <a:chOff x="13777839" y="3537384"/>
            <a:chExt cx="4422027" cy="3358198"/>
          </a:xfrm>
        </p:grpSpPr>
        <p:sp>
          <p:nvSpPr>
            <p:cNvPr id="19" name="Google Shape;1313;p99">
              <a:extLst>
                <a:ext uri="{FF2B5EF4-FFF2-40B4-BE49-F238E27FC236}">
                  <a16:creationId xmlns:a16="http://schemas.microsoft.com/office/drawing/2014/main" id="{5AD15BF2-F161-903A-7AEA-914D30822F0A}"/>
                </a:ext>
              </a:extLst>
            </p:cNvPr>
            <p:cNvSpPr txBox="1"/>
            <p:nvPr/>
          </p:nvSpPr>
          <p:spPr>
            <a:xfrm>
              <a:off x="13777839" y="5602951"/>
              <a:ext cx="4422027" cy="1292631"/>
            </a:xfrm>
            <a:prstGeom prst="rect">
              <a:avLst/>
            </a:prstGeom>
            <a:noFill/>
            <a:ln>
              <a:noFill/>
            </a:ln>
          </p:spPr>
          <p:txBody>
            <a:bodyPr spcFirstLastPara="1" wrap="square" lIns="91425" tIns="91425" rIns="91425" bIns="91425" anchor="t" anchorCtr="0">
              <a:spAutoFit/>
            </a:bodyPr>
            <a:lstStyle/>
            <a:p>
              <a:pPr algn="ctr"/>
              <a:r>
                <a:rPr lang="en-US" sz="2400" b="1">
                  <a:solidFill>
                    <a:schemeClr val="dk1"/>
                  </a:solidFill>
                  <a:latin typeface="Montserrat"/>
                  <a:ea typeface="Montserrat"/>
                  <a:cs typeface="Montserrat"/>
                  <a:sym typeface="Montserrat"/>
                </a:rPr>
                <a:t>Morgan Abbitt </a:t>
              </a:r>
              <a:r>
                <a:rPr lang="en-US" sz="2400">
                  <a:solidFill>
                    <a:schemeClr val="dk1"/>
                  </a:solidFill>
                  <a:latin typeface="Montserrat"/>
                  <a:ea typeface="Montserrat"/>
                  <a:cs typeface="Montserrat"/>
                  <a:sym typeface="Montserrat"/>
                </a:rPr>
                <a:t>(She/Her/Hers)</a:t>
              </a:r>
              <a:endParaRPr lang="en-US" sz="2400" b="1">
                <a:solidFill>
                  <a:schemeClr val="dk1"/>
                </a:solidFill>
                <a:latin typeface="Montserrat"/>
                <a:ea typeface="Montserrat"/>
                <a:cs typeface="Montserrat"/>
                <a:sym typeface="Montserrat"/>
              </a:endParaRPr>
            </a:p>
            <a:p>
              <a:pPr algn="ctr"/>
              <a:r>
                <a:rPr lang="en-US" sz="2400">
                  <a:latin typeface="Montserrat"/>
                  <a:ea typeface="Montserrat"/>
                  <a:cs typeface="Montserrat"/>
                  <a:sym typeface="Montserrat"/>
                </a:rPr>
                <a:t>Manager</a:t>
              </a:r>
            </a:p>
            <a:p>
              <a:pPr algn="ctr"/>
              <a:r>
                <a:rPr lang="en-US" sz="2400">
                  <a:latin typeface="Montserrat"/>
                  <a:ea typeface="Montserrat"/>
                  <a:cs typeface="Montserrat"/>
                  <a:sym typeface="Montserrat"/>
                  <a:hlinkClick r:id="rId16"/>
                </a:rPr>
                <a:t>mabbitt@kpmg.com</a:t>
              </a:r>
              <a:r>
                <a:rPr lang="en-US" sz="2400">
                  <a:latin typeface="Montserrat"/>
                  <a:ea typeface="Montserrat"/>
                  <a:cs typeface="Montserrat"/>
                  <a:sym typeface="Montserrat"/>
                </a:rPr>
                <a:t> </a:t>
              </a:r>
            </a:p>
          </p:txBody>
        </p:sp>
        <p:pic>
          <p:nvPicPr>
            <p:cNvPr id="20" name="Picture 19">
              <a:extLst>
                <a:ext uri="{FF2B5EF4-FFF2-40B4-BE49-F238E27FC236}">
                  <a16:creationId xmlns:a16="http://schemas.microsoft.com/office/drawing/2014/main" id="{8A864BA8-ED9A-4166-8848-475AFAA2FA7B}"/>
                </a:ext>
              </a:extLst>
            </p:cNvPr>
            <p:cNvPicPr>
              <a:picLocks noChangeAspect="1"/>
            </p:cNvPicPr>
            <p:nvPr/>
          </p:nvPicPr>
          <p:blipFill>
            <a:blip r:embed="rId17"/>
            <a:srcRect l="10055" r="10055"/>
            <a:stretch/>
          </p:blipFill>
          <p:spPr>
            <a:xfrm rot="5400000">
              <a:off x="14811514" y="3467428"/>
              <a:ext cx="2146088" cy="2286000"/>
            </a:xfrm>
            <a:prstGeom prst="ellipse">
              <a:avLst/>
            </a:prstGeom>
            <a:noFill/>
            <a:ln>
              <a:noFill/>
            </a:ln>
          </p:spPr>
        </p:pic>
      </p:grpSp>
      <p:grpSp>
        <p:nvGrpSpPr>
          <p:cNvPr id="21" name="Group 20">
            <a:extLst>
              <a:ext uri="{FF2B5EF4-FFF2-40B4-BE49-F238E27FC236}">
                <a16:creationId xmlns:a16="http://schemas.microsoft.com/office/drawing/2014/main" id="{4FCF1F45-024F-ED8B-C580-33E24F6797A7}"/>
              </a:ext>
            </a:extLst>
          </p:cNvPr>
          <p:cNvGrpSpPr/>
          <p:nvPr/>
        </p:nvGrpSpPr>
        <p:grpSpPr>
          <a:xfrm>
            <a:off x="6806837" y="10064133"/>
            <a:ext cx="3797158" cy="2928088"/>
            <a:chOff x="13777839" y="3537384"/>
            <a:chExt cx="4422027" cy="3358198"/>
          </a:xfrm>
        </p:grpSpPr>
        <p:sp>
          <p:nvSpPr>
            <p:cNvPr id="22" name="Google Shape;1313;p99">
              <a:extLst>
                <a:ext uri="{FF2B5EF4-FFF2-40B4-BE49-F238E27FC236}">
                  <a16:creationId xmlns:a16="http://schemas.microsoft.com/office/drawing/2014/main" id="{85B54A92-6BFE-8249-9208-3E2FB92AF289}"/>
                </a:ext>
              </a:extLst>
            </p:cNvPr>
            <p:cNvSpPr txBox="1"/>
            <p:nvPr/>
          </p:nvSpPr>
          <p:spPr>
            <a:xfrm>
              <a:off x="13777839" y="5602951"/>
              <a:ext cx="4422027" cy="1292631"/>
            </a:xfrm>
            <a:prstGeom prst="rect">
              <a:avLst/>
            </a:prstGeom>
            <a:noFill/>
            <a:ln>
              <a:noFill/>
            </a:ln>
          </p:spPr>
          <p:txBody>
            <a:bodyPr spcFirstLastPara="1" wrap="square" lIns="91425" tIns="91425" rIns="91425" bIns="91425" anchor="t" anchorCtr="0">
              <a:spAutoFit/>
            </a:bodyPr>
            <a:lstStyle/>
            <a:p>
              <a:pPr algn="ctr"/>
              <a:r>
                <a:rPr lang="en-US" sz="2400" b="1" err="1">
                  <a:latin typeface="Montserrat"/>
                  <a:ea typeface="Montserrat"/>
                  <a:cs typeface="Montserrat"/>
                  <a:sym typeface="Montserrat"/>
                </a:rPr>
                <a:t>Nirut</a:t>
              </a:r>
              <a:r>
                <a:rPr lang="en-US" sz="2400" b="1">
                  <a:latin typeface="Montserrat"/>
                  <a:ea typeface="Montserrat"/>
                  <a:cs typeface="Montserrat"/>
                  <a:sym typeface="Montserrat"/>
                </a:rPr>
                <a:t> Zaveri </a:t>
              </a:r>
              <a:r>
                <a:rPr lang="en-US" sz="2400">
                  <a:solidFill>
                    <a:schemeClr val="dk1"/>
                  </a:solidFill>
                  <a:latin typeface="Montserrat"/>
                  <a:ea typeface="Montserrat"/>
                  <a:cs typeface="Montserrat"/>
                  <a:sym typeface="Montserrat"/>
                </a:rPr>
                <a:t>(He/Him/His)</a:t>
              </a:r>
              <a:endParaRPr lang="en-US" sz="2400" b="1">
                <a:solidFill>
                  <a:schemeClr val="dk1"/>
                </a:solidFill>
                <a:latin typeface="Montserrat"/>
                <a:ea typeface="Montserrat"/>
                <a:cs typeface="Montserrat"/>
                <a:sym typeface="Montserrat"/>
              </a:endParaRPr>
            </a:p>
            <a:p>
              <a:pPr algn="ctr"/>
              <a:r>
                <a:rPr lang="en-US" sz="2400">
                  <a:latin typeface="Montserrat"/>
                  <a:ea typeface="Montserrat"/>
                  <a:cs typeface="Montserrat"/>
                  <a:sym typeface="Montserrat"/>
                </a:rPr>
                <a:t>Director</a:t>
              </a:r>
            </a:p>
            <a:p>
              <a:pPr algn="ctr"/>
              <a:r>
                <a:rPr lang="en-US" sz="2400">
                  <a:latin typeface="Montserrat"/>
                  <a:ea typeface="Montserrat"/>
                  <a:cs typeface="Montserrat"/>
                  <a:sym typeface="Montserrat"/>
                  <a:hlinkClick r:id="rId18"/>
                </a:rPr>
                <a:t>nzaveri@kpmg.com</a:t>
              </a:r>
              <a:r>
                <a:rPr lang="en-US" sz="2400">
                  <a:latin typeface="Montserrat"/>
                  <a:ea typeface="Montserrat"/>
                  <a:cs typeface="Montserrat"/>
                  <a:sym typeface="Montserrat"/>
                </a:rPr>
                <a:t> </a:t>
              </a:r>
            </a:p>
          </p:txBody>
        </p:sp>
        <p:pic>
          <p:nvPicPr>
            <p:cNvPr id="23" name="Picture 22">
              <a:extLst>
                <a:ext uri="{FF2B5EF4-FFF2-40B4-BE49-F238E27FC236}">
                  <a16:creationId xmlns:a16="http://schemas.microsoft.com/office/drawing/2014/main" id="{162D5F9C-45B9-CA5C-2A75-FC134DBBC737}"/>
                </a:ext>
              </a:extLst>
            </p:cNvPr>
            <p:cNvPicPr>
              <a:picLocks noChangeAspect="1"/>
            </p:cNvPicPr>
            <p:nvPr/>
          </p:nvPicPr>
          <p:blipFill>
            <a:blip r:embed="rId19"/>
            <a:srcRect t="3039" b="3039"/>
            <a:stretch/>
          </p:blipFill>
          <p:spPr>
            <a:xfrm>
              <a:off x="14741558" y="3537384"/>
              <a:ext cx="2286000" cy="2146088"/>
            </a:xfrm>
            <a:prstGeom prst="ellipse">
              <a:avLst/>
            </a:prstGeom>
            <a:noFill/>
            <a:ln>
              <a:noFill/>
            </a:ln>
          </p:spPr>
        </p:pic>
      </p:grpSp>
      <p:grpSp>
        <p:nvGrpSpPr>
          <p:cNvPr id="24" name="Group 23">
            <a:extLst>
              <a:ext uri="{FF2B5EF4-FFF2-40B4-BE49-F238E27FC236}">
                <a16:creationId xmlns:a16="http://schemas.microsoft.com/office/drawing/2014/main" id="{9C67EB69-9CE4-D472-A3E3-716B13F8CDDA}"/>
              </a:ext>
            </a:extLst>
          </p:cNvPr>
          <p:cNvGrpSpPr/>
          <p:nvPr/>
        </p:nvGrpSpPr>
        <p:grpSpPr>
          <a:xfrm>
            <a:off x="6722525" y="6721565"/>
            <a:ext cx="3965783" cy="3251292"/>
            <a:chOff x="13777839" y="3537384"/>
            <a:chExt cx="4422027" cy="3358198"/>
          </a:xfrm>
        </p:grpSpPr>
        <p:sp>
          <p:nvSpPr>
            <p:cNvPr id="25" name="Google Shape;1313;p99">
              <a:extLst>
                <a:ext uri="{FF2B5EF4-FFF2-40B4-BE49-F238E27FC236}">
                  <a16:creationId xmlns:a16="http://schemas.microsoft.com/office/drawing/2014/main" id="{1CFD8DA2-94E5-68A1-8A6D-6AF0EFE41642}"/>
                </a:ext>
              </a:extLst>
            </p:cNvPr>
            <p:cNvSpPr txBox="1"/>
            <p:nvPr/>
          </p:nvSpPr>
          <p:spPr>
            <a:xfrm>
              <a:off x="13777839" y="5602951"/>
              <a:ext cx="4422027" cy="1292631"/>
            </a:xfrm>
            <a:prstGeom prst="rect">
              <a:avLst/>
            </a:prstGeom>
            <a:noFill/>
            <a:ln>
              <a:noFill/>
            </a:ln>
          </p:spPr>
          <p:txBody>
            <a:bodyPr spcFirstLastPara="1" wrap="square" lIns="91425" tIns="91425" rIns="91425" bIns="91425" anchor="t" anchorCtr="0">
              <a:spAutoFit/>
            </a:bodyPr>
            <a:lstStyle/>
            <a:p>
              <a:pPr algn="ctr"/>
              <a:r>
                <a:rPr lang="en-US" sz="2400" b="1">
                  <a:latin typeface="Montserrat"/>
                  <a:ea typeface="Montserrat"/>
                  <a:cs typeface="Montserrat"/>
                  <a:sym typeface="Montserrat"/>
                </a:rPr>
                <a:t>Maci Williams </a:t>
              </a:r>
              <a:r>
                <a:rPr lang="en-US" sz="2400">
                  <a:solidFill>
                    <a:schemeClr val="dk1"/>
                  </a:solidFill>
                  <a:latin typeface="Montserrat"/>
                  <a:ea typeface="Montserrat"/>
                  <a:cs typeface="Montserrat"/>
                  <a:sym typeface="Montserrat"/>
                </a:rPr>
                <a:t>(She/Her/Hers)</a:t>
              </a:r>
              <a:endParaRPr lang="en-US" sz="2400" b="1">
                <a:solidFill>
                  <a:schemeClr val="dk1"/>
                </a:solidFill>
                <a:latin typeface="Montserrat"/>
                <a:ea typeface="Montserrat"/>
                <a:cs typeface="Montserrat"/>
                <a:sym typeface="Montserrat"/>
              </a:endParaRPr>
            </a:p>
            <a:p>
              <a:pPr algn="ctr"/>
              <a:r>
                <a:rPr lang="en-US" sz="2400">
                  <a:latin typeface="Montserrat"/>
                  <a:ea typeface="Montserrat"/>
                  <a:cs typeface="Montserrat"/>
                  <a:sym typeface="Montserrat"/>
                </a:rPr>
                <a:t>Senior Associate </a:t>
              </a:r>
              <a:r>
                <a:rPr lang="en-US" sz="2400">
                  <a:latin typeface="Montserrat"/>
                  <a:ea typeface="Montserrat"/>
                  <a:cs typeface="Montserrat"/>
                  <a:sym typeface="Montserrat"/>
                  <a:hlinkClick r:id="rId20"/>
                </a:rPr>
                <a:t>maciwilliams@kpmg.com</a:t>
              </a:r>
              <a:r>
                <a:rPr lang="en-US" sz="2400">
                  <a:latin typeface="Montserrat"/>
                  <a:ea typeface="Montserrat"/>
                  <a:cs typeface="Montserrat"/>
                  <a:sym typeface="Montserrat"/>
                </a:rPr>
                <a:t> </a:t>
              </a:r>
            </a:p>
          </p:txBody>
        </p:sp>
        <p:pic>
          <p:nvPicPr>
            <p:cNvPr id="26" name="Picture 25">
              <a:extLst>
                <a:ext uri="{FF2B5EF4-FFF2-40B4-BE49-F238E27FC236}">
                  <a16:creationId xmlns:a16="http://schemas.microsoft.com/office/drawing/2014/main" id="{20060FD0-5FCD-DFC7-5721-E75A872DC425}"/>
                </a:ext>
              </a:extLst>
            </p:cNvPr>
            <p:cNvPicPr>
              <a:picLocks noChangeAspect="1"/>
            </p:cNvPicPr>
            <p:nvPr/>
          </p:nvPicPr>
          <p:blipFill rotWithShape="1">
            <a:blip r:embed="rId21"/>
            <a:srcRect l="-194" t="9588" r="194" b="27826"/>
            <a:stretch/>
          </p:blipFill>
          <p:spPr>
            <a:xfrm>
              <a:off x="14741558" y="3537384"/>
              <a:ext cx="2286000" cy="2146088"/>
            </a:xfrm>
            <a:prstGeom prst="ellipse">
              <a:avLst/>
            </a:prstGeom>
            <a:noFill/>
            <a:ln>
              <a:noFill/>
            </a:ln>
          </p:spPr>
        </p:pic>
      </p:grpSp>
      <p:grpSp>
        <p:nvGrpSpPr>
          <p:cNvPr id="27" name="Group 26">
            <a:extLst>
              <a:ext uri="{FF2B5EF4-FFF2-40B4-BE49-F238E27FC236}">
                <a16:creationId xmlns:a16="http://schemas.microsoft.com/office/drawing/2014/main" id="{EAC06075-8830-D967-B80A-837948E9EF61}"/>
              </a:ext>
            </a:extLst>
          </p:cNvPr>
          <p:cNvGrpSpPr/>
          <p:nvPr/>
        </p:nvGrpSpPr>
        <p:grpSpPr>
          <a:xfrm>
            <a:off x="12866752" y="6721565"/>
            <a:ext cx="3797158" cy="3093644"/>
            <a:chOff x="13777839" y="3537384"/>
            <a:chExt cx="4422027" cy="3548073"/>
          </a:xfrm>
        </p:grpSpPr>
        <p:sp>
          <p:nvSpPr>
            <p:cNvPr id="28" name="Google Shape;1313;p99">
              <a:extLst>
                <a:ext uri="{FF2B5EF4-FFF2-40B4-BE49-F238E27FC236}">
                  <a16:creationId xmlns:a16="http://schemas.microsoft.com/office/drawing/2014/main" id="{723BB05B-E371-4E7C-E201-0908CF21E3E7}"/>
                </a:ext>
              </a:extLst>
            </p:cNvPr>
            <p:cNvSpPr txBox="1"/>
            <p:nvPr/>
          </p:nvSpPr>
          <p:spPr>
            <a:xfrm>
              <a:off x="13777839" y="5602950"/>
              <a:ext cx="4422027" cy="1482507"/>
            </a:xfrm>
            <a:prstGeom prst="rect">
              <a:avLst/>
            </a:prstGeom>
            <a:noFill/>
            <a:ln>
              <a:noFill/>
            </a:ln>
          </p:spPr>
          <p:txBody>
            <a:bodyPr spcFirstLastPara="1" wrap="square" lIns="91425" tIns="91425" rIns="91425" bIns="91425" anchor="t" anchorCtr="0">
              <a:spAutoFit/>
            </a:bodyPr>
            <a:lstStyle/>
            <a:p>
              <a:pPr algn="ctr"/>
              <a:r>
                <a:rPr lang="en-US" sz="2400" b="1">
                  <a:latin typeface="Montserrat"/>
                  <a:ea typeface="Montserrat"/>
                  <a:cs typeface="Montserrat"/>
                  <a:sym typeface="Montserrat"/>
                </a:rPr>
                <a:t>Parth Dave </a:t>
              </a:r>
              <a:r>
                <a:rPr lang="en-US" sz="2400">
                  <a:solidFill>
                    <a:schemeClr val="dk1"/>
                  </a:solidFill>
                  <a:latin typeface="Montserrat"/>
                  <a:ea typeface="Montserrat"/>
                  <a:cs typeface="Montserrat"/>
                  <a:sym typeface="Montserrat"/>
                </a:rPr>
                <a:t>(He/Him/His)</a:t>
              </a:r>
              <a:endParaRPr lang="en-US" sz="2400" b="1">
                <a:solidFill>
                  <a:schemeClr val="dk1"/>
                </a:solidFill>
                <a:latin typeface="Montserrat"/>
                <a:ea typeface="Montserrat"/>
                <a:cs typeface="Montserrat"/>
                <a:sym typeface="Montserrat"/>
              </a:endParaRPr>
            </a:p>
            <a:p>
              <a:pPr algn="ctr"/>
              <a:r>
                <a:rPr lang="en-US" sz="2400">
                  <a:latin typeface="Montserrat"/>
                  <a:ea typeface="Montserrat"/>
                  <a:cs typeface="Montserrat"/>
                  <a:sym typeface="Montserrat"/>
                </a:rPr>
                <a:t>Manager</a:t>
              </a:r>
            </a:p>
            <a:p>
              <a:pPr algn="ctr"/>
              <a:r>
                <a:rPr lang="en-US" sz="2400">
                  <a:latin typeface="Montserrat"/>
                  <a:ea typeface="Montserrat"/>
                  <a:cs typeface="Montserrat"/>
                  <a:sym typeface="Montserrat"/>
                  <a:hlinkClick r:id="rId22"/>
                </a:rPr>
                <a:t>pdave@kpmg.com</a:t>
              </a:r>
              <a:r>
                <a:rPr lang="en-US" sz="2400">
                  <a:latin typeface="Montserrat"/>
                  <a:ea typeface="Montserrat"/>
                  <a:cs typeface="Montserrat"/>
                  <a:sym typeface="Montserrat"/>
                </a:rPr>
                <a:t> </a:t>
              </a:r>
            </a:p>
          </p:txBody>
        </p:sp>
        <p:pic>
          <p:nvPicPr>
            <p:cNvPr id="29" name="Picture 28">
              <a:extLst>
                <a:ext uri="{FF2B5EF4-FFF2-40B4-BE49-F238E27FC236}">
                  <a16:creationId xmlns:a16="http://schemas.microsoft.com/office/drawing/2014/main" id="{9F13C372-A8D8-B501-8CAF-B16BE5B2401D}"/>
                </a:ext>
              </a:extLst>
            </p:cNvPr>
            <p:cNvPicPr>
              <a:picLocks noChangeAspect="1"/>
            </p:cNvPicPr>
            <p:nvPr/>
          </p:nvPicPr>
          <p:blipFill>
            <a:blip r:embed="rId23"/>
            <a:srcRect t="10752" b="10752"/>
            <a:stretch/>
          </p:blipFill>
          <p:spPr>
            <a:xfrm>
              <a:off x="14741559" y="3537384"/>
              <a:ext cx="2286000" cy="2146088"/>
            </a:xfrm>
            <a:prstGeom prst="ellipse">
              <a:avLst/>
            </a:prstGeom>
            <a:noFill/>
            <a:ln>
              <a:noFill/>
            </a:ln>
          </p:spPr>
        </p:pic>
      </p:grpSp>
      <p:grpSp>
        <p:nvGrpSpPr>
          <p:cNvPr id="43" name="Group 42">
            <a:extLst>
              <a:ext uri="{FF2B5EF4-FFF2-40B4-BE49-F238E27FC236}">
                <a16:creationId xmlns:a16="http://schemas.microsoft.com/office/drawing/2014/main" id="{6CBBAC0C-6F6C-216E-9E94-D5DE91E42DDF}"/>
              </a:ext>
            </a:extLst>
          </p:cNvPr>
          <p:cNvGrpSpPr/>
          <p:nvPr/>
        </p:nvGrpSpPr>
        <p:grpSpPr>
          <a:xfrm>
            <a:off x="19583413" y="6721565"/>
            <a:ext cx="3797158" cy="3299585"/>
            <a:chOff x="19648705" y="3412424"/>
            <a:chExt cx="3797158" cy="3299585"/>
          </a:xfrm>
        </p:grpSpPr>
        <p:sp>
          <p:nvSpPr>
            <p:cNvPr id="37" name="Google Shape;1313;p99">
              <a:extLst>
                <a:ext uri="{FF2B5EF4-FFF2-40B4-BE49-F238E27FC236}">
                  <a16:creationId xmlns:a16="http://schemas.microsoft.com/office/drawing/2014/main" id="{DC3D820E-4972-E7C9-CF4D-7BDE767C681A}"/>
                </a:ext>
              </a:extLst>
            </p:cNvPr>
            <p:cNvSpPr txBox="1"/>
            <p:nvPr/>
          </p:nvSpPr>
          <p:spPr>
            <a:xfrm>
              <a:off x="19648705" y="5419378"/>
              <a:ext cx="3797158" cy="1292631"/>
            </a:xfrm>
            <a:prstGeom prst="rect">
              <a:avLst/>
            </a:prstGeom>
            <a:noFill/>
            <a:ln>
              <a:noFill/>
            </a:ln>
          </p:spPr>
          <p:txBody>
            <a:bodyPr spcFirstLastPara="1" wrap="square" lIns="91425" tIns="91425" rIns="91425" bIns="91425" anchor="t" anchorCtr="0">
              <a:spAutoFit/>
            </a:bodyPr>
            <a:lstStyle/>
            <a:p>
              <a:pPr algn="ctr"/>
              <a:r>
                <a:rPr lang="en-US" sz="2400" b="1">
                  <a:latin typeface="Montserrat"/>
                  <a:ea typeface="Montserrat"/>
                  <a:cs typeface="Montserrat"/>
                  <a:sym typeface="Montserrat"/>
                </a:rPr>
                <a:t>Jim Leach </a:t>
              </a:r>
              <a:r>
                <a:rPr lang="en-US" sz="2400">
                  <a:solidFill>
                    <a:schemeClr val="dk1"/>
                  </a:solidFill>
                  <a:latin typeface="Montserrat"/>
                  <a:ea typeface="Montserrat"/>
                  <a:cs typeface="Montserrat"/>
                  <a:sym typeface="Montserrat"/>
                </a:rPr>
                <a:t>(He/They)</a:t>
              </a:r>
              <a:endParaRPr lang="en-US" sz="2400" b="1">
                <a:solidFill>
                  <a:schemeClr val="dk1"/>
                </a:solidFill>
                <a:latin typeface="Montserrat"/>
                <a:ea typeface="Montserrat"/>
                <a:cs typeface="Montserrat"/>
                <a:sym typeface="Montserrat"/>
              </a:endParaRPr>
            </a:p>
            <a:p>
              <a:pPr algn="ctr"/>
              <a:r>
                <a:rPr lang="en-US" sz="2400">
                  <a:latin typeface="Montserrat"/>
                  <a:ea typeface="Montserrat"/>
                  <a:cs typeface="Montserrat"/>
                  <a:sym typeface="Montserrat"/>
                </a:rPr>
                <a:t>Director</a:t>
              </a:r>
            </a:p>
            <a:p>
              <a:pPr algn="ctr"/>
              <a:r>
                <a:rPr lang="en-US" sz="2400">
                  <a:latin typeface="Montserrat"/>
                  <a:ea typeface="Montserrat"/>
                  <a:cs typeface="Montserrat"/>
                  <a:sym typeface="Montserrat"/>
                  <a:hlinkClick r:id="rId22"/>
                </a:rPr>
                <a:t>jimleach@kpmg.com</a:t>
              </a:r>
              <a:r>
                <a:rPr lang="en-US" sz="2400">
                  <a:latin typeface="Montserrat"/>
                  <a:ea typeface="Montserrat"/>
                  <a:cs typeface="Montserrat"/>
                  <a:sym typeface="Montserrat"/>
                </a:rPr>
                <a:t> </a:t>
              </a:r>
            </a:p>
          </p:txBody>
        </p:sp>
        <p:pic>
          <p:nvPicPr>
            <p:cNvPr id="42" name="Picture 41">
              <a:extLst>
                <a:ext uri="{FF2B5EF4-FFF2-40B4-BE49-F238E27FC236}">
                  <a16:creationId xmlns:a16="http://schemas.microsoft.com/office/drawing/2014/main" id="{4E252E68-DA86-C900-C13C-838E920CDC76}"/>
                </a:ext>
              </a:extLst>
            </p:cNvPr>
            <p:cNvPicPr>
              <a:picLocks noChangeAspect="1"/>
            </p:cNvPicPr>
            <p:nvPr/>
          </p:nvPicPr>
          <p:blipFill>
            <a:blip r:embed="rId24"/>
            <a:srcRect t="338" b="338"/>
            <a:stretch/>
          </p:blipFill>
          <p:spPr>
            <a:xfrm>
              <a:off x="20414948" y="3412424"/>
              <a:ext cx="2017556" cy="2003913"/>
            </a:xfrm>
            <a:prstGeom prst="ellipse">
              <a:avLst/>
            </a:prstGeom>
            <a:noFill/>
            <a:ln>
              <a:noFill/>
            </a:ln>
          </p:spPr>
        </p:pic>
      </p:grpSp>
      <p:grpSp>
        <p:nvGrpSpPr>
          <p:cNvPr id="45" name="Group 44">
            <a:extLst>
              <a:ext uri="{FF2B5EF4-FFF2-40B4-BE49-F238E27FC236}">
                <a16:creationId xmlns:a16="http://schemas.microsoft.com/office/drawing/2014/main" id="{BC1EF34C-2481-4C15-CE99-E2E2862365CE}"/>
              </a:ext>
            </a:extLst>
          </p:cNvPr>
          <p:cNvGrpSpPr/>
          <p:nvPr/>
        </p:nvGrpSpPr>
        <p:grpSpPr>
          <a:xfrm>
            <a:off x="19509308" y="10064133"/>
            <a:ext cx="3797158" cy="3140183"/>
            <a:chOff x="19683103" y="6811460"/>
            <a:chExt cx="3797158" cy="3140183"/>
          </a:xfrm>
        </p:grpSpPr>
        <p:sp>
          <p:nvSpPr>
            <p:cNvPr id="40" name="Google Shape;1313;p99">
              <a:extLst>
                <a:ext uri="{FF2B5EF4-FFF2-40B4-BE49-F238E27FC236}">
                  <a16:creationId xmlns:a16="http://schemas.microsoft.com/office/drawing/2014/main" id="{5EF5B1B7-14BF-CE5A-721B-F4F1B7DD67FE}"/>
                </a:ext>
              </a:extLst>
            </p:cNvPr>
            <p:cNvSpPr txBox="1"/>
            <p:nvPr/>
          </p:nvSpPr>
          <p:spPr>
            <a:xfrm>
              <a:off x="19683103" y="8659012"/>
              <a:ext cx="3797158" cy="1292631"/>
            </a:xfrm>
            <a:prstGeom prst="rect">
              <a:avLst/>
            </a:prstGeom>
            <a:noFill/>
            <a:ln>
              <a:noFill/>
            </a:ln>
          </p:spPr>
          <p:txBody>
            <a:bodyPr spcFirstLastPara="1" wrap="square" lIns="91425" tIns="91425" rIns="91425" bIns="91425" anchor="t" anchorCtr="0">
              <a:spAutoFit/>
            </a:bodyPr>
            <a:lstStyle/>
            <a:p>
              <a:pPr algn="ctr"/>
              <a:r>
                <a:rPr lang="en-US" sz="2400" b="1">
                  <a:latin typeface="Montserrat"/>
                  <a:ea typeface="Montserrat"/>
                  <a:cs typeface="Montserrat"/>
                  <a:sym typeface="Montserrat"/>
                </a:rPr>
                <a:t>Khoi Dao </a:t>
              </a:r>
              <a:r>
                <a:rPr lang="en-US" sz="2400">
                  <a:solidFill>
                    <a:schemeClr val="dk1"/>
                  </a:solidFill>
                  <a:latin typeface="Montserrat"/>
                  <a:ea typeface="Montserrat"/>
                  <a:cs typeface="Montserrat"/>
                  <a:sym typeface="Montserrat"/>
                </a:rPr>
                <a:t>(He/Him/His)</a:t>
              </a:r>
              <a:endParaRPr lang="en-US" sz="2400" b="1">
                <a:solidFill>
                  <a:schemeClr val="dk1"/>
                </a:solidFill>
                <a:latin typeface="Montserrat"/>
                <a:ea typeface="Montserrat"/>
                <a:cs typeface="Montserrat"/>
                <a:sym typeface="Montserrat"/>
              </a:endParaRPr>
            </a:p>
            <a:p>
              <a:pPr algn="ctr"/>
              <a:r>
                <a:rPr lang="en-US" sz="2400">
                  <a:latin typeface="Montserrat"/>
                  <a:ea typeface="Montserrat"/>
                  <a:cs typeface="Montserrat"/>
                  <a:sym typeface="Montserrat"/>
                </a:rPr>
                <a:t>Associate</a:t>
              </a:r>
            </a:p>
            <a:p>
              <a:pPr algn="ctr"/>
              <a:r>
                <a:rPr lang="en-US" sz="2400">
                  <a:latin typeface="Montserrat"/>
                  <a:ea typeface="Montserrat"/>
                  <a:cs typeface="Montserrat"/>
                  <a:sym typeface="Montserrat"/>
                  <a:hlinkClick r:id="rId25"/>
                </a:rPr>
                <a:t>khoidao@kpmg.com</a:t>
              </a:r>
              <a:r>
                <a:rPr lang="en-US" sz="2400">
                  <a:latin typeface="Montserrat"/>
                  <a:ea typeface="Montserrat"/>
                  <a:cs typeface="Montserrat"/>
                  <a:sym typeface="Montserrat"/>
                </a:rPr>
                <a:t> </a:t>
              </a:r>
            </a:p>
          </p:txBody>
        </p:sp>
        <p:pic>
          <p:nvPicPr>
            <p:cNvPr id="44" name="Picture 43">
              <a:extLst>
                <a:ext uri="{FF2B5EF4-FFF2-40B4-BE49-F238E27FC236}">
                  <a16:creationId xmlns:a16="http://schemas.microsoft.com/office/drawing/2014/main" id="{C053E915-5730-25FE-DC3D-E7400ABE2CE0}"/>
                </a:ext>
              </a:extLst>
            </p:cNvPr>
            <p:cNvPicPr>
              <a:picLocks noChangeAspect="1"/>
            </p:cNvPicPr>
            <p:nvPr/>
          </p:nvPicPr>
          <p:blipFill>
            <a:blip r:embed="rId26"/>
            <a:srcRect t="10202" b="10202"/>
            <a:stretch/>
          </p:blipFill>
          <p:spPr>
            <a:xfrm>
              <a:off x="20556614" y="6811460"/>
              <a:ext cx="1996798" cy="1983295"/>
            </a:xfrm>
            <a:prstGeom prst="ellipse">
              <a:avLst/>
            </a:prstGeom>
            <a:noFill/>
            <a:ln>
              <a:noFill/>
            </a:ln>
          </p:spPr>
        </p:pic>
      </p:grpSp>
      <p:grpSp>
        <p:nvGrpSpPr>
          <p:cNvPr id="36" name="Group 35">
            <a:extLst>
              <a:ext uri="{FF2B5EF4-FFF2-40B4-BE49-F238E27FC236}">
                <a16:creationId xmlns:a16="http://schemas.microsoft.com/office/drawing/2014/main" id="{3B0AC38A-79E4-61D3-8440-7D54765056E2}"/>
              </a:ext>
            </a:extLst>
          </p:cNvPr>
          <p:cNvGrpSpPr/>
          <p:nvPr/>
        </p:nvGrpSpPr>
        <p:grpSpPr>
          <a:xfrm>
            <a:off x="12694840" y="10064133"/>
            <a:ext cx="4140982" cy="3373807"/>
            <a:chOff x="12729700" y="10073241"/>
            <a:chExt cx="4140982" cy="3373807"/>
          </a:xfrm>
        </p:grpSpPr>
        <p:grpSp>
          <p:nvGrpSpPr>
            <p:cNvPr id="33" name="Group 32">
              <a:extLst>
                <a:ext uri="{FF2B5EF4-FFF2-40B4-BE49-F238E27FC236}">
                  <a16:creationId xmlns:a16="http://schemas.microsoft.com/office/drawing/2014/main" id="{612450F9-BDEF-6A23-F5B6-F53A865CF738}"/>
                </a:ext>
              </a:extLst>
            </p:cNvPr>
            <p:cNvGrpSpPr/>
            <p:nvPr/>
          </p:nvGrpSpPr>
          <p:grpSpPr>
            <a:xfrm>
              <a:off x="12729700" y="10074457"/>
              <a:ext cx="4140982" cy="3372591"/>
              <a:chOff x="13777839" y="3537384"/>
              <a:chExt cx="4422027" cy="3358198"/>
            </a:xfrm>
          </p:grpSpPr>
          <p:sp>
            <p:nvSpPr>
              <p:cNvPr id="34" name="Google Shape;1313;p99">
                <a:extLst>
                  <a:ext uri="{FF2B5EF4-FFF2-40B4-BE49-F238E27FC236}">
                    <a16:creationId xmlns:a16="http://schemas.microsoft.com/office/drawing/2014/main" id="{CE9DEFAF-FC95-74B5-30EA-50310CA1629E}"/>
                  </a:ext>
                </a:extLst>
              </p:cNvPr>
              <p:cNvSpPr txBox="1"/>
              <p:nvPr/>
            </p:nvSpPr>
            <p:spPr>
              <a:xfrm>
                <a:off x="13777839" y="5602951"/>
                <a:ext cx="4422027" cy="1292631"/>
              </a:xfrm>
              <a:prstGeom prst="rect">
                <a:avLst/>
              </a:prstGeom>
              <a:noFill/>
              <a:ln>
                <a:noFill/>
              </a:ln>
            </p:spPr>
            <p:txBody>
              <a:bodyPr spcFirstLastPara="1" wrap="square" lIns="91425" tIns="91425" rIns="91425" bIns="91425" anchor="t" anchorCtr="0">
                <a:spAutoFit/>
              </a:bodyPr>
              <a:lstStyle/>
              <a:p>
                <a:pPr algn="ctr"/>
                <a:r>
                  <a:rPr lang="en-US" sz="2400" b="1" err="1">
                    <a:solidFill>
                      <a:schemeClr val="dk1"/>
                    </a:solidFill>
                    <a:latin typeface="Montserrat"/>
                    <a:ea typeface="Montserrat"/>
                    <a:cs typeface="Montserrat"/>
                    <a:sym typeface="Montserrat"/>
                  </a:rPr>
                  <a:t>Dorina</a:t>
                </a:r>
                <a:r>
                  <a:rPr lang="en-US" sz="2400" b="1">
                    <a:solidFill>
                      <a:schemeClr val="dk1"/>
                    </a:solidFill>
                    <a:latin typeface="Montserrat"/>
                    <a:ea typeface="Montserrat"/>
                    <a:cs typeface="Montserrat"/>
                    <a:sym typeface="Montserrat"/>
                  </a:rPr>
                  <a:t> </a:t>
                </a:r>
                <a:r>
                  <a:rPr lang="en-US" sz="2400" b="1" err="1">
                    <a:solidFill>
                      <a:schemeClr val="dk1"/>
                    </a:solidFill>
                    <a:latin typeface="Montserrat"/>
                    <a:ea typeface="Montserrat"/>
                    <a:cs typeface="Montserrat"/>
                    <a:sym typeface="Montserrat"/>
                  </a:rPr>
                  <a:t>Mitre</a:t>
                </a:r>
                <a:r>
                  <a:rPr lang="en-US" sz="2400" b="1">
                    <a:solidFill>
                      <a:schemeClr val="dk1"/>
                    </a:solidFill>
                    <a:latin typeface="Montserrat"/>
                    <a:ea typeface="Montserrat"/>
                    <a:cs typeface="Montserrat"/>
                    <a:sym typeface="Montserrat"/>
                  </a:rPr>
                  <a:t> </a:t>
                </a:r>
                <a:r>
                  <a:rPr lang="en-US" sz="2400">
                    <a:solidFill>
                      <a:schemeClr val="dk1"/>
                    </a:solidFill>
                    <a:latin typeface="Montserrat"/>
                    <a:ea typeface="Montserrat"/>
                    <a:cs typeface="Montserrat"/>
                    <a:sym typeface="Montserrat"/>
                  </a:rPr>
                  <a:t>(She/Her/Hers)</a:t>
                </a:r>
                <a:endParaRPr lang="en-US" sz="2400" b="1">
                  <a:solidFill>
                    <a:schemeClr val="dk1"/>
                  </a:solidFill>
                  <a:latin typeface="Montserrat"/>
                  <a:ea typeface="Montserrat"/>
                  <a:cs typeface="Montserrat"/>
                  <a:sym typeface="Montserrat"/>
                </a:endParaRPr>
              </a:p>
              <a:p>
                <a:pPr algn="ctr"/>
                <a:r>
                  <a:rPr lang="en-US" sz="2400">
                    <a:latin typeface="Montserrat"/>
                    <a:ea typeface="Montserrat"/>
                    <a:cs typeface="Montserrat"/>
                    <a:sym typeface="Montserrat"/>
                  </a:rPr>
                  <a:t>Associate</a:t>
                </a:r>
              </a:p>
              <a:p>
                <a:pPr algn="ctr"/>
                <a:r>
                  <a:rPr lang="en-US" sz="2400">
                    <a:latin typeface="Montserrat"/>
                    <a:ea typeface="Montserrat"/>
                    <a:cs typeface="Montserrat"/>
                    <a:sym typeface="Montserrat"/>
                    <a:hlinkClick r:id="rId27"/>
                  </a:rPr>
                  <a:t>dmitre@kpmg.com</a:t>
                </a:r>
                <a:r>
                  <a:rPr lang="en-US" sz="2400">
                    <a:latin typeface="Montserrat"/>
                    <a:ea typeface="Montserrat"/>
                    <a:cs typeface="Montserrat"/>
                    <a:sym typeface="Montserrat"/>
                  </a:rPr>
                  <a:t> </a:t>
                </a:r>
              </a:p>
            </p:txBody>
          </p:sp>
          <p:pic>
            <p:nvPicPr>
              <p:cNvPr id="35" name="Picture 34" descr="Glass and light interior design">
                <a:extLst>
                  <a:ext uri="{FF2B5EF4-FFF2-40B4-BE49-F238E27FC236}">
                    <a16:creationId xmlns:a16="http://schemas.microsoft.com/office/drawing/2014/main" id="{A1FDC56F-D94A-96B8-73F0-B749D7A1FB63}"/>
                  </a:ext>
                </a:extLst>
              </p:cNvPr>
              <p:cNvPicPr>
                <a:picLocks noChangeAspect="1"/>
              </p:cNvPicPr>
              <p:nvPr/>
            </p:nvPicPr>
            <p:blipFill>
              <a:blip r:embed="rId28"/>
              <a:srcRect l="18744" r="18744"/>
              <a:stretch/>
            </p:blipFill>
            <p:spPr>
              <a:xfrm rot="5400000">
                <a:off x="14811514" y="3467428"/>
                <a:ext cx="2146088" cy="2286000"/>
              </a:xfrm>
              <a:prstGeom prst="ellipse">
                <a:avLst/>
              </a:prstGeom>
              <a:noFill/>
              <a:ln>
                <a:noFill/>
              </a:ln>
            </p:spPr>
          </p:pic>
        </p:grpSp>
        <p:pic>
          <p:nvPicPr>
            <p:cNvPr id="16" name="Picture 15" descr="A person taking a selfie&#10;&#10;Description automatically generated">
              <a:extLst>
                <a:ext uri="{FF2B5EF4-FFF2-40B4-BE49-F238E27FC236}">
                  <a16:creationId xmlns:a16="http://schemas.microsoft.com/office/drawing/2014/main" id="{3B5E6B6B-5ADF-7C80-6C0C-488A5E8E4D68}"/>
                </a:ext>
              </a:extLst>
            </p:cNvPr>
            <p:cNvPicPr>
              <a:picLocks noChangeAspect="1"/>
            </p:cNvPicPr>
            <p:nvPr/>
          </p:nvPicPr>
          <p:blipFill>
            <a:blip r:embed="rId29"/>
            <a:srcRect l="-1128" t="2287" b="-302"/>
            <a:stretch/>
          </p:blipFill>
          <p:spPr>
            <a:xfrm>
              <a:off x="13602591" y="10073241"/>
              <a:ext cx="2193891" cy="2124264"/>
            </a:xfrm>
            <a:prstGeom prst="ellipse">
              <a:avLst/>
            </a:prstGeom>
          </p:spPr>
        </p:pic>
      </p:grpSp>
    </p:spTree>
  </p:cSld>
  <p:clrMapOvr>
    <a:masterClrMapping/>
  </p:clrMapOvr>
  <p:extLst>
    <p:ext uri="{6950BFC3-D8DA-4A85-94F7-54DA5524770B}">
      <p188:commentRel xmlns:p188="http://schemas.microsoft.com/office/powerpoint/2018/8/main" r:id="rId4"/>
    </p:ext>
  </p:extLst>
</p:sld>
</file>

<file path=ppt/slides/slide20.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1405"/>
        <p:cNvGrpSpPr/>
        <p:nvPr/>
      </p:nvGrpSpPr>
      <p:grpSpPr>
        <a:xfrm>
          <a:off x="0" y="0"/>
          <a:ext cx="0" cy="0"/>
          <a:chOff x="0" y="0"/>
          <a:chExt cx="0" cy="0"/>
        </a:xfrm>
      </p:grpSpPr>
      <p:sp>
        <p:nvSpPr>
          <p:cNvPr id="1406" name="Google Shape;1406;p108"/>
          <p:cNvSpPr txBox="1"/>
          <p:nvPr/>
        </p:nvSpPr>
        <p:spPr>
          <a:xfrm>
            <a:off x="2071425" y="1999775"/>
            <a:ext cx="20196000" cy="14622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Clr>
                <a:schemeClr val="dk1"/>
              </a:buClr>
              <a:buSzPts val="1100"/>
              <a:buFont typeface="Arial"/>
              <a:buNone/>
            </a:pPr>
            <a:r>
              <a:rPr lang="en-US" sz="7200">
                <a:solidFill>
                  <a:srgbClr val="002A44"/>
                </a:solidFill>
                <a:latin typeface="Montserrat Black"/>
                <a:ea typeface="Montserrat Black"/>
                <a:cs typeface="Montserrat Black"/>
                <a:sym typeface="Montserrat Black"/>
              </a:rPr>
              <a:t>Suggest Dev and PM tools</a:t>
            </a:r>
            <a:endParaRPr sz="7200" b="1">
              <a:solidFill>
                <a:srgbClr val="002A44"/>
              </a:solidFill>
              <a:latin typeface="Montserrat"/>
              <a:ea typeface="Montserrat"/>
              <a:cs typeface="Montserrat"/>
              <a:sym typeface="Montserrat"/>
            </a:endParaRPr>
          </a:p>
          <a:p>
            <a:pPr marL="0" lvl="0" indent="0" algn="l" rtl="0">
              <a:lnSpc>
                <a:spcPct val="115000"/>
              </a:lnSpc>
              <a:spcBef>
                <a:spcPts val="0"/>
              </a:spcBef>
              <a:spcAft>
                <a:spcPts val="0"/>
              </a:spcAft>
              <a:buNone/>
            </a:pPr>
            <a:endParaRPr sz="1100">
              <a:solidFill>
                <a:schemeClr val="dk1"/>
              </a:solidFill>
            </a:endParaRPr>
          </a:p>
        </p:txBody>
      </p:sp>
      <p:sp>
        <p:nvSpPr>
          <p:cNvPr id="1407" name="Google Shape;1407;p108"/>
          <p:cNvSpPr txBox="1"/>
          <p:nvPr/>
        </p:nvSpPr>
        <p:spPr>
          <a:xfrm>
            <a:off x="2110225" y="3461975"/>
            <a:ext cx="19873200" cy="3508623"/>
          </a:xfrm>
          <a:prstGeom prst="rect">
            <a:avLst/>
          </a:prstGeom>
          <a:noFill/>
          <a:ln>
            <a:noFill/>
          </a:ln>
        </p:spPr>
        <p:txBody>
          <a:bodyPr spcFirstLastPara="1" wrap="square" lIns="91425" tIns="91425" rIns="91425" bIns="91425" anchor="t" anchorCtr="0">
            <a:spAutoFit/>
          </a:bodyPr>
          <a:lstStyle/>
          <a:p>
            <a:pPr marL="457200" lvl="0" indent="-457200" algn="l" rtl="0">
              <a:lnSpc>
                <a:spcPct val="150000"/>
              </a:lnSpc>
              <a:spcBef>
                <a:spcPts val="0"/>
              </a:spcBef>
              <a:spcAft>
                <a:spcPts val="0"/>
              </a:spcAft>
              <a:buClr>
                <a:srgbClr val="002A44"/>
              </a:buClr>
              <a:buSzPts val="3600"/>
              <a:buFont typeface="Montserrat"/>
              <a:buChar char="●"/>
            </a:pPr>
            <a:r>
              <a:rPr lang="en-US" sz="3600">
                <a:solidFill>
                  <a:srgbClr val="002A44"/>
                </a:solidFill>
                <a:latin typeface="Montserrat"/>
                <a:ea typeface="Montserrat"/>
                <a:cs typeface="Montserrat"/>
                <a:sym typeface="Montserrat"/>
              </a:rPr>
              <a:t>Suggested development tools: VS Code, Google </a:t>
            </a:r>
            <a:r>
              <a:rPr lang="en-US" sz="3600" err="1">
                <a:solidFill>
                  <a:srgbClr val="002A44"/>
                </a:solidFill>
                <a:latin typeface="Montserrat"/>
                <a:ea typeface="Montserrat"/>
                <a:cs typeface="Montserrat"/>
                <a:sym typeface="Montserrat"/>
              </a:rPr>
              <a:t>Colab</a:t>
            </a:r>
            <a:endParaRPr sz="3600">
              <a:solidFill>
                <a:srgbClr val="002A44"/>
              </a:solidFill>
              <a:latin typeface="Montserrat"/>
              <a:ea typeface="Montserrat"/>
              <a:cs typeface="Montserrat"/>
              <a:sym typeface="Montserrat"/>
            </a:endParaRPr>
          </a:p>
          <a:p>
            <a:pPr marL="457200" lvl="0" indent="-457200" algn="l" rtl="0">
              <a:lnSpc>
                <a:spcPct val="150000"/>
              </a:lnSpc>
              <a:spcBef>
                <a:spcPts val="0"/>
              </a:spcBef>
              <a:spcAft>
                <a:spcPts val="0"/>
              </a:spcAft>
              <a:buClr>
                <a:srgbClr val="002A44"/>
              </a:buClr>
              <a:buSzPts val="3600"/>
              <a:buFont typeface="Montserrat"/>
              <a:buChar char="●"/>
            </a:pPr>
            <a:r>
              <a:rPr lang="en-US" sz="3600">
                <a:solidFill>
                  <a:srgbClr val="002A44"/>
                </a:solidFill>
                <a:latin typeface="Montserrat"/>
                <a:ea typeface="Montserrat"/>
                <a:cs typeface="Montserrat"/>
                <a:sym typeface="Montserrat"/>
              </a:rPr>
              <a:t>Version control software: Git &amp; </a:t>
            </a:r>
            <a:r>
              <a:rPr lang="en-US" sz="3600" err="1">
                <a:solidFill>
                  <a:srgbClr val="002A44"/>
                </a:solidFill>
                <a:latin typeface="Montserrat"/>
                <a:ea typeface="Montserrat"/>
                <a:cs typeface="Montserrat"/>
                <a:sym typeface="Montserrat"/>
              </a:rPr>
              <a:t>Github</a:t>
            </a:r>
            <a:r>
              <a:rPr lang="en-US" sz="3600">
                <a:solidFill>
                  <a:srgbClr val="002A44"/>
                </a:solidFill>
                <a:latin typeface="Montserrat"/>
                <a:ea typeface="Montserrat"/>
                <a:cs typeface="Montserrat"/>
                <a:sym typeface="Montserrat"/>
              </a:rPr>
              <a:t> </a:t>
            </a:r>
          </a:p>
          <a:p>
            <a:pPr marL="457200" lvl="0" indent="-457200" algn="l" rtl="0">
              <a:lnSpc>
                <a:spcPct val="150000"/>
              </a:lnSpc>
              <a:spcBef>
                <a:spcPts val="0"/>
              </a:spcBef>
              <a:spcAft>
                <a:spcPts val="0"/>
              </a:spcAft>
              <a:buClr>
                <a:srgbClr val="002A44"/>
              </a:buClr>
              <a:buSzPts val="3600"/>
              <a:buFont typeface="Montserrat"/>
              <a:buChar char="●"/>
            </a:pPr>
            <a:r>
              <a:rPr lang="en-US" sz="3600">
                <a:solidFill>
                  <a:srgbClr val="002A44"/>
                </a:solidFill>
                <a:latin typeface="Montserrat"/>
                <a:ea typeface="Montserrat"/>
                <a:cs typeface="Montserrat"/>
                <a:sym typeface="Montserrat"/>
              </a:rPr>
              <a:t>Project Management: GitHub board / issues</a:t>
            </a:r>
            <a:endParaRPr sz="3600">
              <a:solidFill>
                <a:srgbClr val="002A44"/>
              </a:solidFill>
              <a:latin typeface="Montserrat"/>
              <a:ea typeface="Montserrat"/>
              <a:cs typeface="Montserrat"/>
              <a:sym typeface="Montserrat"/>
            </a:endParaRPr>
          </a:p>
          <a:p>
            <a:pPr marL="457200" lvl="0" indent="-457200" algn="l" rtl="0">
              <a:lnSpc>
                <a:spcPct val="150000"/>
              </a:lnSpc>
              <a:spcBef>
                <a:spcPts val="0"/>
              </a:spcBef>
              <a:spcAft>
                <a:spcPts val="0"/>
              </a:spcAft>
              <a:buClr>
                <a:srgbClr val="002A44"/>
              </a:buClr>
              <a:buSzPts val="3600"/>
              <a:buFont typeface="Montserrat"/>
              <a:buChar char="●"/>
            </a:pPr>
            <a:r>
              <a:rPr lang="en-US" sz="3600">
                <a:solidFill>
                  <a:srgbClr val="002A44"/>
                </a:solidFill>
                <a:latin typeface="Montserrat"/>
                <a:ea typeface="Montserrat"/>
                <a:cs typeface="Montserrat"/>
                <a:sym typeface="Montserrat"/>
              </a:rPr>
              <a:t>Suggested frameworks: Scrum (sprints) or Kanban</a:t>
            </a:r>
          </a:p>
        </p:txBody>
      </p:sp>
      <p:pic>
        <p:nvPicPr>
          <p:cNvPr id="1409" name="Google Shape;1409;p108"/>
          <p:cNvPicPr preferRelativeResize="0"/>
          <p:nvPr/>
        </p:nvPicPr>
        <p:blipFill>
          <a:blip r:embed="rId4">
            <a:alphaModFix/>
          </a:blip>
          <a:stretch>
            <a:fillRect/>
          </a:stretch>
        </p:blipFill>
        <p:spPr>
          <a:xfrm>
            <a:off x="22146768" y="10497312"/>
            <a:ext cx="1709928" cy="1709928"/>
          </a:xfrm>
          <a:prstGeom prst="rect">
            <a:avLst/>
          </a:prstGeom>
          <a:noFill/>
          <a:ln>
            <a:noFill/>
          </a:ln>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1414"/>
        <p:cNvGrpSpPr/>
        <p:nvPr/>
      </p:nvGrpSpPr>
      <p:grpSpPr>
        <a:xfrm>
          <a:off x="0" y="0"/>
          <a:ext cx="0" cy="0"/>
          <a:chOff x="0" y="0"/>
          <a:chExt cx="0" cy="0"/>
        </a:xfrm>
      </p:grpSpPr>
      <p:sp>
        <p:nvSpPr>
          <p:cNvPr id="1415" name="Google Shape;1415;p109"/>
          <p:cNvSpPr txBox="1"/>
          <p:nvPr/>
        </p:nvSpPr>
        <p:spPr>
          <a:xfrm>
            <a:off x="2071425" y="1999775"/>
            <a:ext cx="20196000" cy="12930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Clr>
                <a:schemeClr val="dk1"/>
              </a:buClr>
              <a:buSzPts val="1100"/>
              <a:buFont typeface="Arial"/>
              <a:buNone/>
            </a:pPr>
            <a:r>
              <a:rPr lang="en-US" sz="7200">
                <a:solidFill>
                  <a:srgbClr val="002A44"/>
                </a:solidFill>
                <a:latin typeface="Montserrat Black"/>
                <a:ea typeface="Montserrat Black"/>
                <a:cs typeface="Montserrat Black"/>
                <a:sym typeface="Montserrat Black"/>
              </a:rPr>
              <a:t>Helpful resources</a:t>
            </a:r>
            <a:endParaRPr sz="1100">
              <a:solidFill>
                <a:schemeClr val="dk1"/>
              </a:solidFill>
            </a:endParaRPr>
          </a:p>
        </p:txBody>
      </p:sp>
      <p:sp>
        <p:nvSpPr>
          <p:cNvPr id="1416" name="Google Shape;1416;p109"/>
          <p:cNvSpPr txBox="1"/>
          <p:nvPr/>
        </p:nvSpPr>
        <p:spPr>
          <a:xfrm>
            <a:off x="2071425" y="3292775"/>
            <a:ext cx="19873200" cy="4339619"/>
          </a:xfrm>
          <a:prstGeom prst="rect">
            <a:avLst/>
          </a:prstGeom>
          <a:noFill/>
          <a:ln>
            <a:noFill/>
          </a:ln>
        </p:spPr>
        <p:txBody>
          <a:bodyPr spcFirstLastPara="1" wrap="square" lIns="91425" tIns="91425" rIns="91425" bIns="91425" anchor="t" anchorCtr="0">
            <a:spAutoFit/>
          </a:bodyPr>
          <a:lstStyle/>
          <a:p>
            <a:pPr marL="457200" lvl="0" indent="-457200" algn="l" rtl="0">
              <a:lnSpc>
                <a:spcPct val="150000"/>
              </a:lnSpc>
              <a:spcBef>
                <a:spcPts val="0"/>
              </a:spcBef>
              <a:spcAft>
                <a:spcPts val="0"/>
              </a:spcAft>
              <a:buClr>
                <a:srgbClr val="002A44"/>
              </a:buClr>
              <a:buSzPts val="3600"/>
              <a:buFont typeface="Montserrat"/>
              <a:buChar char="●"/>
            </a:pPr>
            <a:r>
              <a:rPr lang="en-US" sz="3600">
                <a:solidFill>
                  <a:srgbClr val="002A44"/>
                </a:solidFill>
                <a:latin typeface="Montserrat"/>
                <a:ea typeface="Montserrat"/>
                <a:cs typeface="Montserrat"/>
                <a:sym typeface="Montserrat"/>
              </a:rPr>
              <a:t>C5LA website: </a:t>
            </a:r>
            <a:r>
              <a:rPr lang="en-US" sz="3600">
                <a:solidFill>
                  <a:srgbClr val="002A44"/>
                </a:solidFill>
                <a:latin typeface="Montserrat"/>
                <a:ea typeface="Montserrat"/>
                <a:cs typeface="Montserrat"/>
                <a:sym typeface="Montserrat"/>
                <a:hlinkClick r:id="rId4"/>
              </a:rPr>
              <a:t>https://www.c5la.org/</a:t>
            </a:r>
            <a:endParaRPr lang="en-US" sz="3600">
              <a:solidFill>
                <a:srgbClr val="002A44"/>
              </a:solidFill>
              <a:latin typeface="Montserrat"/>
              <a:ea typeface="Montserrat"/>
              <a:cs typeface="Montserrat"/>
              <a:sym typeface="Montserrat"/>
            </a:endParaRPr>
          </a:p>
          <a:p>
            <a:pPr marL="457200" lvl="0" indent="-457200" algn="l" rtl="0">
              <a:lnSpc>
                <a:spcPct val="150000"/>
              </a:lnSpc>
              <a:spcBef>
                <a:spcPts val="0"/>
              </a:spcBef>
              <a:spcAft>
                <a:spcPts val="0"/>
              </a:spcAft>
              <a:buClr>
                <a:srgbClr val="002A44"/>
              </a:buClr>
              <a:buSzPts val="3600"/>
              <a:buFont typeface="Montserrat"/>
              <a:buChar char="●"/>
            </a:pPr>
            <a:r>
              <a:rPr lang="en-US" sz="3600">
                <a:solidFill>
                  <a:srgbClr val="002A44"/>
                </a:solidFill>
                <a:latin typeface="Montserrat"/>
                <a:ea typeface="Montserrat"/>
                <a:cs typeface="Montserrat"/>
                <a:sym typeface="Montserrat"/>
                <a:hlinkClick r:id="rId5"/>
              </a:rPr>
              <a:t>Python for Data Analysis</a:t>
            </a:r>
            <a:r>
              <a:rPr lang="en-US" sz="3600">
                <a:solidFill>
                  <a:srgbClr val="002A44"/>
                </a:solidFill>
                <a:latin typeface="Montserrat"/>
                <a:ea typeface="Montserrat"/>
                <a:cs typeface="Montserrat"/>
                <a:sym typeface="Montserrat"/>
              </a:rPr>
              <a:t> </a:t>
            </a:r>
          </a:p>
          <a:p>
            <a:pPr marL="457200" lvl="0" indent="-457200" algn="l" rtl="0">
              <a:lnSpc>
                <a:spcPct val="150000"/>
              </a:lnSpc>
              <a:spcBef>
                <a:spcPts val="0"/>
              </a:spcBef>
              <a:spcAft>
                <a:spcPts val="0"/>
              </a:spcAft>
              <a:buClr>
                <a:srgbClr val="002A44"/>
              </a:buClr>
              <a:buSzPts val="3600"/>
              <a:buFont typeface="Montserrat"/>
              <a:buChar char="●"/>
            </a:pPr>
            <a:r>
              <a:rPr lang="en-US" sz="3600">
                <a:solidFill>
                  <a:srgbClr val="0563C1"/>
                </a:solidFill>
                <a:latin typeface="Montserrat"/>
                <a:hlinkClick r:id="rId6">
                  <a:extLst>
                    <a:ext uri="{A12FA001-AC4F-418D-AE19-62706E023703}">
                      <ahyp:hlinkClr xmlns:ahyp="http://schemas.microsoft.com/office/drawing/2018/hyperlinkcolor" val="tx"/>
                    </a:ext>
                  </a:extLst>
                </a:hlinkClick>
              </a:rPr>
              <a:t>storytelling with data</a:t>
            </a:r>
            <a:endParaRPr lang="en-US" sz="3600">
              <a:solidFill>
                <a:srgbClr val="0563C1"/>
              </a:solidFill>
              <a:latin typeface="Montserrat"/>
            </a:endParaRPr>
          </a:p>
          <a:p>
            <a:pPr marL="457200" lvl="0" indent="-457200" algn="l" rtl="0">
              <a:lnSpc>
                <a:spcPct val="150000"/>
              </a:lnSpc>
              <a:spcBef>
                <a:spcPts val="0"/>
              </a:spcBef>
              <a:spcAft>
                <a:spcPts val="0"/>
              </a:spcAft>
              <a:buClr>
                <a:srgbClr val="002A44"/>
              </a:buClr>
              <a:buSzPts val="3600"/>
              <a:buFont typeface="Montserrat"/>
              <a:buChar char="●"/>
            </a:pPr>
            <a:r>
              <a:rPr lang="en-US" sz="3600">
                <a:solidFill>
                  <a:srgbClr val="0563C1"/>
                </a:solidFill>
                <a:latin typeface="Montserrat"/>
                <a:sym typeface="Montserrat"/>
                <a:hlinkClick r:id="rId7"/>
              </a:rPr>
              <a:t>https://www.statlearning.com</a:t>
            </a:r>
            <a:r>
              <a:rPr lang="en-US" sz="3600">
                <a:solidFill>
                  <a:srgbClr val="0563C1"/>
                </a:solidFill>
                <a:latin typeface="Montserrat"/>
                <a:sym typeface="Montserrat"/>
              </a:rPr>
              <a:t> </a:t>
            </a:r>
          </a:p>
          <a:p>
            <a:pPr marL="457200" indent="-457200">
              <a:lnSpc>
                <a:spcPct val="150000"/>
              </a:lnSpc>
              <a:buClr>
                <a:srgbClr val="002A44"/>
              </a:buClr>
              <a:buSzPts val="3600"/>
              <a:buFont typeface="Montserrat"/>
              <a:buChar char="●"/>
            </a:pPr>
            <a:r>
              <a:rPr lang="en-US" sz="3600">
                <a:solidFill>
                  <a:srgbClr val="0563C1"/>
                </a:solidFill>
                <a:latin typeface="Montserrat"/>
                <a:hlinkClick r:id="rId8">
                  <a:extLst>
                    <a:ext uri="{A12FA001-AC4F-418D-AE19-62706E023703}">
                      <ahyp:hlinkClr xmlns:ahyp="http://schemas.microsoft.com/office/drawing/2018/hyperlinkcolor" val="tx"/>
                    </a:ext>
                  </a:extLst>
                </a:hlinkClick>
              </a:rPr>
              <a:t>R for Data Science</a:t>
            </a:r>
            <a:r>
              <a:rPr lang="en-US" sz="3600">
                <a:solidFill>
                  <a:srgbClr val="0563C1"/>
                </a:solidFill>
                <a:latin typeface="Montserrat"/>
              </a:rPr>
              <a:t> </a:t>
            </a:r>
            <a:r>
              <a:rPr lang="en-US" sz="3600">
                <a:solidFill>
                  <a:schemeClr val="tx1"/>
                </a:solidFill>
                <a:latin typeface="Montserrat"/>
              </a:rPr>
              <a:t>– written for R, but a good overview of common data science workflow steps</a:t>
            </a:r>
            <a:endParaRPr lang="en-US" sz="3600">
              <a:solidFill>
                <a:schemeClr val="tx1"/>
              </a:solidFill>
              <a:latin typeface="Montserrat"/>
              <a:sym typeface="Montserrat"/>
            </a:endParaRPr>
          </a:p>
        </p:txBody>
      </p:sp>
      <p:pic>
        <p:nvPicPr>
          <p:cNvPr id="1418" name="Google Shape;1418;p109"/>
          <p:cNvPicPr preferRelativeResize="0"/>
          <p:nvPr/>
        </p:nvPicPr>
        <p:blipFill>
          <a:blip r:embed="rId9">
            <a:alphaModFix amt="75000"/>
          </a:blip>
          <a:stretch>
            <a:fillRect/>
          </a:stretch>
        </p:blipFill>
        <p:spPr>
          <a:xfrm>
            <a:off x="22146768" y="10497312"/>
            <a:ext cx="1709928" cy="1709928"/>
          </a:xfrm>
          <a:prstGeom prst="rect">
            <a:avLst/>
          </a:prstGeom>
          <a:noFill/>
          <a:ln>
            <a:noFill/>
          </a:ln>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B99CD2-D201-B23B-284E-DB9E1D5EB97F}"/>
              </a:ext>
            </a:extLst>
          </p:cNvPr>
          <p:cNvSpPr>
            <a:spLocks noGrp="1"/>
          </p:cNvSpPr>
          <p:nvPr>
            <p:ph type="title"/>
          </p:nvPr>
        </p:nvSpPr>
        <p:spPr/>
        <p:txBody>
          <a:bodyPr/>
          <a:lstStyle/>
          <a:p>
            <a:r>
              <a:rPr lang="en-US"/>
              <a:t>Project and Milestones</a:t>
            </a:r>
          </a:p>
        </p:txBody>
      </p:sp>
      <p:sp>
        <p:nvSpPr>
          <p:cNvPr id="3" name="Subtitle 2">
            <a:extLst>
              <a:ext uri="{FF2B5EF4-FFF2-40B4-BE49-F238E27FC236}">
                <a16:creationId xmlns:a16="http://schemas.microsoft.com/office/drawing/2014/main" id="{4D025F7B-32AF-DCE5-E86C-2B0099546A4E}"/>
              </a:ext>
            </a:extLst>
          </p:cNvPr>
          <p:cNvSpPr>
            <a:spLocks noGrp="1"/>
          </p:cNvSpPr>
          <p:nvPr>
            <p:ph type="subTitle" idx="1"/>
          </p:nvPr>
        </p:nvSpPr>
        <p:spPr/>
        <p:txBody>
          <a:bodyPr/>
          <a:lstStyle/>
          <a:p>
            <a:endParaRPr lang="en-US"/>
          </a:p>
        </p:txBody>
      </p:sp>
      <p:sp>
        <p:nvSpPr>
          <p:cNvPr id="4" name="Subtitle 3">
            <a:extLst>
              <a:ext uri="{FF2B5EF4-FFF2-40B4-BE49-F238E27FC236}">
                <a16:creationId xmlns:a16="http://schemas.microsoft.com/office/drawing/2014/main" id="{7669BE05-A9CA-5F98-D55E-9A3C012B2B2E}"/>
              </a:ext>
            </a:extLst>
          </p:cNvPr>
          <p:cNvSpPr>
            <a:spLocks noGrp="1"/>
          </p:cNvSpPr>
          <p:nvPr>
            <p:ph type="subTitle" idx="2"/>
          </p:nvPr>
        </p:nvSpPr>
        <p:spPr/>
        <p:txBody>
          <a:bodyPr/>
          <a:lstStyle/>
          <a:p>
            <a:endParaRPr lang="en-US"/>
          </a:p>
        </p:txBody>
      </p:sp>
    </p:spTree>
    <p:extLst>
      <p:ext uri="{BB962C8B-B14F-4D97-AF65-F5344CB8AC3E}">
        <p14:creationId xmlns:p14="http://schemas.microsoft.com/office/powerpoint/2010/main" val="18423085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1AA4C3-4F27-7639-6F94-127162E72EAC}"/>
              </a:ext>
            </a:extLst>
          </p:cNvPr>
          <p:cNvCxnSpPr>
            <a:cxnSpLocks/>
          </p:cNvCxnSpPr>
          <p:nvPr/>
        </p:nvCxnSpPr>
        <p:spPr>
          <a:xfrm>
            <a:off x="1910368" y="8898832"/>
            <a:ext cx="18584151" cy="0"/>
          </a:xfrm>
          <a:prstGeom prst="line">
            <a:avLst/>
          </a:prstGeom>
          <a:ln w="38100" cap="sq">
            <a:solidFill>
              <a:schemeClr val="tx1"/>
            </a:solidFill>
            <a:miter lim="800000"/>
            <a:tailEnd type="arrow"/>
          </a:ln>
        </p:spPr>
        <p:style>
          <a:lnRef idx="1">
            <a:schemeClr val="accent1"/>
          </a:lnRef>
          <a:fillRef idx="0">
            <a:schemeClr val="accent1"/>
          </a:fillRef>
          <a:effectRef idx="0">
            <a:schemeClr val="accent1"/>
          </a:effectRef>
          <a:fontRef idx="minor">
            <a:schemeClr val="tx1"/>
          </a:fontRef>
        </p:style>
      </p:cxnSp>
      <p:sp>
        <p:nvSpPr>
          <p:cNvPr id="6" name="Oval 5">
            <a:extLst>
              <a:ext uri="{FF2B5EF4-FFF2-40B4-BE49-F238E27FC236}">
                <a16:creationId xmlns:a16="http://schemas.microsoft.com/office/drawing/2014/main" id="{1B76E4E7-48F6-BCC6-0D12-64BD13979EB2}"/>
              </a:ext>
            </a:extLst>
          </p:cNvPr>
          <p:cNvSpPr/>
          <p:nvPr/>
        </p:nvSpPr>
        <p:spPr>
          <a:xfrm>
            <a:off x="3024971" y="8701650"/>
            <a:ext cx="359906" cy="359906"/>
          </a:xfrm>
          <a:prstGeom prst="ellipse">
            <a:avLst/>
          </a:prstGeom>
          <a:solidFill>
            <a:srgbClr val="1E49E2"/>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9192" tIns="109192" rIns="109192" bIns="109192" rtlCol="0" anchor="ctr"/>
          <a:lstStyle/>
          <a:p>
            <a:pPr defTabSz="1828343">
              <a:buClrTx/>
              <a:defRPr/>
            </a:pPr>
            <a:endParaRPr lang="en-GB" sz="2999" kern="1200">
              <a:solidFill>
                <a:srgbClr val="FFFFFF"/>
              </a:solidFill>
              <a:latin typeface="Arial"/>
            </a:endParaRPr>
          </a:p>
        </p:txBody>
      </p:sp>
      <p:sp>
        <p:nvSpPr>
          <p:cNvPr id="8" name="Oval 7">
            <a:extLst>
              <a:ext uri="{FF2B5EF4-FFF2-40B4-BE49-F238E27FC236}">
                <a16:creationId xmlns:a16="http://schemas.microsoft.com/office/drawing/2014/main" id="{59913FCE-EFAB-D76A-4B17-52E921935D5A}"/>
              </a:ext>
            </a:extLst>
          </p:cNvPr>
          <p:cNvSpPr/>
          <p:nvPr/>
        </p:nvSpPr>
        <p:spPr>
          <a:xfrm>
            <a:off x="7857093" y="8730142"/>
            <a:ext cx="359906" cy="359906"/>
          </a:xfrm>
          <a:prstGeom prst="ellipse">
            <a:avLst/>
          </a:prstGeom>
          <a:solidFill>
            <a:schemeClr val="accent5">
              <a:lumMod val="60000"/>
              <a:lumOff val="4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9192" tIns="109192" rIns="109192" bIns="109192" rtlCol="0" anchor="ctr"/>
          <a:lstStyle/>
          <a:p>
            <a:pPr defTabSz="1828343">
              <a:buClrTx/>
              <a:defRPr/>
            </a:pPr>
            <a:endParaRPr lang="en-GB" sz="2999" kern="1200">
              <a:solidFill>
                <a:srgbClr val="FFFFFF"/>
              </a:solidFill>
              <a:latin typeface="Arial"/>
            </a:endParaRPr>
          </a:p>
        </p:txBody>
      </p:sp>
      <p:cxnSp>
        <p:nvCxnSpPr>
          <p:cNvPr id="10" name="Straight Connector 9">
            <a:extLst>
              <a:ext uri="{FF2B5EF4-FFF2-40B4-BE49-F238E27FC236}">
                <a16:creationId xmlns:a16="http://schemas.microsoft.com/office/drawing/2014/main" id="{CD4A878D-9BAA-43B7-7A28-9ECD93C78ECF}"/>
              </a:ext>
            </a:extLst>
          </p:cNvPr>
          <p:cNvCxnSpPr>
            <a:cxnSpLocks/>
          </p:cNvCxnSpPr>
          <p:nvPr/>
        </p:nvCxnSpPr>
        <p:spPr>
          <a:xfrm>
            <a:off x="8039089" y="5182619"/>
            <a:ext cx="0" cy="3208770"/>
          </a:xfrm>
          <a:prstGeom prst="line">
            <a:avLst/>
          </a:prstGeom>
          <a:ln w="12700">
            <a:solidFill>
              <a:srgbClr val="7213EA"/>
            </a:solidFill>
            <a:prstDash val="dash"/>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D764B632-D98C-1B69-E37D-B1CFE6A5AC58}"/>
              </a:ext>
            </a:extLst>
          </p:cNvPr>
          <p:cNvSpPr txBox="1"/>
          <p:nvPr/>
        </p:nvSpPr>
        <p:spPr>
          <a:xfrm>
            <a:off x="8314514" y="5598121"/>
            <a:ext cx="2728815" cy="1019125"/>
          </a:xfrm>
          <a:prstGeom prst="rect">
            <a:avLst/>
          </a:prstGeom>
          <a:noFill/>
        </p:spPr>
        <p:txBody>
          <a:bodyPr wrap="square" lIns="0" tIns="0" rIns="0" bIns="0" rtlCol="0" anchor="t">
            <a:spAutoFit/>
          </a:bodyPr>
          <a:lstStyle/>
          <a:p>
            <a:pPr>
              <a:lnSpc>
                <a:spcPct val="110000"/>
              </a:lnSpc>
              <a:spcAft>
                <a:spcPts val="600"/>
              </a:spcAft>
              <a:defRPr/>
            </a:pPr>
            <a:r>
              <a:rPr lang="en-US" sz="2799" b="1">
                <a:solidFill>
                  <a:schemeClr val="tx1"/>
                </a:solidFill>
              </a:rPr>
              <a:t>Session 1</a:t>
            </a:r>
            <a:endParaRPr lang="en-GB" sz="2799" b="1" kern="1200">
              <a:solidFill>
                <a:schemeClr val="tx1"/>
              </a:solidFill>
              <a:ea typeface="+mn-ea"/>
              <a:cs typeface="+mn-cs"/>
            </a:endParaRPr>
          </a:p>
          <a:p>
            <a:pPr defTabSz="1828343">
              <a:lnSpc>
                <a:spcPct val="110000"/>
              </a:lnSpc>
              <a:spcAft>
                <a:spcPts val="600"/>
              </a:spcAft>
              <a:buClrTx/>
              <a:defRPr/>
            </a:pPr>
            <a:r>
              <a:rPr lang="en-GB" sz="2999" kern="1200">
                <a:solidFill>
                  <a:srgbClr val="7213EA"/>
                </a:solidFill>
                <a:ea typeface="+mn-ea"/>
                <a:cs typeface="+mn-cs"/>
              </a:rPr>
              <a:t>September 7</a:t>
            </a:r>
            <a:endParaRPr lang="en-GB" sz="2799"/>
          </a:p>
        </p:txBody>
      </p:sp>
      <p:cxnSp>
        <p:nvCxnSpPr>
          <p:cNvPr id="12" name="Straight Connector 11">
            <a:extLst>
              <a:ext uri="{FF2B5EF4-FFF2-40B4-BE49-F238E27FC236}">
                <a16:creationId xmlns:a16="http://schemas.microsoft.com/office/drawing/2014/main" id="{4557291D-263F-08C2-B10E-A42A4AC8E4C9}"/>
              </a:ext>
            </a:extLst>
          </p:cNvPr>
          <p:cNvCxnSpPr>
            <a:cxnSpLocks/>
          </p:cNvCxnSpPr>
          <p:nvPr/>
        </p:nvCxnSpPr>
        <p:spPr>
          <a:xfrm>
            <a:off x="3204924" y="9201603"/>
            <a:ext cx="0" cy="320877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691A1988-D11F-8430-AE36-CDD65984E95C}"/>
              </a:ext>
            </a:extLst>
          </p:cNvPr>
          <p:cNvSpPr txBox="1"/>
          <p:nvPr/>
        </p:nvSpPr>
        <p:spPr>
          <a:xfrm>
            <a:off x="18943560" y="9463153"/>
            <a:ext cx="3464044" cy="1569917"/>
          </a:xfrm>
          <a:prstGeom prst="rect">
            <a:avLst/>
          </a:prstGeom>
          <a:noFill/>
        </p:spPr>
        <p:txBody>
          <a:bodyPr wrap="square" lIns="0" tIns="0" rIns="0" bIns="0" rtlCol="0">
            <a:spAutoFit/>
          </a:bodyPr>
          <a:lstStyle/>
          <a:p>
            <a:pPr defTabSz="1828343">
              <a:lnSpc>
                <a:spcPct val="110000"/>
              </a:lnSpc>
              <a:spcAft>
                <a:spcPts val="600"/>
              </a:spcAft>
              <a:buClrTx/>
              <a:defRPr/>
            </a:pPr>
            <a:r>
              <a:rPr lang="en-GB" sz="2799" b="1" kern="1200">
                <a:solidFill>
                  <a:srgbClr val="00338D"/>
                </a:solidFill>
                <a:ea typeface="+mn-ea"/>
                <a:cs typeface="+mn-cs"/>
              </a:rPr>
              <a:t>Final</a:t>
            </a:r>
          </a:p>
          <a:p>
            <a:pPr defTabSz="1828343">
              <a:lnSpc>
                <a:spcPct val="110000"/>
              </a:lnSpc>
              <a:spcAft>
                <a:spcPts val="600"/>
              </a:spcAft>
              <a:buClrTx/>
              <a:defRPr/>
            </a:pPr>
            <a:r>
              <a:rPr lang="en-GB" sz="2799" b="1" kern="1200">
                <a:solidFill>
                  <a:srgbClr val="00338D"/>
                </a:solidFill>
                <a:ea typeface="+mn-ea"/>
                <a:cs typeface="+mn-cs"/>
              </a:rPr>
              <a:t>Presentation</a:t>
            </a:r>
          </a:p>
          <a:p>
            <a:pPr defTabSz="1828343">
              <a:lnSpc>
                <a:spcPct val="110000"/>
              </a:lnSpc>
              <a:spcAft>
                <a:spcPts val="1200"/>
              </a:spcAft>
              <a:buClrTx/>
              <a:defRPr/>
            </a:pPr>
            <a:r>
              <a:rPr lang="en-GB" sz="2999" kern="1200">
                <a:solidFill>
                  <a:srgbClr val="7213EA"/>
                </a:solidFill>
                <a:ea typeface="+mn-ea"/>
                <a:cs typeface="+mn-cs"/>
              </a:rPr>
              <a:t>December 5-6 2024</a:t>
            </a:r>
          </a:p>
        </p:txBody>
      </p:sp>
      <p:cxnSp>
        <p:nvCxnSpPr>
          <p:cNvPr id="15" name="Straight Connector 14">
            <a:extLst>
              <a:ext uri="{FF2B5EF4-FFF2-40B4-BE49-F238E27FC236}">
                <a16:creationId xmlns:a16="http://schemas.microsoft.com/office/drawing/2014/main" id="{B3159950-F9A3-D8ED-96D4-05C2277D79D2}"/>
              </a:ext>
            </a:extLst>
          </p:cNvPr>
          <p:cNvCxnSpPr>
            <a:cxnSpLocks/>
          </p:cNvCxnSpPr>
          <p:nvPr/>
        </p:nvCxnSpPr>
        <p:spPr>
          <a:xfrm>
            <a:off x="11453808" y="5182619"/>
            <a:ext cx="0" cy="3208770"/>
          </a:xfrm>
          <a:prstGeom prst="line">
            <a:avLst/>
          </a:prstGeom>
          <a:ln w="12700">
            <a:solidFill>
              <a:srgbClr val="7213EA"/>
            </a:solidFill>
            <a:prstDash val="dash"/>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F65FBB87-8C85-BB32-103A-34BA7D8758FB}"/>
              </a:ext>
            </a:extLst>
          </p:cNvPr>
          <p:cNvSpPr txBox="1"/>
          <p:nvPr/>
        </p:nvSpPr>
        <p:spPr>
          <a:xfrm>
            <a:off x="11573806" y="5611664"/>
            <a:ext cx="2728811" cy="1052981"/>
          </a:xfrm>
          <a:prstGeom prst="rect">
            <a:avLst/>
          </a:prstGeom>
          <a:noFill/>
        </p:spPr>
        <p:txBody>
          <a:bodyPr wrap="square" lIns="0" tIns="0" rIns="0" bIns="0" rtlCol="0" anchor="t">
            <a:spAutoFit/>
          </a:bodyPr>
          <a:lstStyle/>
          <a:p>
            <a:pPr>
              <a:spcAft>
                <a:spcPts val="1200"/>
              </a:spcAft>
            </a:pPr>
            <a:r>
              <a:rPr lang="en-US" sz="2799" b="1">
                <a:solidFill>
                  <a:schemeClr val="tx1"/>
                </a:solidFill>
              </a:rPr>
              <a:t>Session 2</a:t>
            </a:r>
            <a:endParaRPr lang="en-US" sz="2799">
              <a:solidFill>
                <a:schemeClr val="tx1"/>
              </a:solidFill>
            </a:endParaRPr>
          </a:p>
          <a:p>
            <a:pPr>
              <a:lnSpc>
                <a:spcPct val="110000"/>
              </a:lnSpc>
              <a:spcAft>
                <a:spcPts val="600"/>
              </a:spcAft>
              <a:defRPr/>
            </a:pPr>
            <a:r>
              <a:rPr lang="en-GB" sz="2999" kern="1200">
                <a:solidFill>
                  <a:srgbClr val="7213EA"/>
                </a:solidFill>
                <a:ea typeface="+mn-ea"/>
                <a:cs typeface="+mn-cs"/>
              </a:rPr>
              <a:t>October 5</a:t>
            </a:r>
            <a:endParaRPr lang="en-GB" sz="2799"/>
          </a:p>
        </p:txBody>
      </p:sp>
      <p:sp>
        <p:nvSpPr>
          <p:cNvPr id="17" name="Oval 16">
            <a:extLst>
              <a:ext uri="{FF2B5EF4-FFF2-40B4-BE49-F238E27FC236}">
                <a16:creationId xmlns:a16="http://schemas.microsoft.com/office/drawing/2014/main" id="{9D06AD08-875A-8E8D-1AF7-6C46376C70F8}"/>
              </a:ext>
            </a:extLst>
          </p:cNvPr>
          <p:cNvSpPr/>
          <p:nvPr/>
        </p:nvSpPr>
        <p:spPr>
          <a:xfrm>
            <a:off x="11273855" y="8697572"/>
            <a:ext cx="359906" cy="359906"/>
          </a:xfrm>
          <a:prstGeom prst="ellipse">
            <a:avLst/>
          </a:prstGeom>
          <a:solidFill>
            <a:schemeClr val="accent5">
              <a:lumMod val="60000"/>
              <a:lumOff val="4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9192" tIns="109192" rIns="109192" bIns="109192" rtlCol="0" anchor="ctr"/>
          <a:lstStyle/>
          <a:p>
            <a:pPr defTabSz="1828343">
              <a:buClrTx/>
              <a:defRPr/>
            </a:pPr>
            <a:endParaRPr lang="en-GB" sz="2999" kern="1200">
              <a:solidFill>
                <a:srgbClr val="FFFFFF"/>
              </a:solidFill>
              <a:latin typeface="Arial"/>
            </a:endParaRPr>
          </a:p>
        </p:txBody>
      </p:sp>
      <p:cxnSp>
        <p:nvCxnSpPr>
          <p:cNvPr id="18" name="Straight Connector 17">
            <a:extLst>
              <a:ext uri="{FF2B5EF4-FFF2-40B4-BE49-F238E27FC236}">
                <a16:creationId xmlns:a16="http://schemas.microsoft.com/office/drawing/2014/main" id="{16DD5F1A-6AB3-D45A-C274-09C94EE01939}"/>
              </a:ext>
            </a:extLst>
          </p:cNvPr>
          <p:cNvCxnSpPr>
            <a:cxnSpLocks/>
          </p:cNvCxnSpPr>
          <p:nvPr/>
        </p:nvCxnSpPr>
        <p:spPr>
          <a:xfrm>
            <a:off x="14513813" y="5182619"/>
            <a:ext cx="0" cy="3208770"/>
          </a:xfrm>
          <a:prstGeom prst="line">
            <a:avLst/>
          </a:prstGeom>
          <a:ln w="12700">
            <a:solidFill>
              <a:srgbClr val="7213EA"/>
            </a:solidFill>
            <a:prstDash val="dash"/>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40F08581-2B28-E9B8-CDF1-BF6FF86E81E0}"/>
              </a:ext>
            </a:extLst>
          </p:cNvPr>
          <p:cNvSpPr txBox="1"/>
          <p:nvPr/>
        </p:nvSpPr>
        <p:spPr>
          <a:xfrm>
            <a:off x="14633810" y="5613481"/>
            <a:ext cx="2728811" cy="1019125"/>
          </a:xfrm>
          <a:prstGeom prst="rect">
            <a:avLst/>
          </a:prstGeom>
          <a:noFill/>
        </p:spPr>
        <p:txBody>
          <a:bodyPr wrap="square" lIns="0" tIns="0" rIns="0" bIns="0" rtlCol="0" anchor="t">
            <a:spAutoFit/>
          </a:bodyPr>
          <a:lstStyle/>
          <a:p>
            <a:pPr>
              <a:lnSpc>
                <a:spcPct val="110000"/>
              </a:lnSpc>
              <a:spcAft>
                <a:spcPts val="600"/>
              </a:spcAft>
              <a:defRPr/>
            </a:pPr>
            <a:r>
              <a:rPr lang="en-US" sz="2799" b="1">
                <a:solidFill>
                  <a:schemeClr val="tx1"/>
                </a:solidFill>
              </a:rPr>
              <a:t>Session 3</a:t>
            </a:r>
            <a:endParaRPr lang="en-GB" sz="2799" b="1" kern="1200">
              <a:solidFill>
                <a:schemeClr val="tx1"/>
              </a:solidFill>
              <a:ea typeface="+mn-ea"/>
              <a:cs typeface="+mn-cs"/>
            </a:endParaRPr>
          </a:p>
          <a:p>
            <a:pPr>
              <a:lnSpc>
                <a:spcPct val="110000"/>
              </a:lnSpc>
              <a:spcAft>
                <a:spcPts val="600"/>
              </a:spcAft>
              <a:defRPr/>
            </a:pPr>
            <a:r>
              <a:rPr lang="en-GB" sz="2999" kern="1200">
                <a:solidFill>
                  <a:srgbClr val="7213EA"/>
                </a:solidFill>
                <a:ea typeface="+mn-ea"/>
                <a:cs typeface="+mn-cs"/>
              </a:rPr>
              <a:t>November 2</a:t>
            </a:r>
            <a:endParaRPr lang="en-GB" sz="2799"/>
          </a:p>
        </p:txBody>
      </p:sp>
      <p:sp>
        <p:nvSpPr>
          <p:cNvPr id="20" name="Oval 19">
            <a:extLst>
              <a:ext uri="{FF2B5EF4-FFF2-40B4-BE49-F238E27FC236}">
                <a16:creationId xmlns:a16="http://schemas.microsoft.com/office/drawing/2014/main" id="{6000A728-2FD1-47A5-F1D9-35D264ADA473}"/>
              </a:ext>
            </a:extLst>
          </p:cNvPr>
          <p:cNvSpPr/>
          <p:nvPr/>
        </p:nvSpPr>
        <p:spPr>
          <a:xfrm>
            <a:off x="14333860" y="8697572"/>
            <a:ext cx="359906" cy="359906"/>
          </a:xfrm>
          <a:prstGeom prst="ellipse">
            <a:avLst/>
          </a:prstGeom>
          <a:solidFill>
            <a:schemeClr val="accent5">
              <a:lumMod val="60000"/>
              <a:lumOff val="4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9192" tIns="109192" rIns="109192" bIns="109192" rtlCol="0" anchor="ctr"/>
          <a:lstStyle/>
          <a:p>
            <a:pPr defTabSz="1828343">
              <a:buClrTx/>
              <a:defRPr/>
            </a:pPr>
            <a:endParaRPr lang="en-GB" sz="2999" kern="1200">
              <a:solidFill>
                <a:srgbClr val="FFFFFF"/>
              </a:solidFill>
              <a:latin typeface="Arial"/>
            </a:endParaRPr>
          </a:p>
        </p:txBody>
      </p:sp>
      <p:sp>
        <p:nvSpPr>
          <p:cNvPr id="26" name="TextBox 25">
            <a:extLst>
              <a:ext uri="{FF2B5EF4-FFF2-40B4-BE49-F238E27FC236}">
                <a16:creationId xmlns:a16="http://schemas.microsoft.com/office/drawing/2014/main" id="{00B5C573-E279-90EA-8550-540A424AC54E}"/>
              </a:ext>
            </a:extLst>
          </p:cNvPr>
          <p:cNvSpPr txBox="1"/>
          <p:nvPr/>
        </p:nvSpPr>
        <p:spPr>
          <a:xfrm>
            <a:off x="3482703" y="10485635"/>
            <a:ext cx="2228857" cy="1492973"/>
          </a:xfrm>
          <a:prstGeom prst="rect">
            <a:avLst/>
          </a:prstGeom>
          <a:noFill/>
        </p:spPr>
        <p:txBody>
          <a:bodyPr wrap="square" lIns="0" tIns="0" rIns="0" bIns="0" rtlCol="0" anchor="t">
            <a:spAutoFit/>
          </a:bodyPr>
          <a:lstStyle/>
          <a:p>
            <a:pPr defTabSz="1828343">
              <a:lnSpc>
                <a:spcPct val="110000"/>
              </a:lnSpc>
              <a:spcAft>
                <a:spcPts val="600"/>
              </a:spcAft>
              <a:buClrTx/>
              <a:defRPr/>
            </a:pPr>
            <a:r>
              <a:rPr lang="en-GB" sz="2799" b="1" kern="1200">
                <a:solidFill>
                  <a:srgbClr val="00338D"/>
                </a:solidFill>
                <a:ea typeface="+mn-ea"/>
                <a:cs typeface="+mn-cs"/>
              </a:rPr>
              <a:t>BTT / KPMG Kick-Off</a:t>
            </a:r>
          </a:p>
          <a:p>
            <a:pPr defTabSz="1828343">
              <a:lnSpc>
                <a:spcPct val="110000"/>
              </a:lnSpc>
              <a:spcAft>
                <a:spcPts val="600"/>
              </a:spcAft>
              <a:buClrTx/>
              <a:defRPr/>
            </a:pPr>
            <a:r>
              <a:rPr lang="en-GB" sz="2999" kern="1200">
                <a:solidFill>
                  <a:srgbClr val="7213EA"/>
                </a:solidFill>
                <a:ea typeface="+mn-ea"/>
                <a:cs typeface="+mn-cs"/>
              </a:rPr>
              <a:t>August 14</a:t>
            </a:r>
            <a:endParaRPr lang="en-GB" sz="2999">
              <a:solidFill>
                <a:srgbClr val="7213EA"/>
              </a:solidFill>
            </a:endParaRPr>
          </a:p>
        </p:txBody>
      </p:sp>
      <p:sp>
        <p:nvSpPr>
          <p:cNvPr id="28" name="TextBox 27">
            <a:extLst>
              <a:ext uri="{FF2B5EF4-FFF2-40B4-BE49-F238E27FC236}">
                <a16:creationId xmlns:a16="http://schemas.microsoft.com/office/drawing/2014/main" id="{07214FC4-7883-EF3A-3A9C-2243E1A96B11}"/>
              </a:ext>
            </a:extLst>
          </p:cNvPr>
          <p:cNvSpPr txBox="1"/>
          <p:nvPr/>
        </p:nvSpPr>
        <p:spPr>
          <a:xfrm>
            <a:off x="3476558" y="9733944"/>
            <a:ext cx="1925019" cy="61555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1200"/>
              </a:spcAft>
            </a:pPr>
            <a:r>
              <a:rPr lang="en-US" sz="2000" b="1">
                <a:solidFill>
                  <a:schemeClr val="tx1"/>
                </a:solidFill>
              </a:rPr>
              <a:t>Welcome &amp; Introduction</a:t>
            </a:r>
          </a:p>
        </p:txBody>
      </p:sp>
      <p:sp>
        <p:nvSpPr>
          <p:cNvPr id="29" name="TextBox 28">
            <a:extLst>
              <a:ext uri="{FF2B5EF4-FFF2-40B4-BE49-F238E27FC236}">
                <a16:creationId xmlns:a16="http://schemas.microsoft.com/office/drawing/2014/main" id="{8BAAE385-57AA-32D8-B3E5-A39C57479BB8}"/>
              </a:ext>
            </a:extLst>
          </p:cNvPr>
          <p:cNvSpPr txBox="1"/>
          <p:nvPr/>
        </p:nvSpPr>
        <p:spPr>
          <a:xfrm>
            <a:off x="8241215" y="5152090"/>
            <a:ext cx="2809138" cy="31233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828343">
              <a:lnSpc>
                <a:spcPct val="110000"/>
              </a:lnSpc>
              <a:spcAft>
                <a:spcPts val="600"/>
              </a:spcAft>
              <a:buClrTx/>
              <a:defRPr/>
            </a:pPr>
            <a:r>
              <a:rPr lang="en-GB" sz="2000" b="1">
                <a:solidFill>
                  <a:srgbClr val="00338D"/>
                </a:solidFill>
              </a:rPr>
              <a:t>Monthly “Maker Days”</a:t>
            </a:r>
          </a:p>
        </p:txBody>
      </p:sp>
      <p:sp>
        <p:nvSpPr>
          <p:cNvPr id="30" name="TextBox 29">
            <a:extLst>
              <a:ext uri="{FF2B5EF4-FFF2-40B4-BE49-F238E27FC236}">
                <a16:creationId xmlns:a16="http://schemas.microsoft.com/office/drawing/2014/main" id="{1A0568B6-3373-591F-131A-C65F7C1AB1A2}"/>
              </a:ext>
            </a:extLst>
          </p:cNvPr>
          <p:cNvSpPr txBox="1"/>
          <p:nvPr/>
        </p:nvSpPr>
        <p:spPr>
          <a:xfrm>
            <a:off x="11493481" y="5152090"/>
            <a:ext cx="2809136" cy="31233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828343">
              <a:lnSpc>
                <a:spcPct val="110000"/>
              </a:lnSpc>
              <a:spcAft>
                <a:spcPts val="600"/>
              </a:spcAft>
              <a:buClrTx/>
              <a:defRPr/>
            </a:pPr>
            <a:r>
              <a:rPr lang="en-GB" sz="2000" b="1">
                <a:solidFill>
                  <a:srgbClr val="00338D"/>
                </a:solidFill>
              </a:rPr>
              <a:t>Monthly “Maker Days”</a:t>
            </a:r>
          </a:p>
        </p:txBody>
      </p:sp>
      <p:sp>
        <p:nvSpPr>
          <p:cNvPr id="31" name="TextBox 30">
            <a:extLst>
              <a:ext uri="{FF2B5EF4-FFF2-40B4-BE49-F238E27FC236}">
                <a16:creationId xmlns:a16="http://schemas.microsoft.com/office/drawing/2014/main" id="{9F33C2BF-ED72-DF9B-A718-D53FDF882FEB}"/>
              </a:ext>
            </a:extLst>
          </p:cNvPr>
          <p:cNvSpPr txBox="1"/>
          <p:nvPr/>
        </p:nvSpPr>
        <p:spPr>
          <a:xfrm>
            <a:off x="14567587" y="5152090"/>
            <a:ext cx="2823830" cy="31233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828343">
              <a:lnSpc>
                <a:spcPct val="110000"/>
              </a:lnSpc>
              <a:spcAft>
                <a:spcPts val="600"/>
              </a:spcAft>
              <a:buClrTx/>
              <a:defRPr/>
            </a:pPr>
            <a:r>
              <a:rPr lang="en-GB" sz="2000" b="1">
                <a:solidFill>
                  <a:srgbClr val="00338D"/>
                </a:solidFill>
              </a:rPr>
              <a:t>Monthly “Maker Days”</a:t>
            </a:r>
          </a:p>
        </p:txBody>
      </p:sp>
      <p:cxnSp>
        <p:nvCxnSpPr>
          <p:cNvPr id="33" name="Straight Connector 32">
            <a:extLst>
              <a:ext uri="{FF2B5EF4-FFF2-40B4-BE49-F238E27FC236}">
                <a16:creationId xmlns:a16="http://schemas.microsoft.com/office/drawing/2014/main" id="{9361E9A5-4FBF-01E5-D5C9-D6895F517318}"/>
              </a:ext>
            </a:extLst>
          </p:cNvPr>
          <p:cNvCxnSpPr>
            <a:cxnSpLocks/>
          </p:cNvCxnSpPr>
          <p:nvPr/>
        </p:nvCxnSpPr>
        <p:spPr>
          <a:xfrm>
            <a:off x="5715229" y="9201604"/>
            <a:ext cx="0" cy="3208770"/>
          </a:xfrm>
          <a:prstGeom prst="line">
            <a:avLst/>
          </a:prstGeom>
          <a:ln w="12700">
            <a:solidFill>
              <a:srgbClr val="00B8F5"/>
            </a:solidFill>
            <a:prstDash val="dash"/>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51355B97-B28A-A9AF-D270-CE4F79F1057C}"/>
              </a:ext>
            </a:extLst>
          </p:cNvPr>
          <p:cNvSpPr txBox="1"/>
          <p:nvPr/>
        </p:nvSpPr>
        <p:spPr>
          <a:xfrm>
            <a:off x="9200715" y="10448333"/>
            <a:ext cx="5722980" cy="1019125"/>
          </a:xfrm>
          <a:prstGeom prst="rect">
            <a:avLst/>
          </a:prstGeom>
          <a:noFill/>
        </p:spPr>
        <p:txBody>
          <a:bodyPr wrap="square" lIns="0" tIns="0" rIns="0" bIns="0" rtlCol="0" anchor="t">
            <a:spAutoFit/>
          </a:bodyPr>
          <a:lstStyle/>
          <a:p>
            <a:pPr defTabSz="1828343">
              <a:lnSpc>
                <a:spcPct val="110000"/>
              </a:lnSpc>
              <a:spcAft>
                <a:spcPts val="600"/>
              </a:spcAft>
              <a:buClrTx/>
              <a:defRPr/>
            </a:pPr>
            <a:r>
              <a:rPr lang="en-GB" sz="2799" b="1" kern="1200">
                <a:solidFill>
                  <a:srgbClr val="00338D"/>
                </a:solidFill>
                <a:ea typeface="+mn-ea"/>
                <a:cs typeface="+mn-cs"/>
              </a:rPr>
              <a:t>(Bi)weekly Meetings</a:t>
            </a:r>
          </a:p>
          <a:p>
            <a:pPr defTabSz="1828343">
              <a:lnSpc>
                <a:spcPct val="110000"/>
              </a:lnSpc>
              <a:spcAft>
                <a:spcPts val="600"/>
              </a:spcAft>
              <a:buClrTx/>
              <a:defRPr/>
            </a:pPr>
            <a:r>
              <a:rPr lang="en-GB" sz="2999" kern="1200">
                <a:solidFill>
                  <a:srgbClr val="7213EA"/>
                </a:solidFill>
                <a:ea typeface="+mn-ea"/>
                <a:cs typeface="+mn-cs"/>
              </a:rPr>
              <a:t>August-December</a:t>
            </a:r>
            <a:endParaRPr lang="en-GB" sz="2999">
              <a:solidFill>
                <a:srgbClr val="7213EA"/>
              </a:solidFill>
            </a:endParaRPr>
          </a:p>
        </p:txBody>
      </p:sp>
      <p:sp>
        <p:nvSpPr>
          <p:cNvPr id="39" name="Oval 38">
            <a:extLst>
              <a:ext uri="{FF2B5EF4-FFF2-40B4-BE49-F238E27FC236}">
                <a16:creationId xmlns:a16="http://schemas.microsoft.com/office/drawing/2014/main" id="{8D704FA6-E6AD-945C-E5CE-57E84C5B4B34}"/>
              </a:ext>
            </a:extLst>
          </p:cNvPr>
          <p:cNvSpPr/>
          <p:nvPr/>
        </p:nvSpPr>
        <p:spPr>
          <a:xfrm>
            <a:off x="16723951" y="8697562"/>
            <a:ext cx="359906" cy="359906"/>
          </a:xfrm>
          <a:prstGeom prst="ellipse">
            <a:avLst/>
          </a:prstGeom>
          <a:solidFill>
            <a:srgbClr val="00B8F5"/>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9192" tIns="109192" rIns="109192" bIns="109192" rtlCol="0" anchor="ctr"/>
          <a:lstStyle/>
          <a:p>
            <a:pPr defTabSz="1828343">
              <a:buClrTx/>
              <a:defRPr/>
            </a:pPr>
            <a:endParaRPr lang="en-GB" sz="2999" kern="1200">
              <a:solidFill>
                <a:srgbClr val="FFFFFF"/>
              </a:solidFill>
              <a:latin typeface="Arial"/>
            </a:endParaRPr>
          </a:p>
        </p:txBody>
      </p:sp>
      <p:sp>
        <p:nvSpPr>
          <p:cNvPr id="41" name="Oval 40">
            <a:extLst>
              <a:ext uri="{FF2B5EF4-FFF2-40B4-BE49-F238E27FC236}">
                <a16:creationId xmlns:a16="http://schemas.microsoft.com/office/drawing/2014/main" id="{8AD2944B-48FC-8487-62CB-EE97EF1B507E}"/>
              </a:ext>
            </a:extLst>
          </p:cNvPr>
          <p:cNvSpPr/>
          <p:nvPr/>
        </p:nvSpPr>
        <p:spPr>
          <a:xfrm>
            <a:off x="5531607" y="8723745"/>
            <a:ext cx="359906" cy="359906"/>
          </a:xfrm>
          <a:prstGeom prst="ellipse">
            <a:avLst/>
          </a:prstGeom>
          <a:solidFill>
            <a:srgbClr val="00B8F5"/>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9192" tIns="109192" rIns="109192" bIns="109192" rtlCol="0" anchor="ctr"/>
          <a:lstStyle/>
          <a:p>
            <a:pPr defTabSz="1828343">
              <a:buClrTx/>
              <a:defRPr/>
            </a:pPr>
            <a:endParaRPr lang="en-GB" sz="2999" kern="1200">
              <a:solidFill>
                <a:srgbClr val="FFFFFF"/>
              </a:solidFill>
              <a:latin typeface="Arial"/>
            </a:endParaRPr>
          </a:p>
        </p:txBody>
      </p:sp>
      <p:sp>
        <p:nvSpPr>
          <p:cNvPr id="42" name="Star: 5 Points 41">
            <a:extLst>
              <a:ext uri="{FF2B5EF4-FFF2-40B4-BE49-F238E27FC236}">
                <a16:creationId xmlns:a16="http://schemas.microsoft.com/office/drawing/2014/main" id="{13739D66-D0B6-6BC5-7DF6-B755E4546EBF}"/>
              </a:ext>
            </a:extLst>
          </p:cNvPr>
          <p:cNvSpPr/>
          <p:nvPr/>
        </p:nvSpPr>
        <p:spPr>
          <a:xfrm>
            <a:off x="17407337" y="8558552"/>
            <a:ext cx="682494" cy="637926"/>
          </a:xfrm>
          <a:prstGeom prst="star5">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lIns="109192" tIns="109192" rIns="109192" bIns="109192" rtlCol="0" anchor="ctr"/>
          <a:lstStyle/>
          <a:p>
            <a:pPr algn="l"/>
            <a:endParaRPr lang="en-US" sz="2999">
              <a:solidFill>
                <a:schemeClr val="bg1"/>
              </a:solidFill>
            </a:endParaRPr>
          </a:p>
        </p:txBody>
      </p:sp>
      <p:sp>
        <p:nvSpPr>
          <p:cNvPr id="43" name="TextBox 42">
            <a:extLst>
              <a:ext uri="{FF2B5EF4-FFF2-40B4-BE49-F238E27FC236}">
                <a16:creationId xmlns:a16="http://schemas.microsoft.com/office/drawing/2014/main" id="{10BDBB7C-4050-1A5F-7110-9F3D745B9BF2}"/>
              </a:ext>
            </a:extLst>
          </p:cNvPr>
          <p:cNvSpPr txBox="1"/>
          <p:nvPr/>
        </p:nvSpPr>
        <p:spPr>
          <a:xfrm>
            <a:off x="17871742" y="6546175"/>
            <a:ext cx="2591593" cy="1848519"/>
          </a:xfrm>
          <a:prstGeom prst="rect">
            <a:avLst/>
          </a:prstGeom>
          <a:noFill/>
        </p:spPr>
        <p:txBody>
          <a:bodyPr wrap="square" lIns="0" tIns="0" rIns="0" bIns="0" rtlCol="0">
            <a:spAutoFit/>
          </a:bodyPr>
          <a:lstStyle/>
          <a:p>
            <a:pPr defTabSz="1828343">
              <a:lnSpc>
                <a:spcPct val="110000"/>
              </a:lnSpc>
              <a:spcAft>
                <a:spcPts val="600"/>
              </a:spcAft>
              <a:buClrTx/>
              <a:defRPr/>
            </a:pPr>
            <a:r>
              <a:rPr lang="en-GB" sz="2799" b="1" kern="1200">
                <a:solidFill>
                  <a:srgbClr val="AB0D82"/>
                </a:solidFill>
                <a:ea typeface="+mn-ea"/>
                <a:cs typeface="+mn-cs"/>
              </a:rPr>
              <a:t>Submission Deadline</a:t>
            </a:r>
          </a:p>
          <a:p>
            <a:pPr>
              <a:lnSpc>
                <a:spcPct val="110000"/>
              </a:lnSpc>
              <a:spcAft>
                <a:spcPts val="600"/>
              </a:spcAft>
              <a:defRPr/>
            </a:pPr>
            <a:r>
              <a:rPr lang="en-GB" sz="2199" kern="1200">
                <a:solidFill>
                  <a:srgbClr val="7213EA"/>
                </a:solidFill>
                <a:ea typeface="+mn-ea"/>
                <a:cs typeface="+mn-cs"/>
              </a:rPr>
              <a:t>TBD</a:t>
            </a:r>
            <a:endParaRPr lang="en-GB" sz="2199">
              <a:solidFill>
                <a:srgbClr val="7213EA"/>
              </a:solidFill>
            </a:endParaRPr>
          </a:p>
          <a:p>
            <a:pPr defTabSz="1828343">
              <a:lnSpc>
                <a:spcPct val="110000"/>
              </a:lnSpc>
              <a:spcAft>
                <a:spcPts val="600"/>
              </a:spcAft>
              <a:buClrTx/>
              <a:defRPr/>
            </a:pPr>
            <a:endParaRPr lang="en-GB" sz="2399" kern="1200">
              <a:solidFill>
                <a:srgbClr val="7213EA"/>
              </a:solidFill>
              <a:ea typeface="+mn-ea"/>
              <a:cs typeface="+mn-cs"/>
            </a:endParaRPr>
          </a:p>
        </p:txBody>
      </p:sp>
      <p:sp>
        <p:nvSpPr>
          <p:cNvPr id="44" name="Oval 43">
            <a:extLst>
              <a:ext uri="{FF2B5EF4-FFF2-40B4-BE49-F238E27FC236}">
                <a16:creationId xmlns:a16="http://schemas.microsoft.com/office/drawing/2014/main" id="{A691FEBB-9E47-7C18-75F0-790FC05690EB}"/>
              </a:ext>
            </a:extLst>
          </p:cNvPr>
          <p:cNvSpPr/>
          <p:nvPr/>
        </p:nvSpPr>
        <p:spPr>
          <a:xfrm>
            <a:off x="18583653" y="8697562"/>
            <a:ext cx="359906" cy="359906"/>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9192" tIns="109192" rIns="109192" bIns="109192" rtlCol="0" anchor="ctr"/>
          <a:lstStyle/>
          <a:p>
            <a:pPr defTabSz="1828343">
              <a:buClrTx/>
              <a:defRPr/>
            </a:pPr>
            <a:endParaRPr lang="en-GB" sz="2999" kern="1200">
              <a:solidFill>
                <a:srgbClr val="FFFFFF"/>
              </a:solidFill>
              <a:latin typeface="Arial"/>
            </a:endParaRPr>
          </a:p>
        </p:txBody>
      </p:sp>
      <p:cxnSp>
        <p:nvCxnSpPr>
          <p:cNvPr id="45" name="Straight Connector 44">
            <a:extLst>
              <a:ext uri="{FF2B5EF4-FFF2-40B4-BE49-F238E27FC236}">
                <a16:creationId xmlns:a16="http://schemas.microsoft.com/office/drawing/2014/main" id="{D5D6ED41-838E-E7B7-5442-09311B492482}"/>
              </a:ext>
            </a:extLst>
          </p:cNvPr>
          <p:cNvCxnSpPr>
            <a:cxnSpLocks/>
          </p:cNvCxnSpPr>
          <p:nvPr/>
        </p:nvCxnSpPr>
        <p:spPr>
          <a:xfrm>
            <a:off x="17767017" y="7083053"/>
            <a:ext cx="0" cy="1440279"/>
          </a:xfrm>
          <a:prstGeom prst="line">
            <a:avLst/>
          </a:prstGeom>
          <a:ln w="19050">
            <a:solidFill>
              <a:srgbClr val="AB0D8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D270CD7-416D-7B94-2325-C710828F8D15}"/>
              </a:ext>
            </a:extLst>
          </p:cNvPr>
          <p:cNvCxnSpPr>
            <a:cxnSpLocks/>
          </p:cNvCxnSpPr>
          <p:nvPr/>
        </p:nvCxnSpPr>
        <p:spPr>
          <a:xfrm>
            <a:off x="16826738" y="9201604"/>
            <a:ext cx="0" cy="3208770"/>
          </a:xfrm>
          <a:prstGeom prst="line">
            <a:avLst/>
          </a:prstGeom>
          <a:ln w="12700">
            <a:solidFill>
              <a:srgbClr val="00B8F5"/>
            </a:solidFill>
            <a:prstDash val="dash"/>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C34F3CD-0A8D-6796-849B-718AD9EF45E1}"/>
              </a:ext>
            </a:extLst>
          </p:cNvPr>
          <p:cNvCxnSpPr>
            <a:cxnSpLocks/>
          </p:cNvCxnSpPr>
          <p:nvPr/>
        </p:nvCxnSpPr>
        <p:spPr>
          <a:xfrm flipH="1">
            <a:off x="5711559" y="12410373"/>
            <a:ext cx="11192345" cy="0"/>
          </a:xfrm>
          <a:prstGeom prst="line">
            <a:avLst/>
          </a:prstGeom>
          <a:ln w="12700">
            <a:solidFill>
              <a:srgbClr val="00B8F5"/>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0083759-BE0D-71B2-A7B7-0D187EA41005}"/>
              </a:ext>
            </a:extLst>
          </p:cNvPr>
          <p:cNvCxnSpPr>
            <a:cxnSpLocks/>
          </p:cNvCxnSpPr>
          <p:nvPr/>
        </p:nvCxnSpPr>
        <p:spPr>
          <a:xfrm>
            <a:off x="18743631" y="9165893"/>
            <a:ext cx="0" cy="3208770"/>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9" name="Google Shape;1455;p110">
            <a:extLst>
              <a:ext uri="{FF2B5EF4-FFF2-40B4-BE49-F238E27FC236}">
                <a16:creationId xmlns:a16="http://schemas.microsoft.com/office/drawing/2014/main" id="{D1583BC8-9CEB-FB18-0FF7-0661D26E5B7C}"/>
              </a:ext>
            </a:extLst>
          </p:cNvPr>
          <p:cNvSpPr txBox="1"/>
          <p:nvPr/>
        </p:nvSpPr>
        <p:spPr>
          <a:xfrm>
            <a:off x="1493116" y="2229702"/>
            <a:ext cx="20078700" cy="16812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None/>
            </a:pPr>
            <a:r>
              <a:rPr lang="en-US" sz="4400">
                <a:solidFill>
                  <a:srgbClr val="002A44"/>
                </a:solidFill>
                <a:latin typeface="Montserrat"/>
                <a:ea typeface="Montserrat"/>
                <a:cs typeface="Montserrat"/>
                <a:sym typeface="Montserrat"/>
              </a:rPr>
              <a:t>These are the milestones for your Challenge Project. They are roughly aligned to the </a:t>
            </a:r>
            <a:r>
              <a:rPr lang="en-US" sz="4400" u="sng">
                <a:solidFill>
                  <a:schemeClr val="hlink"/>
                </a:solidFill>
                <a:latin typeface="Montserrat"/>
                <a:ea typeface="Montserrat"/>
                <a:cs typeface="Montserrat"/>
                <a:sym typeface="Montserrat"/>
                <a:hlinkClick r:id="rId4"/>
              </a:rPr>
              <a:t>CRISP-DM</a:t>
            </a:r>
            <a:r>
              <a:rPr lang="en-US" sz="4400">
                <a:solidFill>
                  <a:srgbClr val="002A44"/>
                </a:solidFill>
                <a:latin typeface="Montserrat"/>
                <a:ea typeface="Montserrat"/>
                <a:cs typeface="Montserrat"/>
                <a:sym typeface="Montserrat"/>
              </a:rPr>
              <a:t> process you learned about in your ML Foundations course.  </a:t>
            </a:r>
            <a:endParaRPr sz="4400">
              <a:solidFill>
                <a:srgbClr val="002A44"/>
              </a:solidFill>
              <a:latin typeface="Montserrat"/>
              <a:ea typeface="Montserrat"/>
              <a:cs typeface="Montserrat"/>
              <a:sym typeface="Montserrat"/>
            </a:endParaRPr>
          </a:p>
        </p:txBody>
      </p:sp>
      <p:sp>
        <p:nvSpPr>
          <p:cNvPr id="14" name="Google Shape;1454;p110">
            <a:extLst>
              <a:ext uri="{FF2B5EF4-FFF2-40B4-BE49-F238E27FC236}">
                <a16:creationId xmlns:a16="http://schemas.microsoft.com/office/drawing/2014/main" id="{16C8F1B3-9F21-5DC6-3C73-1ECEBA525F5F}"/>
              </a:ext>
            </a:extLst>
          </p:cNvPr>
          <p:cNvSpPr txBox="1"/>
          <p:nvPr/>
        </p:nvSpPr>
        <p:spPr>
          <a:xfrm>
            <a:off x="1614419" y="899014"/>
            <a:ext cx="20196000" cy="12930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Clr>
                <a:schemeClr val="dk1"/>
              </a:buClr>
              <a:buSzPts val="1100"/>
              <a:buFont typeface="Arial"/>
              <a:buNone/>
            </a:pPr>
            <a:r>
              <a:rPr lang="en-US" sz="7200">
                <a:solidFill>
                  <a:srgbClr val="002A44"/>
                </a:solidFill>
                <a:latin typeface="Montserrat Black"/>
                <a:ea typeface="Montserrat Black"/>
                <a:cs typeface="Montserrat Black"/>
                <a:sym typeface="Montserrat Black"/>
              </a:rPr>
              <a:t>Project milestones and timeline</a:t>
            </a:r>
            <a:endParaRPr sz="1100">
              <a:solidFill>
                <a:schemeClr val="dk1"/>
              </a:solidFill>
            </a:endParaRPr>
          </a:p>
        </p:txBody>
      </p:sp>
    </p:spTree>
    <p:extLst>
      <p:ext uri="{BB962C8B-B14F-4D97-AF65-F5344CB8AC3E}">
        <p14:creationId xmlns:p14="http://schemas.microsoft.com/office/powerpoint/2010/main" val="3616865650"/>
      </p:ext>
    </p:extLst>
  </p:cSld>
  <p:clrMapOvr>
    <a:masterClrMapping/>
  </p:clrMapOvr>
  <p:extLst>
    <p:ext uri="{6950BFC3-D8DA-4A85-94F7-54DA5524770B}">
      <p188:commentRel xmlns:p188="http://schemas.microsoft.com/office/powerpoint/2018/8/main" r:id="rId3"/>
    </p:ext>
  </p:extLs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460"/>
        <p:cNvGrpSpPr/>
        <p:nvPr/>
      </p:nvGrpSpPr>
      <p:grpSpPr>
        <a:xfrm>
          <a:off x="0" y="0"/>
          <a:ext cx="0" cy="0"/>
          <a:chOff x="0" y="0"/>
          <a:chExt cx="0" cy="0"/>
        </a:xfrm>
      </p:grpSpPr>
      <p:sp>
        <p:nvSpPr>
          <p:cNvPr id="1461" name="Google Shape;1461;p111"/>
          <p:cNvSpPr txBox="1">
            <a:spLocks noGrp="1"/>
          </p:cNvSpPr>
          <p:nvPr>
            <p:ph type="title"/>
          </p:nvPr>
        </p:nvSpPr>
        <p:spPr>
          <a:xfrm>
            <a:off x="1507908" y="760087"/>
            <a:ext cx="18382800" cy="949629"/>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a:t>Suggested Process Approach</a:t>
            </a:r>
            <a:endParaRPr/>
          </a:p>
        </p:txBody>
      </p:sp>
      <p:grpSp>
        <p:nvGrpSpPr>
          <p:cNvPr id="52" name="Group 51">
            <a:extLst>
              <a:ext uri="{FF2B5EF4-FFF2-40B4-BE49-F238E27FC236}">
                <a16:creationId xmlns:a16="http://schemas.microsoft.com/office/drawing/2014/main" id="{528FC44C-20D5-793F-A413-B2F47CB848D7}"/>
              </a:ext>
            </a:extLst>
          </p:cNvPr>
          <p:cNvGrpSpPr/>
          <p:nvPr/>
        </p:nvGrpSpPr>
        <p:grpSpPr>
          <a:xfrm>
            <a:off x="0" y="2015892"/>
            <a:ext cx="24377650" cy="10521070"/>
            <a:chOff x="548641" y="3276000"/>
            <a:chExt cx="23719027" cy="9843669"/>
          </a:xfrm>
        </p:grpSpPr>
        <p:grpSp>
          <p:nvGrpSpPr>
            <p:cNvPr id="5" name="Group 4">
              <a:extLst>
                <a:ext uri="{FF2B5EF4-FFF2-40B4-BE49-F238E27FC236}">
                  <a16:creationId xmlns:a16="http://schemas.microsoft.com/office/drawing/2014/main" id="{E6AACE61-CF0E-2225-D232-B317D09E0695}"/>
                </a:ext>
              </a:extLst>
            </p:cNvPr>
            <p:cNvGrpSpPr/>
            <p:nvPr/>
          </p:nvGrpSpPr>
          <p:grpSpPr>
            <a:xfrm>
              <a:off x="548641" y="3746138"/>
              <a:ext cx="23719027" cy="6481849"/>
              <a:chOff x="-349265" y="1322387"/>
              <a:chExt cx="13675524" cy="3737198"/>
            </a:xfrm>
          </p:grpSpPr>
          <p:sp>
            <p:nvSpPr>
              <p:cNvPr id="6" name="Freeform: Shape 5">
                <a:extLst>
                  <a:ext uri="{FF2B5EF4-FFF2-40B4-BE49-F238E27FC236}">
                    <a16:creationId xmlns:a16="http://schemas.microsoft.com/office/drawing/2014/main" id="{D5B14B91-620D-05E4-8DD2-0CCCCC0D01CD}"/>
                  </a:ext>
                </a:extLst>
              </p:cNvPr>
              <p:cNvSpPr/>
              <p:nvPr/>
            </p:nvSpPr>
            <p:spPr>
              <a:xfrm>
                <a:off x="8333958" y="1339089"/>
                <a:ext cx="795518" cy="1919229"/>
              </a:xfrm>
              <a:custGeom>
                <a:avLst/>
                <a:gdLst>
                  <a:gd name="connsiteX0" fmla="*/ 627613 w 795518"/>
                  <a:gd name="connsiteY0" fmla="*/ 959504 h 1919229"/>
                  <a:gd name="connsiteX1" fmla="*/ 0 w 795518"/>
                  <a:gd name="connsiteY1" fmla="*/ 1747448 h 1919229"/>
                  <a:gd name="connsiteX2" fmla="*/ 0 w 795518"/>
                  <a:gd name="connsiteY2" fmla="*/ 1919206 h 1919229"/>
                  <a:gd name="connsiteX3" fmla="*/ 778381 w 795518"/>
                  <a:gd name="connsiteY3" fmla="*/ 778354 h 1919229"/>
                  <a:gd name="connsiteX4" fmla="*/ 0 w 795518"/>
                  <a:gd name="connsiteY4" fmla="*/ -23 h 1919229"/>
                  <a:gd name="connsiteX5" fmla="*/ 0 w 795518"/>
                  <a:gd name="connsiteY5" fmla="*/ 171560 h 1919229"/>
                  <a:gd name="connsiteX6" fmla="*/ 627613 w 795518"/>
                  <a:gd name="connsiteY6" fmla="*/ 959504 h 1919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5518" h="1919229">
                    <a:moveTo>
                      <a:pt x="627613" y="959504"/>
                    </a:moveTo>
                    <a:cubicBezTo>
                      <a:pt x="627120" y="1336160"/>
                      <a:pt x="367004" y="1662729"/>
                      <a:pt x="0" y="1747448"/>
                    </a:cubicBezTo>
                    <a:lnTo>
                      <a:pt x="0" y="1919206"/>
                    </a:lnTo>
                    <a:cubicBezTo>
                      <a:pt x="529972" y="1819105"/>
                      <a:pt x="878465" y="1308334"/>
                      <a:pt x="778381" y="778354"/>
                    </a:cubicBezTo>
                    <a:cubicBezTo>
                      <a:pt x="703788" y="383450"/>
                      <a:pt x="394904" y="74561"/>
                      <a:pt x="0" y="-23"/>
                    </a:cubicBezTo>
                    <a:lnTo>
                      <a:pt x="0" y="171560"/>
                    </a:lnTo>
                    <a:cubicBezTo>
                      <a:pt x="367004" y="256277"/>
                      <a:pt x="627120" y="582855"/>
                      <a:pt x="627613" y="959504"/>
                    </a:cubicBezTo>
                    <a:close/>
                  </a:path>
                </a:pathLst>
              </a:custGeom>
              <a:solidFill>
                <a:srgbClr val="00B0F0"/>
              </a:solidFill>
              <a:ln w="17576" cap="flat">
                <a:noFill/>
                <a:prstDash val="solid"/>
                <a:miter/>
              </a:ln>
            </p:spPr>
            <p:txBody>
              <a:bodyPr rtlCol="0" anchor="ctr"/>
              <a:lstStyle/>
              <a:p>
                <a:endParaRPr lang="en-GB" sz="2800"/>
              </a:p>
            </p:txBody>
          </p:sp>
          <p:sp>
            <p:nvSpPr>
              <p:cNvPr id="7" name="Freeform: Shape 6">
                <a:extLst>
                  <a:ext uri="{FF2B5EF4-FFF2-40B4-BE49-F238E27FC236}">
                    <a16:creationId xmlns:a16="http://schemas.microsoft.com/office/drawing/2014/main" id="{78653FBA-75E7-F77D-BF93-60C21FCD59EE}"/>
                  </a:ext>
                </a:extLst>
              </p:cNvPr>
              <p:cNvSpPr/>
              <p:nvPr/>
            </p:nvSpPr>
            <p:spPr>
              <a:xfrm>
                <a:off x="-349265" y="1322387"/>
                <a:ext cx="4519005" cy="168663"/>
              </a:xfrm>
              <a:custGeom>
                <a:avLst/>
                <a:gdLst>
                  <a:gd name="connsiteX0" fmla="*/ 0 w 2230926"/>
                  <a:gd name="connsiteY0" fmla="*/ 0 h 167890"/>
                  <a:gd name="connsiteX1" fmla="*/ 2230926 w 2230926"/>
                  <a:gd name="connsiteY1" fmla="*/ 0 h 167890"/>
                  <a:gd name="connsiteX2" fmla="*/ 2230926 w 2230926"/>
                  <a:gd name="connsiteY2" fmla="*/ 167891 h 167890"/>
                  <a:gd name="connsiteX3" fmla="*/ 0 w 2230926"/>
                  <a:gd name="connsiteY3" fmla="*/ 167891 h 167890"/>
                </a:gdLst>
                <a:ahLst/>
                <a:cxnLst>
                  <a:cxn ang="0">
                    <a:pos x="connsiteX0" y="connsiteY0"/>
                  </a:cxn>
                  <a:cxn ang="0">
                    <a:pos x="connsiteX1" y="connsiteY1"/>
                  </a:cxn>
                  <a:cxn ang="0">
                    <a:pos x="connsiteX2" y="connsiteY2"/>
                  </a:cxn>
                  <a:cxn ang="0">
                    <a:pos x="connsiteX3" y="connsiteY3"/>
                  </a:cxn>
                </a:cxnLst>
                <a:rect l="l" t="t" r="r" b="b"/>
                <a:pathLst>
                  <a:path w="2230926" h="167890">
                    <a:moveTo>
                      <a:pt x="0" y="0"/>
                    </a:moveTo>
                    <a:lnTo>
                      <a:pt x="2230926" y="0"/>
                    </a:lnTo>
                    <a:lnTo>
                      <a:pt x="2230926" y="167891"/>
                    </a:lnTo>
                    <a:lnTo>
                      <a:pt x="0" y="167891"/>
                    </a:lnTo>
                    <a:close/>
                  </a:path>
                </a:pathLst>
              </a:custGeom>
              <a:solidFill>
                <a:schemeClr val="accent5">
                  <a:lumMod val="75000"/>
                </a:schemeClr>
              </a:solidFill>
              <a:ln w="17576" cap="flat">
                <a:noFill/>
                <a:prstDash val="solid"/>
                <a:miter/>
              </a:ln>
            </p:spPr>
            <p:txBody>
              <a:bodyPr rtlCol="0" anchor="ctr"/>
              <a:lstStyle/>
              <a:p>
                <a:endParaRPr lang="en-GB" sz="2800"/>
              </a:p>
            </p:txBody>
          </p:sp>
          <p:sp>
            <p:nvSpPr>
              <p:cNvPr id="8" name="Freeform: Shape 7">
                <a:extLst>
                  <a:ext uri="{FF2B5EF4-FFF2-40B4-BE49-F238E27FC236}">
                    <a16:creationId xmlns:a16="http://schemas.microsoft.com/office/drawing/2014/main" id="{05A8B5F0-F865-C169-15DF-C67F7487FD60}"/>
                  </a:ext>
                </a:extLst>
              </p:cNvPr>
              <p:cNvSpPr/>
              <p:nvPr/>
            </p:nvSpPr>
            <p:spPr>
              <a:xfrm>
                <a:off x="6251760" y="3086560"/>
                <a:ext cx="2082197" cy="188283"/>
              </a:xfrm>
              <a:custGeom>
                <a:avLst/>
                <a:gdLst>
                  <a:gd name="connsiteX0" fmla="*/ 1901298 w 2082197"/>
                  <a:gd name="connsiteY0" fmla="*/ 20370 h 188283"/>
                  <a:gd name="connsiteX1" fmla="*/ 0 w 2082197"/>
                  <a:gd name="connsiteY1" fmla="*/ 20370 h 188283"/>
                  <a:gd name="connsiteX2" fmla="*/ 0 w 2082197"/>
                  <a:gd name="connsiteY2" fmla="*/ 188261 h 188283"/>
                  <a:gd name="connsiteX3" fmla="*/ 1901298 w 2082197"/>
                  <a:gd name="connsiteY3" fmla="*/ 188261 h 188283"/>
                  <a:gd name="connsiteX4" fmla="*/ 2082197 w 2082197"/>
                  <a:gd name="connsiteY4" fmla="*/ 171735 h 188283"/>
                  <a:gd name="connsiteX5" fmla="*/ 2082197 w 2082197"/>
                  <a:gd name="connsiteY5" fmla="*/ -23 h 188283"/>
                  <a:gd name="connsiteX6" fmla="*/ 1901298 w 2082197"/>
                  <a:gd name="connsiteY6" fmla="*/ 20370 h 18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2197" h="188283">
                    <a:moveTo>
                      <a:pt x="1901298" y="20370"/>
                    </a:moveTo>
                    <a:lnTo>
                      <a:pt x="0" y="20370"/>
                    </a:lnTo>
                    <a:lnTo>
                      <a:pt x="0" y="188261"/>
                    </a:lnTo>
                    <a:lnTo>
                      <a:pt x="1901298" y="188261"/>
                    </a:lnTo>
                    <a:cubicBezTo>
                      <a:pt x="1961967" y="188278"/>
                      <a:pt x="2022531" y="182741"/>
                      <a:pt x="2082197" y="171735"/>
                    </a:cubicBezTo>
                    <a:lnTo>
                      <a:pt x="2082197" y="-23"/>
                    </a:lnTo>
                    <a:cubicBezTo>
                      <a:pt x="2022864" y="13566"/>
                      <a:pt x="1962178" y="20423"/>
                      <a:pt x="1901298" y="20370"/>
                    </a:cubicBezTo>
                    <a:close/>
                  </a:path>
                </a:pathLst>
              </a:custGeom>
              <a:solidFill>
                <a:schemeClr val="bg2"/>
              </a:solidFill>
              <a:ln w="17576" cap="flat">
                <a:noFill/>
                <a:prstDash val="solid"/>
                <a:miter/>
              </a:ln>
            </p:spPr>
            <p:txBody>
              <a:bodyPr rtlCol="0" anchor="ctr"/>
              <a:lstStyle/>
              <a:p>
                <a:endParaRPr lang="en-GB" sz="2800"/>
              </a:p>
            </p:txBody>
          </p:sp>
          <p:sp>
            <p:nvSpPr>
              <p:cNvPr id="9" name="Freeform: Shape 8">
                <a:extLst>
                  <a:ext uri="{FF2B5EF4-FFF2-40B4-BE49-F238E27FC236}">
                    <a16:creationId xmlns:a16="http://schemas.microsoft.com/office/drawing/2014/main" id="{45A692E5-5304-5092-483D-08A37A637C3B}"/>
                  </a:ext>
                </a:extLst>
              </p:cNvPr>
              <p:cNvSpPr/>
              <p:nvPr/>
            </p:nvSpPr>
            <p:spPr>
              <a:xfrm>
                <a:off x="6251760" y="4891695"/>
                <a:ext cx="2082197" cy="151189"/>
              </a:xfrm>
              <a:custGeom>
                <a:avLst/>
                <a:gdLst>
                  <a:gd name="connsiteX0" fmla="*/ 0 w 2082197"/>
                  <a:gd name="connsiteY0" fmla="*/ 0 h 167890"/>
                  <a:gd name="connsiteX1" fmla="*/ 2082198 w 2082197"/>
                  <a:gd name="connsiteY1" fmla="*/ 0 h 167890"/>
                  <a:gd name="connsiteX2" fmla="*/ 2082198 w 2082197"/>
                  <a:gd name="connsiteY2" fmla="*/ 167891 h 167890"/>
                  <a:gd name="connsiteX3" fmla="*/ 0 w 2082197"/>
                  <a:gd name="connsiteY3" fmla="*/ 167891 h 167890"/>
                </a:gdLst>
                <a:ahLst/>
                <a:cxnLst>
                  <a:cxn ang="0">
                    <a:pos x="connsiteX0" y="connsiteY0"/>
                  </a:cxn>
                  <a:cxn ang="0">
                    <a:pos x="connsiteX1" y="connsiteY1"/>
                  </a:cxn>
                  <a:cxn ang="0">
                    <a:pos x="connsiteX2" y="connsiteY2"/>
                  </a:cxn>
                  <a:cxn ang="0">
                    <a:pos x="connsiteX3" y="connsiteY3"/>
                  </a:cxn>
                </a:cxnLst>
                <a:rect l="l" t="t" r="r" b="b"/>
                <a:pathLst>
                  <a:path w="2082197" h="167890">
                    <a:moveTo>
                      <a:pt x="0" y="0"/>
                    </a:moveTo>
                    <a:lnTo>
                      <a:pt x="2082198" y="0"/>
                    </a:lnTo>
                    <a:lnTo>
                      <a:pt x="2082198" y="167891"/>
                    </a:lnTo>
                    <a:lnTo>
                      <a:pt x="0" y="167891"/>
                    </a:lnTo>
                    <a:close/>
                  </a:path>
                </a:pathLst>
              </a:custGeom>
              <a:solidFill>
                <a:schemeClr val="accent4"/>
              </a:solidFill>
              <a:ln w="17576" cap="flat">
                <a:noFill/>
                <a:prstDash val="solid"/>
                <a:miter/>
              </a:ln>
            </p:spPr>
            <p:txBody>
              <a:bodyPr rtlCol="0" anchor="ctr"/>
              <a:lstStyle/>
              <a:p>
                <a:endParaRPr lang="en-GB" sz="2800"/>
              </a:p>
            </p:txBody>
          </p:sp>
          <p:sp>
            <p:nvSpPr>
              <p:cNvPr id="10" name="Freeform: Shape 9">
                <a:extLst>
                  <a:ext uri="{FF2B5EF4-FFF2-40B4-BE49-F238E27FC236}">
                    <a16:creationId xmlns:a16="http://schemas.microsoft.com/office/drawing/2014/main" id="{C0B5AA3F-6A11-883F-D277-A1D804386D7F}"/>
                  </a:ext>
                </a:extLst>
              </p:cNvPr>
              <p:cNvSpPr/>
              <p:nvPr/>
            </p:nvSpPr>
            <p:spPr>
              <a:xfrm>
                <a:off x="8333956" y="4891694"/>
                <a:ext cx="4992303" cy="151189"/>
              </a:xfrm>
              <a:custGeom>
                <a:avLst/>
                <a:gdLst>
                  <a:gd name="connsiteX0" fmla="*/ 0 w 2230926"/>
                  <a:gd name="connsiteY0" fmla="*/ 0 h 167890"/>
                  <a:gd name="connsiteX1" fmla="*/ 2230926 w 2230926"/>
                  <a:gd name="connsiteY1" fmla="*/ 0 h 167890"/>
                  <a:gd name="connsiteX2" fmla="*/ 2230926 w 2230926"/>
                  <a:gd name="connsiteY2" fmla="*/ 167891 h 167890"/>
                  <a:gd name="connsiteX3" fmla="*/ 0 w 2230926"/>
                  <a:gd name="connsiteY3" fmla="*/ 167891 h 167890"/>
                </a:gdLst>
                <a:ahLst/>
                <a:cxnLst>
                  <a:cxn ang="0">
                    <a:pos x="connsiteX0" y="connsiteY0"/>
                  </a:cxn>
                  <a:cxn ang="0">
                    <a:pos x="connsiteX1" y="connsiteY1"/>
                  </a:cxn>
                  <a:cxn ang="0">
                    <a:pos x="connsiteX2" y="connsiteY2"/>
                  </a:cxn>
                  <a:cxn ang="0">
                    <a:pos x="connsiteX3" y="connsiteY3"/>
                  </a:cxn>
                </a:cxnLst>
                <a:rect l="l" t="t" r="r" b="b"/>
                <a:pathLst>
                  <a:path w="2230926" h="167890">
                    <a:moveTo>
                      <a:pt x="0" y="0"/>
                    </a:moveTo>
                    <a:lnTo>
                      <a:pt x="2230926" y="0"/>
                    </a:lnTo>
                    <a:lnTo>
                      <a:pt x="2230926" y="167891"/>
                    </a:lnTo>
                    <a:lnTo>
                      <a:pt x="0" y="167891"/>
                    </a:lnTo>
                    <a:close/>
                  </a:path>
                </a:pathLst>
              </a:custGeom>
              <a:solidFill>
                <a:schemeClr val="accent2"/>
              </a:solidFill>
              <a:ln w="17576" cap="flat">
                <a:noFill/>
                <a:prstDash val="solid"/>
                <a:miter/>
              </a:ln>
            </p:spPr>
            <p:txBody>
              <a:bodyPr rtlCol="0" anchor="ctr"/>
              <a:lstStyle/>
              <a:p>
                <a:endParaRPr lang="en-GB" sz="2800"/>
              </a:p>
            </p:txBody>
          </p:sp>
          <p:sp>
            <p:nvSpPr>
              <p:cNvPr id="11" name="Freeform: Shape 10">
                <a:extLst>
                  <a:ext uri="{FF2B5EF4-FFF2-40B4-BE49-F238E27FC236}">
                    <a16:creationId xmlns:a16="http://schemas.microsoft.com/office/drawing/2014/main" id="{0DD44976-EADC-3849-B74B-863903B026B7}"/>
                  </a:ext>
                </a:extLst>
              </p:cNvPr>
              <p:cNvSpPr/>
              <p:nvPr/>
            </p:nvSpPr>
            <p:spPr>
              <a:xfrm>
                <a:off x="4169739" y="4871301"/>
                <a:ext cx="2082021" cy="188284"/>
              </a:xfrm>
              <a:custGeom>
                <a:avLst/>
                <a:gdLst>
                  <a:gd name="connsiteX0" fmla="*/ 180724 w 2082021"/>
                  <a:gd name="connsiteY0" fmla="*/ 20370 h 188284"/>
                  <a:gd name="connsiteX1" fmla="*/ 0 w 2082021"/>
                  <a:gd name="connsiteY1" fmla="*/ -23 h 188284"/>
                  <a:gd name="connsiteX2" fmla="*/ 0 w 2082021"/>
                  <a:gd name="connsiteY2" fmla="*/ 171560 h 188284"/>
                  <a:gd name="connsiteX3" fmla="*/ 180724 w 2082021"/>
                  <a:gd name="connsiteY3" fmla="*/ 188261 h 188284"/>
                  <a:gd name="connsiteX4" fmla="*/ 2082022 w 2082021"/>
                  <a:gd name="connsiteY4" fmla="*/ 188261 h 188284"/>
                  <a:gd name="connsiteX5" fmla="*/ 2082022 w 2082021"/>
                  <a:gd name="connsiteY5" fmla="*/ 20370 h 188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021" h="188284">
                    <a:moveTo>
                      <a:pt x="180724" y="20370"/>
                    </a:moveTo>
                    <a:cubicBezTo>
                      <a:pt x="119914" y="20423"/>
                      <a:pt x="59280" y="13584"/>
                      <a:pt x="0" y="-23"/>
                    </a:cubicBezTo>
                    <a:lnTo>
                      <a:pt x="0" y="171560"/>
                    </a:lnTo>
                    <a:cubicBezTo>
                      <a:pt x="59597" y="182723"/>
                      <a:pt x="120090" y="188314"/>
                      <a:pt x="180724" y="188261"/>
                    </a:cubicBezTo>
                    <a:lnTo>
                      <a:pt x="2082022" y="188261"/>
                    </a:lnTo>
                    <a:lnTo>
                      <a:pt x="2082022" y="20370"/>
                    </a:lnTo>
                    <a:close/>
                  </a:path>
                </a:pathLst>
              </a:custGeom>
              <a:solidFill>
                <a:schemeClr val="accent4"/>
              </a:solidFill>
              <a:ln w="17576" cap="flat">
                <a:noFill/>
                <a:prstDash val="solid"/>
                <a:miter/>
              </a:ln>
            </p:spPr>
            <p:txBody>
              <a:bodyPr rtlCol="0" anchor="ctr"/>
              <a:lstStyle/>
              <a:p>
                <a:endParaRPr lang="en-GB" sz="2800"/>
              </a:p>
            </p:txBody>
          </p:sp>
          <p:sp>
            <p:nvSpPr>
              <p:cNvPr id="12" name="Freeform: Shape 11">
                <a:extLst>
                  <a:ext uri="{FF2B5EF4-FFF2-40B4-BE49-F238E27FC236}">
                    <a16:creationId xmlns:a16="http://schemas.microsoft.com/office/drawing/2014/main" id="{097A0FE4-EB76-56DB-9243-AA637A6D45DB}"/>
                  </a:ext>
                </a:extLst>
              </p:cNvPr>
              <p:cNvSpPr/>
              <p:nvPr/>
            </p:nvSpPr>
            <p:spPr>
              <a:xfrm>
                <a:off x="4169739" y="3106953"/>
                <a:ext cx="2082021" cy="189338"/>
              </a:xfrm>
              <a:custGeom>
                <a:avLst/>
                <a:gdLst>
                  <a:gd name="connsiteX0" fmla="*/ 180724 w 2082021"/>
                  <a:gd name="connsiteY0" fmla="*/ 167868 h 189338"/>
                  <a:gd name="connsiteX1" fmla="*/ 2082022 w 2082021"/>
                  <a:gd name="connsiteY1" fmla="*/ 167868 h 189338"/>
                  <a:gd name="connsiteX2" fmla="*/ 2082022 w 2082021"/>
                  <a:gd name="connsiteY2" fmla="*/ -23 h 189338"/>
                  <a:gd name="connsiteX3" fmla="*/ 180724 w 2082021"/>
                  <a:gd name="connsiteY3" fmla="*/ -23 h 189338"/>
                  <a:gd name="connsiteX4" fmla="*/ 0 w 2082021"/>
                  <a:gd name="connsiteY4" fmla="*/ 17557 h 189338"/>
                  <a:gd name="connsiteX5" fmla="*/ 0 w 2082021"/>
                  <a:gd name="connsiteY5" fmla="*/ 189316 h 189338"/>
                  <a:gd name="connsiteX6" fmla="*/ 180724 w 2082021"/>
                  <a:gd name="connsiteY6" fmla="*/ 167868 h 189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2021" h="189338">
                    <a:moveTo>
                      <a:pt x="180724" y="167868"/>
                    </a:moveTo>
                    <a:lnTo>
                      <a:pt x="2082022" y="167868"/>
                    </a:lnTo>
                    <a:lnTo>
                      <a:pt x="2082022" y="-23"/>
                    </a:lnTo>
                    <a:lnTo>
                      <a:pt x="180724" y="-23"/>
                    </a:lnTo>
                    <a:cubicBezTo>
                      <a:pt x="120073" y="311"/>
                      <a:pt x="59579" y="6183"/>
                      <a:pt x="0" y="17557"/>
                    </a:cubicBezTo>
                    <a:lnTo>
                      <a:pt x="0" y="189316"/>
                    </a:lnTo>
                    <a:cubicBezTo>
                      <a:pt x="59245" y="175357"/>
                      <a:pt x="119862" y="168167"/>
                      <a:pt x="180724" y="167868"/>
                    </a:cubicBezTo>
                    <a:close/>
                  </a:path>
                </a:pathLst>
              </a:custGeom>
              <a:solidFill>
                <a:schemeClr val="bg2"/>
              </a:solidFill>
              <a:ln w="17576" cap="flat">
                <a:noFill/>
                <a:prstDash val="solid"/>
                <a:miter/>
              </a:ln>
            </p:spPr>
            <p:txBody>
              <a:bodyPr rtlCol="0" anchor="ctr"/>
              <a:lstStyle/>
              <a:p>
                <a:endParaRPr lang="en-GB" sz="2800"/>
              </a:p>
            </p:txBody>
          </p:sp>
          <p:sp>
            <p:nvSpPr>
              <p:cNvPr id="13" name="Freeform: Shape 12">
                <a:extLst>
                  <a:ext uri="{FF2B5EF4-FFF2-40B4-BE49-F238E27FC236}">
                    <a16:creationId xmlns:a16="http://schemas.microsoft.com/office/drawing/2014/main" id="{7229ED93-8D3B-60B8-18F0-B7940E0D2AE7}"/>
                  </a:ext>
                </a:extLst>
              </p:cNvPr>
              <p:cNvSpPr/>
              <p:nvPr/>
            </p:nvSpPr>
            <p:spPr>
              <a:xfrm>
                <a:off x="4167877" y="1322388"/>
                <a:ext cx="2082021" cy="168662"/>
              </a:xfrm>
              <a:custGeom>
                <a:avLst/>
                <a:gdLst>
                  <a:gd name="connsiteX0" fmla="*/ 0 w 2082197"/>
                  <a:gd name="connsiteY0" fmla="*/ 0 h 167890"/>
                  <a:gd name="connsiteX1" fmla="*/ 2082198 w 2082197"/>
                  <a:gd name="connsiteY1" fmla="*/ 0 h 167890"/>
                  <a:gd name="connsiteX2" fmla="*/ 2082198 w 2082197"/>
                  <a:gd name="connsiteY2" fmla="*/ 167891 h 167890"/>
                  <a:gd name="connsiteX3" fmla="*/ 0 w 2082197"/>
                  <a:gd name="connsiteY3" fmla="*/ 167891 h 167890"/>
                </a:gdLst>
                <a:ahLst/>
                <a:cxnLst>
                  <a:cxn ang="0">
                    <a:pos x="connsiteX0" y="connsiteY0"/>
                  </a:cxn>
                  <a:cxn ang="0">
                    <a:pos x="connsiteX1" y="connsiteY1"/>
                  </a:cxn>
                  <a:cxn ang="0">
                    <a:pos x="connsiteX2" y="connsiteY2"/>
                  </a:cxn>
                  <a:cxn ang="0">
                    <a:pos x="connsiteX3" y="connsiteY3"/>
                  </a:cxn>
                </a:cxnLst>
                <a:rect l="l" t="t" r="r" b="b"/>
                <a:pathLst>
                  <a:path w="2082197" h="167890">
                    <a:moveTo>
                      <a:pt x="0" y="0"/>
                    </a:moveTo>
                    <a:lnTo>
                      <a:pt x="2082198" y="0"/>
                    </a:lnTo>
                    <a:lnTo>
                      <a:pt x="2082198" y="167891"/>
                    </a:lnTo>
                    <a:lnTo>
                      <a:pt x="0" y="167891"/>
                    </a:lnTo>
                    <a:close/>
                  </a:path>
                </a:pathLst>
              </a:custGeom>
              <a:solidFill>
                <a:schemeClr val="accent1"/>
              </a:solidFill>
              <a:ln w="17576" cap="flat">
                <a:noFill/>
                <a:prstDash val="solid"/>
                <a:miter/>
              </a:ln>
            </p:spPr>
            <p:txBody>
              <a:bodyPr rtlCol="0" anchor="ctr"/>
              <a:lstStyle/>
              <a:p>
                <a:endParaRPr lang="en-GB" sz="2800"/>
              </a:p>
            </p:txBody>
          </p:sp>
          <p:sp>
            <p:nvSpPr>
              <p:cNvPr id="14" name="Freeform: Shape 13">
                <a:extLst>
                  <a:ext uri="{FF2B5EF4-FFF2-40B4-BE49-F238E27FC236}">
                    <a16:creationId xmlns:a16="http://schemas.microsoft.com/office/drawing/2014/main" id="{036151C2-C657-02C4-67BD-A442082A360D}"/>
                  </a:ext>
                </a:extLst>
              </p:cNvPr>
              <p:cNvSpPr/>
              <p:nvPr/>
            </p:nvSpPr>
            <p:spPr>
              <a:xfrm>
                <a:off x="3374220" y="3123654"/>
                <a:ext cx="795518" cy="1919229"/>
              </a:xfrm>
              <a:custGeom>
                <a:avLst/>
                <a:gdLst>
                  <a:gd name="connsiteX0" fmla="*/ 167906 w 795518"/>
                  <a:gd name="connsiteY0" fmla="*/ 959680 h 1919229"/>
                  <a:gd name="connsiteX1" fmla="*/ 795519 w 795518"/>
                  <a:gd name="connsiteY1" fmla="*/ 171735 h 1919229"/>
                  <a:gd name="connsiteX2" fmla="*/ 795519 w 795518"/>
                  <a:gd name="connsiteY2" fmla="*/ -23 h 1919229"/>
                  <a:gd name="connsiteX3" fmla="*/ 17142 w 795518"/>
                  <a:gd name="connsiteY3" fmla="*/ 1140826 h 1919229"/>
                  <a:gd name="connsiteX4" fmla="*/ 795519 w 795518"/>
                  <a:gd name="connsiteY4" fmla="*/ 1919207 h 1919229"/>
                  <a:gd name="connsiteX5" fmla="*/ 795519 w 795518"/>
                  <a:gd name="connsiteY5" fmla="*/ 1747624 h 1919229"/>
                  <a:gd name="connsiteX6" fmla="*/ 167906 w 795518"/>
                  <a:gd name="connsiteY6" fmla="*/ 959680 h 1919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5518" h="1919229">
                    <a:moveTo>
                      <a:pt x="167906" y="959680"/>
                    </a:moveTo>
                    <a:cubicBezTo>
                      <a:pt x="168394" y="583024"/>
                      <a:pt x="428515" y="256454"/>
                      <a:pt x="795519" y="171735"/>
                    </a:cubicBezTo>
                    <a:lnTo>
                      <a:pt x="795519" y="-23"/>
                    </a:lnTo>
                    <a:cubicBezTo>
                      <a:pt x="265537" y="100079"/>
                      <a:pt x="-82953" y="610854"/>
                      <a:pt x="17142" y="1140826"/>
                    </a:cubicBezTo>
                    <a:cubicBezTo>
                      <a:pt x="91726" y="1535730"/>
                      <a:pt x="400615" y="1844631"/>
                      <a:pt x="795519" y="1919207"/>
                    </a:cubicBezTo>
                    <a:lnTo>
                      <a:pt x="795519" y="1747624"/>
                    </a:lnTo>
                    <a:cubicBezTo>
                      <a:pt x="428515" y="1662905"/>
                      <a:pt x="168394" y="1336335"/>
                      <a:pt x="167906" y="959680"/>
                    </a:cubicBezTo>
                    <a:close/>
                  </a:path>
                </a:pathLst>
              </a:custGeom>
              <a:solidFill>
                <a:schemeClr val="accent3"/>
              </a:solidFill>
              <a:ln w="17576" cap="flat">
                <a:noFill/>
                <a:prstDash val="solid"/>
                <a:miter/>
              </a:ln>
            </p:spPr>
            <p:txBody>
              <a:bodyPr rtlCol="0" anchor="ctr"/>
              <a:lstStyle/>
              <a:p>
                <a:endParaRPr lang="en-GB" sz="2800"/>
              </a:p>
            </p:txBody>
          </p:sp>
          <p:sp>
            <p:nvSpPr>
              <p:cNvPr id="15" name="Freeform: Shape 14">
                <a:extLst>
                  <a:ext uri="{FF2B5EF4-FFF2-40B4-BE49-F238E27FC236}">
                    <a16:creationId xmlns:a16="http://schemas.microsoft.com/office/drawing/2014/main" id="{ECE911B5-C3EA-C995-0C5A-89188330C6A2}"/>
                  </a:ext>
                </a:extLst>
              </p:cNvPr>
              <p:cNvSpPr/>
              <p:nvPr/>
            </p:nvSpPr>
            <p:spPr>
              <a:xfrm>
                <a:off x="5880346" y="1326940"/>
                <a:ext cx="2453610" cy="174910"/>
              </a:xfrm>
              <a:custGeom>
                <a:avLst/>
                <a:gdLst>
                  <a:gd name="connsiteX0" fmla="*/ 1901298 w 2082197"/>
                  <a:gd name="connsiteY0" fmla="*/ 168923 h 189338"/>
                  <a:gd name="connsiteX1" fmla="*/ 2082197 w 2082197"/>
                  <a:gd name="connsiteY1" fmla="*/ 189316 h 189338"/>
                  <a:gd name="connsiteX2" fmla="*/ 2082197 w 2082197"/>
                  <a:gd name="connsiteY2" fmla="*/ 17557 h 189338"/>
                  <a:gd name="connsiteX3" fmla="*/ 1901298 w 2082197"/>
                  <a:gd name="connsiteY3" fmla="*/ -23 h 189338"/>
                  <a:gd name="connsiteX4" fmla="*/ 0 w 2082197"/>
                  <a:gd name="connsiteY4" fmla="*/ -23 h 189338"/>
                  <a:gd name="connsiteX5" fmla="*/ 0 w 2082197"/>
                  <a:gd name="connsiteY5" fmla="*/ 167868 h 189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197" h="189338">
                    <a:moveTo>
                      <a:pt x="1901298" y="168923"/>
                    </a:moveTo>
                    <a:cubicBezTo>
                      <a:pt x="1962178" y="168877"/>
                      <a:pt x="2022864" y="175717"/>
                      <a:pt x="2082197" y="189316"/>
                    </a:cubicBezTo>
                    <a:lnTo>
                      <a:pt x="2082197" y="17557"/>
                    </a:lnTo>
                    <a:cubicBezTo>
                      <a:pt x="2022565" y="6111"/>
                      <a:pt x="1962019" y="227"/>
                      <a:pt x="1901298" y="-23"/>
                    </a:cubicBezTo>
                    <a:lnTo>
                      <a:pt x="0" y="-23"/>
                    </a:lnTo>
                    <a:lnTo>
                      <a:pt x="0" y="167868"/>
                    </a:lnTo>
                    <a:close/>
                  </a:path>
                </a:pathLst>
              </a:custGeom>
              <a:solidFill>
                <a:schemeClr val="accent1"/>
              </a:solidFill>
              <a:ln w="17576" cap="flat">
                <a:noFill/>
                <a:prstDash val="solid"/>
                <a:miter/>
              </a:ln>
            </p:spPr>
            <p:txBody>
              <a:bodyPr rtlCol="0" anchor="ctr"/>
              <a:lstStyle/>
              <a:p>
                <a:endParaRPr lang="en-GB" sz="2800"/>
              </a:p>
            </p:txBody>
          </p:sp>
        </p:grpSp>
        <p:sp>
          <p:nvSpPr>
            <p:cNvPr id="16" name="TextBox 15">
              <a:extLst>
                <a:ext uri="{FF2B5EF4-FFF2-40B4-BE49-F238E27FC236}">
                  <a16:creationId xmlns:a16="http://schemas.microsoft.com/office/drawing/2014/main" id="{67B495B9-BE91-4B3B-F5BB-7FAB5DA79B68}"/>
                </a:ext>
              </a:extLst>
            </p:cNvPr>
            <p:cNvSpPr txBox="1"/>
            <p:nvPr/>
          </p:nvSpPr>
          <p:spPr>
            <a:xfrm>
              <a:off x="1212425" y="4508732"/>
              <a:ext cx="6726588" cy="2822011"/>
            </a:xfrm>
            <a:prstGeom prst="rect">
              <a:avLst/>
            </a:prstGeom>
            <a:noFill/>
          </p:spPr>
          <p:txBody>
            <a:bodyPr wrap="square" lIns="0" tIns="0" rIns="0" bIns="0" rtlCol="0">
              <a:spAutoFit/>
            </a:bodyPr>
            <a:lstStyle/>
            <a:p>
              <a:pPr marL="514350" indent="-514350" defTabSz="1828343">
                <a:buClrTx/>
                <a:buAutoNum type="arabicPeriod"/>
                <a:defRPr/>
              </a:pPr>
              <a:r>
                <a:rPr lang="en-GB" sz="2800" b="1" kern="1200">
                  <a:solidFill>
                    <a:srgbClr val="00338D"/>
                  </a:solidFill>
                  <a:ea typeface="+mn-ea"/>
                  <a:cs typeface="+mn-cs"/>
                </a:rPr>
                <a:t>Understand the business problem </a:t>
              </a:r>
            </a:p>
            <a:p>
              <a:pPr defTabSz="1828343">
                <a:buClrTx/>
                <a:defRPr/>
              </a:pPr>
              <a:r>
                <a:rPr lang="en-US" sz="2800" kern="1200">
                  <a:ea typeface="+mn-ea"/>
                  <a:cs typeface="+mn-cs"/>
                </a:rPr>
                <a:t>Internalize the challenge statement and prompt, and conduct additional research on the client and their needs. Brainstorm how you can provide a practical and reliable solution to the client. </a:t>
              </a:r>
              <a:r>
                <a:rPr lang="en-US" sz="2800" b="1" kern="1200">
                  <a:ea typeface="+mn-ea"/>
                  <a:cs typeface="+mn-cs"/>
                </a:rPr>
                <a:t>Define your criteria for success.</a:t>
              </a:r>
              <a:endParaRPr lang="en-GB" sz="2800" b="1" kern="1200">
                <a:ea typeface="+mn-ea"/>
                <a:cs typeface="+mn-cs"/>
              </a:endParaRPr>
            </a:p>
          </p:txBody>
        </p:sp>
        <p:sp>
          <p:nvSpPr>
            <p:cNvPr id="17" name="TextBox 16">
              <a:extLst>
                <a:ext uri="{FF2B5EF4-FFF2-40B4-BE49-F238E27FC236}">
                  <a16:creationId xmlns:a16="http://schemas.microsoft.com/office/drawing/2014/main" id="{4C8EAE34-7D96-FB11-CE3B-BE912FFA9882}"/>
                </a:ext>
              </a:extLst>
            </p:cNvPr>
            <p:cNvSpPr txBox="1"/>
            <p:nvPr/>
          </p:nvSpPr>
          <p:spPr>
            <a:xfrm>
              <a:off x="8731891" y="4373567"/>
              <a:ext cx="6937381" cy="2333139"/>
            </a:xfrm>
            <a:prstGeom prst="rect">
              <a:avLst/>
            </a:prstGeom>
            <a:noFill/>
          </p:spPr>
          <p:txBody>
            <a:bodyPr wrap="square" lIns="0" tIns="0" rIns="0" bIns="0" rtlCol="0">
              <a:spAutoFit/>
            </a:bodyPr>
            <a:lstStyle/>
            <a:p>
              <a:pPr defTabSz="1828343">
                <a:lnSpc>
                  <a:spcPct val="110000"/>
                </a:lnSpc>
                <a:buClrTx/>
                <a:defRPr/>
              </a:pPr>
              <a:r>
                <a:rPr lang="en-GB" sz="2800" b="1">
                  <a:solidFill>
                    <a:srgbClr val="00338D"/>
                  </a:solidFill>
                </a:rPr>
                <a:t>2. Get familiar with the data</a:t>
              </a:r>
              <a:endParaRPr lang="en-GB" sz="2800" b="1" kern="1200">
                <a:solidFill>
                  <a:srgbClr val="00338D"/>
                </a:solidFill>
                <a:ea typeface="+mn-ea"/>
                <a:cs typeface="+mn-cs"/>
              </a:endParaRPr>
            </a:p>
            <a:p>
              <a:pPr>
                <a:lnSpc>
                  <a:spcPct val="110000"/>
                </a:lnSpc>
                <a:spcAft>
                  <a:spcPts val="1200"/>
                </a:spcAft>
                <a:defRPr/>
              </a:pPr>
              <a:r>
                <a:rPr lang="en-US" sz="2800" kern="1200">
                  <a:ea typeface="+mn-ea"/>
                  <a:cs typeface="+mn-cs"/>
                </a:rPr>
                <a:t>Review the available data and reports and understand how they tie to each other. Read the data dictionaries. </a:t>
              </a:r>
              <a:r>
                <a:rPr lang="en-US" sz="2800" b="1" kern="1200">
                  <a:ea typeface="+mn-ea"/>
                  <a:cs typeface="+mn-cs"/>
                </a:rPr>
                <a:t>Save all necessary data for your team to work on.</a:t>
              </a:r>
              <a:endParaRPr lang="en-GB" sz="2800" kern="1200">
                <a:ea typeface="+mn-ea"/>
                <a:cs typeface="+mn-cs"/>
              </a:endParaRPr>
            </a:p>
          </p:txBody>
        </p:sp>
        <p:sp>
          <p:nvSpPr>
            <p:cNvPr id="18" name="TextBox 17">
              <a:extLst>
                <a:ext uri="{FF2B5EF4-FFF2-40B4-BE49-F238E27FC236}">
                  <a16:creationId xmlns:a16="http://schemas.microsoft.com/office/drawing/2014/main" id="{DF31F955-1B4F-3FB1-3A37-64C51DC40EE5}"/>
                </a:ext>
              </a:extLst>
            </p:cNvPr>
            <p:cNvSpPr txBox="1"/>
            <p:nvPr/>
          </p:nvSpPr>
          <p:spPr>
            <a:xfrm>
              <a:off x="9117466" y="7581370"/>
              <a:ext cx="12449028" cy="2842349"/>
            </a:xfrm>
            <a:prstGeom prst="rect">
              <a:avLst/>
            </a:prstGeom>
            <a:noFill/>
          </p:spPr>
          <p:txBody>
            <a:bodyPr wrap="square" lIns="0" tIns="0" rIns="0" bIns="0" rtlCol="0">
              <a:spAutoFit/>
            </a:bodyPr>
            <a:lstStyle/>
            <a:p>
              <a:pPr defTabSz="1828343">
                <a:lnSpc>
                  <a:spcPct val="110000"/>
                </a:lnSpc>
                <a:spcAft>
                  <a:spcPts val="600"/>
                </a:spcAft>
                <a:buClrTx/>
                <a:defRPr/>
              </a:pPr>
              <a:r>
                <a:rPr lang="en-GB" sz="2800" b="1" kern="1200">
                  <a:solidFill>
                    <a:srgbClr val="00338D"/>
                  </a:solidFill>
                  <a:ea typeface="+mn-ea"/>
                  <a:cs typeface="+mn-cs"/>
                </a:rPr>
                <a:t>4. Data analysis and modelling</a:t>
              </a:r>
            </a:p>
            <a:p>
              <a:pPr>
                <a:lnSpc>
                  <a:spcPct val="110000"/>
                </a:lnSpc>
                <a:spcAft>
                  <a:spcPts val="1200"/>
                </a:spcAft>
                <a:defRPr/>
              </a:pPr>
              <a:r>
                <a:rPr lang="en-US" sz="2800" kern="1200">
                  <a:latin typeface="+mj-lt"/>
                  <a:ea typeface="+mn-ea"/>
                  <a:cs typeface="+mn-cs"/>
                </a:rPr>
                <a:t>Using data analysis and ML processes find trends in the data related to the </a:t>
              </a:r>
              <a:r>
                <a:rPr lang="en-US" sz="2800" kern="1200">
                  <a:solidFill>
                    <a:schemeClr val="tx1"/>
                  </a:solidFill>
                  <a:latin typeface="+mj-lt"/>
                  <a:ea typeface="+mn-ea"/>
                  <a:cs typeface="+mn-cs"/>
                </a:rPr>
                <a:t>problem statement and business issue. Ensure you have a training and testing set. Select techniques to d</a:t>
              </a:r>
              <a:r>
                <a:rPr lang="en-US" sz="2800">
                  <a:solidFill>
                    <a:schemeClr val="tx1"/>
                  </a:solidFill>
                  <a:latin typeface="+mj-lt"/>
                  <a:ea typeface="Open Sans"/>
                  <a:cs typeface="Open Sans"/>
                  <a:sym typeface="Open Sans"/>
                </a:rPr>
                <a:t>evelop a machine learning model that can accurately </a:t>
              </a:r>
              <a:r>
                <a:rPr lang="en-US" sz="2800" b="1">
                  <a:solidFill>
                    <a:schemeClr val="tx1"/>
                  </a:solidFill>
                  <a:latin typeface="+mj-lt"/>
                  <a:ea typeface="Open Sans"/>
                  <a:cs typeface="Open Sans"/>
                  <a:sym typeface="Open Sans"/>
                </a:rPr>
                <a:t>predict the likelihood of future donations.</a:t>
              </a:r>
            </a:p>
            <a:p>
              <a:pPr>
                <a:lnSpc>
                  <a:spcPct val="110000"/>
                </a:lnSpc>
                <a:spcAft>
                  <a:spcPts val="1200"/>
                </a:spcAft>
                <a:defRPr/>
              </a:pPr>
              <a:endParaRPr lang="en-GB" sz="2800" kern="1200">
                <a:highlight>
                  <a:srgbClr val="FFFF00"/>
                </a:highlight>
                <a:ea typeface="+mn-ea"/>
                <a:cs typeface="+mn-cs"/>
              </a:endParaRPr>
            </a:p>
          </p:txBody>
        </p:sp>
        <p:sp>
          <p:nvSpPr>
            <p:cNvPr id="19" name="TextBox 18">
              <a:extLst>
                <a:ext uri="{FF2B5EF4-FFF2-40B4-BE49-F238E27FC236}">
                  <a16:creationId xmlns:a16="http://schemas.microsoft.com/office/drawing/2014/main" id="{105858A2-930A-F3F9-FB31-56CAF8F7F288}"/>
                </a:ext>
              </a:extLst>
            </p:cNvPr>
            <p:cNvSpPr txBox="1"/>
            <p:nvPr/>
          </p:nvSpPr>
          <p:spPr>
            <a:xfrm>
              <a:off x="1623213" y="8505878"/>
              <a:ext cx="5281560" cy="3141828"/>
            </a:xfrm>
            <a:prstGeom prst="rect">
              <a:avLst/>
            </a:prstGeom>
            <a:noFill/>
          </p:spPr>
          <p:txBody>
            <a:bodyPr wrap="square" lIns="0" tIns="0" rIns="0" bIns="0" rtlCol="0">
              <a:spAutoFit/>
            </a:bodyPr>
            <a:lstStyle/>
            <a:p>
              <a:pPr defTabSz="1828343">
                <a:lnSpc>
                  <a:spcPct val="110000"/>
                </a:lnSpc>
                <a:spcAft>
                  <a:spcPts val="600"/>
                </a:spcAft>
                <a:buClrTx/>
                <a:defRPr/>
              </a:pPr>
              <a:r>
                <a:rPr lang="en-GB" sz="2800" b="1" kern="1200">
                  <a:solidFill>
                    <a:srgbClr val="00338D"/>
                  </a:solidFill>
                  <a:ea typeface="+mn-ea"/>
                  <a:cs typeface="+mn-cs"/>
                </a:rPr>
                <a:t>5. Validate and enhance</a:t>
              </a:r>
            </a:p>
            <a:p>
              <a:pPr>
                <a:lnSpc>
                  <a:spcPct val="110000"/>
                </a:lnSpc>
                <a:spcAft>
                  <a:spcPts val="1200"/>
                </a:spcAft>
                <a:defRPr/>
              </a:pPr>
              <a:r>
                <a:rPr lang="en-US" sz="2800" kern="1200">
                  <a:ea typeface="+mn-ea"/>
                  <a:cs typeface="+mn-cs"/>
                </a:rPr>
                <a:t>Test your model against reasonable model metrics. Ensure your results are interpretable and reasonable. </a:t>
              </a:r>
              <a:r>
                <a:rPr lang="en-US" sz="2800" b="1" kern="1200">
                  <a:ea typeface="+mn-ea"/>
                  <a:cs typeface="+mn-cs"/>
                </a:rPr>
                <a:t>Does your model result meet the business success criteria?</a:t>
              </a:r>
              <a:endParaRPr lang="en-GB" sz="2800" b="1" kern="1200">
                <a:ea typeface="+mn-ea"/>
                <a:cs typeface="+mn-cs"/>
              </a:endParaRPr>
            </a:p>
          </p:txBody>
        </p:sp>
        <p:sp>
          <p:nvSpPr>
            <p:cNvPr id="20" name="TextBox 19">
              <a:extLst>
                <a:ext uri="{FF2B5EF4-FFF2-40B4-BE49-F238E27FC236}">
                  <a16:creationId xmlns:a16="http://schemas.microsoft.com/office/drawing/2014/main" id="{EE9FFA4D-72E5-8E5F-8F4F-D97C3BC638D8}"/>
                </a:ext>
              </a:extLst>
            </p:cNvPr>
            <p:cNvSpPr txBox="1"/>
            <p:nvPr/>
          </p:nvSpPr>
          <p:spPr>
            <a:xfrm>
              <a:off x="7292163" y="10707346"/>
              <a:ext cx="8122411" cy="2254910"/>
            </a:xfrm>
            <a:prstGeom prst="rect">
              <a:avLst/>
            </a:prstGeom>
            <a:noFill/>
          </p:spPr>
          <p:txBody>
            <a:bodyPr wrap="square" lIns="0" tIns="0" rIns="0" bIns="0" rtlCol="0">
              <a:spAutoFit/>
            </a:bodyPr>
            <a:lstStyle/>
            <a:p>
              <a:pPr defTabSz="1828343">
                <a:lnSpc>
                  <a:spcPct val="110000"/>
                </a:lnSpc>
                <a:spcAft>
                  <a:spcPts val="600"/>
                </a:spcAft>
                <a:buClrTx/>
                <a:defRPr/>
              </a:pPr>
              <a:r>
                <a:rPr lang="en-GB" sz="2800" b="1" kern="1200">
                  <a:solidFill>
                    <a:srgbClr val="00338D"/>
                  </a:solidFill>
                  <a:ea typeface="+mn-ea"/>
                  <a:cs typeface="+mn-cs"/>
                </a:rPr>
                <a:t>6. Finalize your product</a:t>
              </a:r>
            </a:p>
            <a:p>
              <a:pPr defTabSz="1828343">
                <a:lnSpc>
                  <a:spcPct val="110000"/>
                </a:lnSpc>
                <a:spcAft>
                  <a:spcPts val="600"/>
                </a:spcAft>
                <a:buClrTx/>
                <a:defRPr/>
              </a:pPr>
              <a:r>
                <a:rPr lang="en-US" sz="2800" kern="1200">
                  <a:latin typeface="+mj-lt"/>
                  <a:ea typeface="+mn-ea"/>
                  <a:cs typeface="+mn-cs"/>
                </a:rPr>
                <a:t>What are your predictions on unseen data? What is the donor profile of a repeat donor? Define the process, your model parameters, its metrics, and why you chose that model for your solution?</a:t>
              </a:r>
              <a:endParaRPr lang="en-GB" sz="2800" b="1" kern="1200">
                <a:solidFill>
                  <a:srgbClr val="00338D"/>
                </a:solidFill>
                <a:ea typeface="+mn-ea"/>
                <a:cs typeface="+mn-cs"/>
              </a:endParaRPr>
            </a:p>
          </p:txBody>
        </p:sp>
        <p:sp>
          <p:nvSpPr>
            <p:cNvPr id="21" name="TextBox 20">
              <a:extLst>
                <a:ext uri="{FF2B5EF4-FFF2-40B4-BE49-F238E27FC236}">
                  <a16:creationId xmlns:a16="http://schemas.microsoft.com/office/drawing/2014/main" id="{38CB11AF-D4D6-96FA-49A8-6E469D6120B5}"/>
                </a:ext>
              </a:extLst>
            </p:cNvPr>
            <p:cNvSpPr txBox="1"/>
            <p:nvPr/>
          </p:nvSpPr>
          <p:spPr>
            <a:xfrm>
              <a:off x="16064684" y="10864760"/>
              <a:ext cx="7281201" cy="2254909"/>
            </a:xfrm>
            <a:prstGeom prst="rect">
              <a:avLst/>
            </a:prstGeom>
            <a:noFill/>
          </p:spPr>
          <p:txBody>
            <a:bodyPr wrap="square" lIns="0" tIns="0" rIns="0" bIns="0" rtlCol="0">
              <a:spAutoFit/>
            </a:bodyPr>
            <a:lstStyle/>
            <a:p>
              <a:pPr defTabSz="1828343">
                <a:lnSpc>
                  <a:spcPct val="110000"/>
                </a:lnSpc>
                <a:spcAft>
                  <a:spcPts val="600"/>
                </a:spcAft>
                <a:buClrTx/>
                <a:defRPr/>
              </a:pPr>
              <a:r>
                <a:rPr lang="en-GB" sz="2800" b="1">
                  <a:solidFill>
                    <a:srgbClr val="003294"/>
                  </a:solidFill>
                </a:rPr>
                <a:t>7. Put it together in a presentation</a:t>
              </a:r>
              <a:endParaRPr lang="en-GB" sz="2800" b="1" kern="1200">
                <a:solidFill>
                  <a:srgbClr val="003294"/>
                </a:solidFill>
                <a:ea typeface="+mn-ea"/>
                <a:cs typeface="+mn-cs"/>
              </a:endParaRPr>
            </a:p>
            <a:p>
              <a:pPr>
                <a:lnSpc>
                  <a:spcPct val="110000"/>
                </a:lnSpc>
                <a:spcAft>
                  <a:spcPts val="1200"/>
                </a:spcAft>
                <a:defRPr/>
              </a:pPr>
              <a:r>
                <a:rPr lang="en-US" sz="2800" kern="1200">
                  <a:ea typeface="+mn-ea"/>
                  <a:cs typeface="+mn-cs"/>
                </a:rPr>
                <a:t>Present a compelling presentation that clearly states the problem, your solution, how it meets the criteria for success. </a:t>
              </a:r>
              <a:r>
                <a:rPr lang="en-US" sz="2800" b="1" kern="1200">
                  <a:ea typeface="+mn-ea"/>
                  <a:cs typeface="+mn-cs"/>
                </a:rPr>
                <a:t>Your presentation should be client-facing.</a:t>
              </a:r>
              <a:endParaRPr lang="en-GB" sz="2800" b="1" kern="1200">
                <a:ea typeface="+mn-ea"/>
                <a:cs typeface="+mn-cs"/>
              </a:endParaRPr>
            </a:p>
          </p:txBody>
        </p:sp>
        <p:sp>
          <p:nvSpPr>
            <p:cNvPr id="22" name="TextBox 21">
              <a:extLst>
                <a:ext uri="{FF2B5EF4-FFF2-40B4-BE49-F238E27FC236}">
                  <a16:creationId xmlns:a16="http://schemas.microsoft.com/office/drawing/2014/main" id="{A33C57AE-1082-A816-6CFA-A3587E75FE25}"/>
                </a:ext>
              </a:extLst>
            </p:cNvPr>
            <p:cNvSpPr txBox="1"/>
            <p:nvPr/>
          </p:nvSpPr>
          <p:spPr>
            <a:xfrm>
              <a:off x="17417714" y="4189894"/>
              <a:ext cx="6249434" cy="3141827"/>
            </a:xfrm>
            <a:prstGeom prst="rect">
              <a:avLst/>
            </a:prstGeom>
            <a:noFill/>
          </p:spPr>
          <p:txBody>
            <a:bodyPr wrap="square" lIns="0" tIns="0" rIns="0" bIns="0" rtlCol="0">
              <a:spAutoFit/>
            </a:bodyPr>
            <a:lstStyle/>
            <a:p>
              <a:pPr defTabSz="1828343">
                <a:lnSpc>
                  <a:spcPct val="110000"/>
                </a:lnSpc>
                <a:spcAft>
                  <a:spcPts val="600"/>
                </a:spcAft>
                <a:buClrTx/>
                <a:defRPr/>
              </a:pPr>
              <a:r>
                <a:rPr lang="en-GB" sz="2800" b="1">
                  <a:solidFill>
                    <a:srgbClr val="00338D"/>
                  </a:solidFill>
                </a:rPr>
                <a:t>3. </a:t>
              </a:r>
              <a:r>
                <a:rPr lang="en-GB" sz="2800" b="1" kern="1200">
                  <a:solidFill>
                    <a:srgbClr val="00338D"/>
                  </a:solidFill>
                  <a:ea typeface="+mn-ea"/>
                  <a:cs typeface="+mn-cs"/>
                </a:rPr>
                <a:t>Clean and prepare the data</a:t>
              </a:r>
            </a:p>
            <a:p>
              <a:pPr>
                <a:lnSpc>
                  <a:spcPct val="110000"/>
                </a:lnSpc>
                <a:spcAft>
                  <a:spcPts val="1200"/>
                </a:spcAft>
                <a:defRPr/>
              </a:pPr>
              <a:r>
                <a:rPr lang="en-US" sz="2800" kern="1200">
                  <a:ea typeface="+mn-ea"/>
                  <a:cs typeface="+mn-cs"/>
                </a:rPr>
                <a:t>Clean, transform, join, and group the data to answer your problem statement. Perform Exploratory Data Analysis (EDA) to </a:t>
              </a:r>
              <a:r>
                <a:rPr lang="en-US" sz="2800" b="1" kern="1200">
                  <a:ea typeface="+mn-ea"/>
                  <a:cs typeface="+mn-cs"/>
                </a:rPr>
                <a:t>understand the shape and trends in the data. Define your target variable(s).</a:t>
              </a:r>
              <a:endParaRPr lang="en-GB" sz="2800" b="1" kern="1200">
                <a:ea typeface="+mn-ea"/>
                <a:cs typeface="+mn-cs"/>
              </a:endParaRPr>
            </a:p>
          </p:txBody>
        </p:sp>
        <p:sp>
          <p:nvSpPr>
            <p:cNvPr id="23" name="Oval 22">
              <a:extLst>
                <a:ext uri="{FF2B5EF4-FFF2-40B4-BE49-F238E27FC236}">
                  <a16:creationId xmlns:a16="http://schemas.microsoft.com/office/drawing/2014/main" id="{2F6DCFE1-0675-27EF-3427-1954416AA2FD}"/>
                </a:ext>
              </a:extLst>
            </p:cNvPr>
            <p:cNvSpPr/>
            <p:nvPr/>
          </p:nvSpPr>
          <p:spPr>
            <a:xfrm>
              <a:off x="16273111" y="4902591"/>
              <a:ext cx="1073766" cy="1073766"/>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109192" tIns="109192" rIns="109192" bIns="109192" rtlCol="0" anchor="ctr"/>
            <a:lstStyle/>
            <a:p>
              <a:pPr algn="l"/>
              <a:endParaRPr lang="en-GB" sz="2800" err="1">
                <a:solidFill>
                  <a:schemeClr val="bg1"/>
                </a:solidFill>
              </a:endParaRPr>
            </a:p>
          </p:txBody>
        </p:sp>
        <p:sp>
          <p:nvSpPr>
            <p:cNvPr id="24" name="Oval 23">
              <a:extLst>
                <a:ext uri="{FF2B5EF4-FFF2-40B4-BE49-F238E27FC236}">
                  <a16:creationId xmlns:a16="http://schemas.microsoft.com/office/drawing/2014/main" id="{2EC35B6C-E694-9F47-F422-4A6CE5C5AC91}"/>
                </a:ext>
              </a:extLst>
            </p:cNvPr>
            <p:cNvSpPr/>
            <p:nvPr/>
          </p:nvSpPr>
          <p:spPr>
            <a:xfrm>
              <a:off x="6696118" y="8052182"/>
              <a:ext cx="1073766" cy="107376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09192" tIns="109192" rIns="109192" bIns="109192" rtlCol="0" anchor="ctr"/>
            <a:lstStyle/>
            <a:p>
              <a:pPr algn="l"/>
              <a:endParaRPr lang="en-GB" sz="2800" err="1">
                <a:solidFill>
                  <a:schemeClr val="bg1"/>
                </a:solidFill>
              </a:endParaRPr>
            </a:p>
          </p:txBody>
        </p:sp>
        <p:grpSp>
          <p:nvGrpSpPr>
            <p:cNvPr id="25" name="Group 24">
              <a:extLst>
                <a:ext uri="{FF2B5EF4-FFF2-40B4-BE49-F238E27FC236}">
                  <a16:creationId xmlns:a16="http://schemas.microsoft.com/office/drawing/2014/main" id="{DF5260D1-CC3A-4C42-F182-A1D4632D9132}"/>
                </a:ext>
              </a:extLst>
            </p:cNvPr>
            <p:cNvGrpSpPr/>
            <p:nvPr/>
          </p:nvGrpSpPr>
          <p:grpSpPr>
            <a:xfrm>
              <a:off x="11151861" y="6493426"/>
              <a:ext cx="1073766" cy="1073766"/>
              <a:chOff x="5981648" y="4416484"/>
              <a:chExt cx="537023" cy="537023"/>
            </a:xfrm>
          </p:grpSpPr>
          <p:sp>
            <p:nvSpPr>
              <p:cNvPr id="26" name="Oval 25">
                <a:extLst>
                  <a:ext uri="{FF2B5EF4-FFF2-40B4-BE49-F238E27FC236}">
                    <a16:creationId xmlns:a16="http://schemas.microsoft.com/office/drawing/2014/main" id="{E4AD1A48-97EB-8C11-86B9-F5407D2341CF}"/>
                  </a:ext>
                </a:extLst>
              </p:cNvPr>
              <p:cNvSpPr/>
              <p:nvPr/>
            </p:nvSpPr>
            <p:spPr>
              <a:xfrm>
                <a:off x="5981648" y="4416484"/>
                <a:ext cx="537023" cy="53702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9192" tIns="109192" rIns="109192" bIns="109192" rtlCol="0" anchor="ctr"/>
              <a:lstStyle/>
              <a:p>
                <a:pPr algn="l"/>
                <a:endParaRPr lang="en-GB" sz="2800" err="1">
                  <a:solidFill>
                    <a:schemeClr val="bg1"/>
                  </a:solidFill>
                </a:endParaRPr>
              </a:p>
            </p:txBody>
          </p:sp>
          <p:grpSp>
            <p:nvGrpSpPr>
              <p:cNvPr id="27" name="Group 26">
                <a:extLst>
                  <a:ext uri="{FF2B5EF4-FFF2-40B4-BE49-F238E27FC236}">
                    <a16:creationId xmlns:a16="http://schemas.microsoft.com/office/drawing/2014/main" id="{6FE10C58-CCA2-BE14-0846-5773D9E2E9D5}"/>
                  </a:ext>
                </a:extLst>
              </p:cNvPr>
              <p:cNvGrpSpPr/>
              <p:nvPr/>
            </p:nvGrpSpPr>
            <p:grpSpPr>
              <a:xfrm>
                <a:off x="6108700" y="4546190"/>
                <a:ext cx="275844" cy="275844"/>
                <a:chOff x="2178173" y="7523647"/>
                <a:chExt cx="495086" cy="495086"/>
              </a:xfrm>
              <a:solidFill>
                <a:schemeClr val="bg1"/>
              </a:solidFill>
            </p:grpSpPr>
            <p:sp>
              <p:nvSpPr>
                <p:cNvPr id="28" name="Freeform: Shape 27">
                  <a:extLst>
                    <a:ext uri="{FF2B5EF4-FFF2-40B4-BE49-F238E27FC236}">
                      <a16:creationId xmlns:a16="http://schemas.microsoft.com/office/drawing/2014/main" id="{69CC3805-E612-AC53-DDA7-48B50DE8A79F}"/>
                    </a:ext>
                  </a:extLst>
                </p:cNvPr>
                <p:cNvSpPr/>
                <p:nvPr/>
              </p:nvSpPr>
              <p:spPr>
                <a:xfrm>
                  <a:off x="2178173" y="7523647"/>
                  <a:ext cx="495086" cy="495086"/>
                </a:xfrm>
                <a:custGeom>
                  <a:avLst/>
                  <a:gdLst>
                    <a:gd name="connsiteX0" fmla="*/ 43684 w 495086"/>
                    <a:gd name="connsiteY0" fmla="*/ 0 h 495086"/>
                    <a:gd name="connsiteX1" fmla="*/ 0 w 495086"/>
                    <a:gd name="connsiteY1" fmla="*/ 0 h 495086"/>
                    <a:gd name="connsiteX2" fmla="*/ 0 w 495086"/>
                    <a:gd name="connsiteY2" fmla="*/ 495087 h 495086"/>
                    <a:gd name="connsiteX3" fmla="*/ 495087 w 495086"/>
                    <a:gd name="connsiteY3" fmla="*/ 495087 h 495086"/>
                    <a:gd name="connsiteX4" fmla="*/ 495087 w 495086"/>
                    <a:gd name="connsiteY4" fmla="*/ 451403 h 495086"/>
                    <a:gd name="connsiteX5" fmla="*/ 43684 w 495086"/>
                    <a:gd name="connsiteY5" fmla="*/ 451403 h 495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086" h="495086">
                      <a:moveTo>
                        <a:pt x="43684" y="0"/>
                      </a:moveTo>
                      <a:lnTo>
                        <a:pt x="0" y="0"/>
                      </a:lnTo>
                      <a:lnTo>
                        <a:pt x="0" y="495087"/>
                      </a:lnTo>
                      <a:lnTo>
                        <a:pt x="495087" y="495087"/>
                      </a:lnTo>
                      <a:lnTo>
                        <a:pt x="495087" y="451403"/>
                      </a:lnTo>
                      <a:lnTo>
                        <a:pt x="43684" y="451403"/>
                      </a:lnTo>
                      <a:close/>
                    </a:path>
                  </a:pathLst>
                </a:custGeom>
                <a:grpFill/>
                <a:ln w="7243" cap="flat">
                  <a:noFill/>
                  <a:prstDash val="solid"/>
                  <a:miter/>
                </a:ln>
              </p:spPr>
              <p:txBody>
                <a:bodyPr rtlCol="0" anchor="ctr"/>
                <a:lstStyle/>
                <a:p>
                  <a:endParaRPr lang="en-US" sz="2800"/>
                </a:p>
              </p:txBody>
            </p:sp>
            <p:sp>
              <p:nvSpPr>
                <p:cNvPr id="29" name="Freeform: Shape 28">
                  <a:extLst>
                    <a:ext uri="{FF2B5EF4-FFF2-40B4-BE49-F238E27FC236}">
                      <a16:creationId xmlns:a16="http://schemas.microsoft.com/office/drawing/2014/main" id="{4E47B54C-C138-6B4F-F7E3-B4E1FC043E5E}"/>
                    </a:ext>
                  </a:extLst>
                </p:cNvPr>
                <p:cNvSpPr/>
                <p:nvPr/>
              </p:nvSpPr>
              <p:spPr>
                <a:xfrm>
                  <a:off x="2265541" y="7676542"/>
                  <a:ext cx="80087" cy="254824"/>
                </a:xfrm>
                <a:custGeom>
                  <a:avLst/>
                  <a:gdLst>
                    <a:gd name="connsiteX0" fmla="*/ 0 w 80087"/>
                    <a:gd name="connsiteY0" fmla="*/ 0 h 254824"/>
                    <a:gd name="connsiteX1" fmla="*/ 80088 w 80087"/>
                    <a:gd name="connsiteY1" fmla="*/ 0 h 254824"/>
                    <a:gd name="connsiteX2" fmla="*/ 80088 w 80087"/>
                    <a:gd name="connsiteY2" fmla="*/ 254824 h 254824"/>
                    <a:gd name="connsiteX3" fmla="*/ 0 w 80087"/>
                    <a:gd name="connsiteY3" fmla="*/ 254824 h 254824"/>
                  </a:gdLst>
                  <a:ahLst/>
                  <a:cxnLst>
                    <a:cxn ang="0">
                      <a:pos x="connsiteX0" y="connsiteY0"/>
                    </a:cxn>
                    <a:cxn ang="0">
                      <a:pos x="connsiteX1" y="connsiteY1"/>
                    </a:cxn>
                    <a:cxn ang="0">
                      <a:pos x="connsiteX2" y="connsiteY2"/>
                    </a:cxn>
                    <a:cxn ang="0">
                      <a:pos x="connsiteX3" y="connsiteY3"/>
                    </a:cxn>
                  </a:cxnLst>
                  <a:rect l="l" t="t" r="r" b="b"/>
                  <a:pathLst>
                    <a:path w="80087" h="254824">
                      <a:moveTo>
                        <a:pt x="0" y="0"/>
                      </a:moveTo>
                      <a:lnTo>
                        <a:pt x="80088" y="0"/>
                      </a:lnTo>
                      <a:lnTo>
                        <a:pt x="80088" y="254824"/>
                      </a:lnTo>
                      <a:lnTo>
                        <a:pt x="0" y="254824"/>
                      </a:lnTo>
                      <a:close/>
                    </a:path>
                  </a:pathLst>
                </a:custGeom>
                <a:grpFill/>
                <a:ln w="7243" cap="flat">
                  <a:noFill/>
                  <a:prstDash val="solid"/>
                  <a:miter/>
                </a:ln>
              </p:spPr>
              <p:txBody>
                <a:bodyPr rtlCol="0" anchor="ctr"/>
                <a:lstStyle/>
                <a:p>
                  <a:endParaRPr lang="en-US" sz="2800"/>
                </a:p>
              </p:txBody>
            </p:sp>
            <p:sp>
              <p:nvSpPr>
                <p:cNvPr id="30" name="Freeform: Shape 29">
                  <a:extLst>
                    <a:ext uri="{FF2B5EF4-FFF2-40B4-BE49-F238E27FC236}">
                      <a16:creationId xmlns:a16="http://schemas.microsoft.com/office/drawing/2014/main" id="{2FD3318A-BD48-DC20-FD97-5FB0A9E61953}"/>
                    </a:ext>
                  </a:extLst>
                </p:cNvPr>
                <p:cNvSpPr/>
                <p:nvPr/>
              </p:nvSpPr>
              <p:spPr>
                <a:xfrm>
                  <a:off x="2374752" y="7523647"/>
                  <a:ext cx="80087" cy="407718"/>
                </a:xfrm>
                <a:custGeom>
                  <a:avLst/>
                  <a:gdLst>
                    <a:gd name="connsiteX0" fmla="*/ 0 w 80087"/>
                    <a:gd name="connsiteY0" fmla="*/ 0 h 407718"/>
                    <a:gd name="connsiteX1" fmla="*/ 80088 w 80087"/>
                    <a:gd name="connsiteY1" fmla="*/ 0 h 407718"/>
                    <a:gd name="connsiteX2" fmla="*/ 80088 w 80087"/>
                    <a:gd name="connsiteY2" fmla="*/ 407719 h 407718"/>
                    <a:gd name="connsiteX3" fmla="*/ 0 w 80087"/>
                    <a:gd name="connsiteY3" fmla="*/ 407719 h 407718"/>
                  </a:gdLst>
                  <a:ahLst/>
                  <a:cxnLst>
                    <a:cxn ang="0">
                      <a:pos x="connsiteX0" y="connsiteY0"/>
                    </a:cxn>
                    <a:cxn ang="0">
                      <a:pos x="connsiteX1" y="connsiteY1"/>
                    </a:cxn>
                    <a:cxn ang="0">
                      <a:pos x="connsiteX2" y="connsiteY2"/>
                    </a:cxn>
                    <a:cxn ang="0">
                      <a:pos x="connsiteX3" y="connsiteY3"/>
                    </a:cxn>
                  </a:cxnLst>
                  <a:rect l="l" t="t" r="r" b="b"/>
                  <a:pathLst>
                    <a:path w="80087" h="407718">
                      <a:moveTo>
                        <a:pt x="0" y="0"/>
                      </a:moveTo>
                      <a:lnTo>
                        <a:pt x="80088" y="0"/>
                      </a:lnTo>
                      <a:lnTo>
                        <a:pt x="80088" y="407719"/>
                      </a:lnTo>
                      <a:lnTo>
                        <a:pt x="0" y="407719"/>
                      </a:lnTo>
                      <a:close/>
                    </a:path>
                  </a:pathLst>
                </a:custGeom>
                <a:grpFill/>
                <a:ln w="7243" cap="flat">
                  <a:noFill/>
                  <a:prstDash val="solid"/>
                  <a:miter/>
                </a:ln>
              </p:spPr>
              <p:txBody>
                <a:bodyPr rtlCol="0" anchor="ctr"/>
                <a:lstStyle/>
                <a:p>
                  <a:endParaRPr lang="en-US" sz="2800"/>
                </a:p>
              </p:txBody>
            </p:sp>
            <p:sp>
              <p:nvSpPr>
                <p:cNvPr id="31" name="Freeform: Shape 30">
                  <a:extLst>
                    <a:ext uri="{FF2B5EF4-FFF2-40B4-BE49-F238E27FC236}">
                      <a16:creationId xmlns:a16="http://schemas.microsoft.com/office/drawing/2014/main" id="{4ED4814F-B708-2B90-5A7C-E188B1BB537F}"/>
                    </a:ext>
                  </a:extLst>
                </p:cNvPr>
                <p:cNvSpPr/>
                <p:nvPr/>
              </p:nvSpPr>
              <p:spPr>
                <a:xfrm>
                  <a:off x="2483962" y="7676542"/>
                  <a:ext cx="80087" cy="254824"/>
                </a:xfrm>
                <a:custGeom>
                  <a:avLst/>
                  <a:gdLst>
                    <a:gd name="connsiteX0" fmla="*/ 0 w 80087"/>
                    <a:gd name="connsiteY0" fmla="*/ 0 h 254824"/>
                    <a:gd name="connsiteX1" fmla="*/ 80088 w 80087"/>
                    <a:gd name="connsiteY1" fmla="*/ 0 h 254824"/>
                    <a:gd name="connsiteX2" fmla="*/ 80088 w 80087"/>
                    <a:gd name="connsiteY2" fmla="*/ 254824 h 254824"/>
                    <a:gd name="connsiteX3" fmla="*/ 0 w 80087"/>
                    <a:gd name="connsiteY3" fmla="*/ 254824 h 254824"/>
                  </a:gdLst>
                  <a:ahLst/>
                  <a:cxnLst>
                    <a:cxn ang="0">
                      <a:pos x="connsiteX0" y="connsiteY0"/>
                    </a:cxn>
                    <a:cxn ang="0">
                      <a:pos x="connsiteX1" y="connsiteY1"/>
                    </a:cxn>
                    <a:cxn ang="0">
                      <a:pos x="connsiteX2" y="connsiteY2"/>
                    </a:cxn>
                    <a:cxn ang="0">
                      <a:pos x="connsiteX3" y="connsiteY3"/>
                    </a:cxn>
                  </a:cxnLst>
                  <a:rect l="l" t="t" r="r" b="b"/>
                  <a:pathLst>
                    <a:path w="80087" h="254824">
                      <a:moveTo>
                        <a:pt x="0" y="0"/>
                      </a:moveTo>
                      <a:lnTo>
                        <a:pt x="80088" y="0"/>
                      </a:lnTo>
                      <a:lnTo>
                        <a:pt x="80088" y="254824"/>
                      </a:lnTo>
                      <a:lnTo>
                        <a:pt x="0" y="254824"/>
                      </a:lnTo>
                      <a:close/>
                    </a:path>
                  </a:pathLst>
                </a:custGeom>
                <a:grpFill/>
                <a:ln w="7243" cap="flat">
                  <a:noFill/>
                  <a:prstDash val="solid"/>
                  <a:miter/>
                </a:ln>
              </p:spPr>
              <p:txBody>
                <a:bodyPr rtlCol="0" anchor="ctr"/>
                <a:lstStyle/>
                <a:p>
                  <a:endParaRPr lang="en-US" sz="2800"/>
                </a:p>
              </p:txBody>
            </p:sp>
            <p:sp>
              <p:nvSpPr>
                <p:cNvPr id="32" name="Freeform: Shape 31">
                  <a:extLst>
                    <a:ext uri="{FF2B5EF4-FFF2-40B4-BE49-F238E27FC236}">
                      <a16:creationId xmlns:a16="http://schemas.microsoft.com/office/drawing/2014/main" id="{EDA64DCE-1D35-B64B-AB5E-20BE1345FBA9}"/>
                    </a:ext>
                  </a:extLst>
                </p:cNvPr>
                <p:cNvSpPr/>
                <p:nvPr/>
              </p:nvSpPr>
              <p:spPr>
                <a:xfrm>
                  <a:off x="2593172" y="7800313"/>
                  <a:ext cx="80087" cy="131052"/>
                </a:xfrm>
                <a:custGeom>
                  <a:avLst/>
                  <a:gdLst>
                    <a:gd name="connsiteX0" fmla="*/ 0 w 80087"/>
                    <a:gd name="connsiteY0" fmla="*/ 0 h 131052"/>
                    <a:gd name="connsiteX1" fmla="*/ 80088 w 80087"/>
                    <a:gd name="connsiteY1" fmla="*/ 0 h 131052"/>
                    <a:gd name="connsiteX2" fmla="*/ 80088 w 80087"/>
                    <a:gd name="connsiteY2" fmla="*/ 131052 h 131052"/>
                    <a:gd name="connsiteX3" fmla="*/ 0 w 80087"/>
                    <a:gd name="connsiteY3" fmla="*/ 131052 h 131052"/>
                  </a:gdLst>
                  <a:ahLst/>
                  <a:cxnLst>
                    <a:cxn ang="0">
                      <a:pos x="connsiteX0" y="connsiteY0"/>
                    </a:cxn>
                    <a:cxn ang="0">
                      <a:pos x="connsiteX1" y="connsiteY1"/>
                    </a:cxn>
                    <a:cxn ang="0">
                      <a:pos x="connsiteX2" y="connsiteY2"/>
                    </a:cxn>
                    <a:cxn ang="0">
                      <a:pos x="connsiteX3" y="connsiteY3"/>
                    </a:cxn>
                  </a:cxnLst>
                  <a:rect l="l" t="t" r="r" b="b"/>
                  <a:pathLst>
                    <a:path w="80087" h="131052">
                      <a:moveTo>
                        <a:pt x="0" y="0"/>
                      </a:moveTo>
                      <a:lnTo>
                        <a:pt x="80088" y="0"/>
                      </a:lnTo>
                      <a:lnTo>
                        <a:pt x="80088" y="131052"/>
                      </a:lnTo>
                      <a:lnTo>
                        <a:pt x="0" y="131052"/>
                      </a:lnTo>
                      <a:close/>
                    </a:path>
                  </a:pathLst>
                </a:custGeom>
                <a:grpFill/>
                <a:ln w="7243" cap="flat">
                  <a:noFill/>
                  <a:prstDash val="solid"/>
                  <a:miter/>
                </a:ln>
              </p:spPr>
              <p:txBody>
                <a:bodyPr rtlCol="0" anchor="ctr"/>
                <a:lstStyle/>
                <a:p>
                  <a:endParaRPr lang="en-US" sz="2800"/>
                </a:p>
              </p:txBody>
            </p:sp>
          </p:grpSp>
        </p:grpSp>
        <p:grpSp>
          <p:nvGrpSpPr>
            <p:cNvPr id="33" name="Group 32">
              <a:extLst>
                <a:ext uri="{FF2B5EF4-FFF2-40B4-BE49-F238E27FC236}">
                  <a16:creationId xmlns:a16="http://schemas.microsoft.com/office/drawing/2014/main" id="{8EEF0978-7AB5-3BA4-1FEC-676CD806A725}"/>
                </a:ext>
              </a:extLst>
            </p:cNvPr>
            <p:cNvGrpSpPr/>
            <p:nvPr/>
          </p:nvGrpSpPr>
          <p:grpSpPr>
            <a:xfrm>
              <a:off x="3442889" y="3352291"/>
              <a:ext cx="1073766" cy="1073766"/>
              <a:chOff x="2068497" y="1332765"/>
              <a:chExt cx="537023" cy="537023"/>
            </a:xfrm>
          </p:grpSpPr>
          <p:sp>
            <p:nvSpPr>
              <p:cNvPr id="34" name="Oval 33">
                <a:extLst>
                  <a:ext uri="{FF2B5EF4-FFF2-40B4-BE49-F238E27FC236}">
                    <a16:creationId xmlns:a16="http://schemas.microsoft.com/office/drawing/2014/main" id="{60ABE5CC-C89F-B9E7-0FAC-51D93A9A790A}"/>
                  </a:ext>
                </a:extLst>
              </p:cNvPr>
              <p:cNvSpPr/>
              <p:nvPr/>
            </p:nvSpPr>
            <p:spPr>
              <a:xfrm>
                <a:off x="2068497" y="1332765"/>
                <a:ext cx="537023" cy="537023"/>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9192" tIns="109192" rIns="109192" bIns="109192" rtlCol="0" anchor="ctr"/>
              <a:lstStyle/>
              <a:p>
                <a:pPr algn="l"/>
                <a:endParaRPr lang="en-GB" sz="2800" err="1">
                  <a:solidFill>
                    <a:schemeClr val="bg1"/>
                  </a:solidFill>
                </a:endParaRPr>
              </a:p>
            </p:txBody>
          </p:sp>
          <p:grpSp>
            <p:nvGrpSpPr>
              <p:cNvPr id="35" name="Group 34">
                <a:extLst>
                  <a:ext uri="{FF2B5EF4-FFF2-40B4-BE49-F238E27FC236}">
                    <a16:creationId xmlns:a16="http://schemas.microsoft.com/office/drawing/2014/main" id="{64E9B81D-F0B1-F0D0-14AE-F5A630DF0B71}"/>
                  </a:ext>
                </a:extLst>
              </p:cNvPr>
              <p:cNvGrpSpPr/>
              <p:nvPr/>
            </p:nvGrpSpPr>
            <p:grpSpPr>
              <a:xfrm>
                <a:off x="2211075" y="1467705"/>
                <a:ext cx="251848" cy="254439"/>
                <a:chOff x="4508501" y="2362200"/>
                <a:chExt cx="1235075" cy="1247775"/>
              </a:xfrm>
              <a:solidFill>
                <a:schemeClr val="bg1"/>
              </a:solidFill>
            </p:grpSpPr>
            <p:sp>
              <p:nvSpPr>
                <p:cNvPr id="36" name="Freeform 52">
                  <a:extLst>
                    <a:ext uri="{FF2B5EF4-FFF2-40B4-BE49-F238E27FC236}">
                      <a16:creationId xmlns:a16="http://schemas.microsoft.com/office/drawing/2014/main" id="{C50ED4A3-B796-F2C5-869C-B75F9D83EBBE}"/>
                    </a:ext>
                  </a:extLst>
                </p:cNvPr>
                <p:cNvSpPr>
                  <a:spLocks/>
                </p:cNvSpPr>
                <p:nvPr/>
              </p:nvSpPr>
              <p:spPr bwMode="auto">
                <a:xfrm>
                  <a:off x="4640263" y="2430463"/>
                  <a:ext cx="354013" cy="822325"/>
                </a:xfrm>
                <a:custGeom>
                  <a:avLst/>
                  <a:gdLst>
                    <a:gd name="T0" fmla="*/ 0 w 223"/>
                    <a:gd name="T1" fmla="*/ 518 h 518"/>
                    <a:gd name="T2" fmla="*/ 223 w 223"/>
                    <a:gd name="T3" fmla="*/ 476 h 518"/>
                    <a:gd name="T4" fmla="*/ 223 w 223"/>
                    <a:gd name="T5" fmla="*/ 0 h 518"/>
                    <a:gd name="T6" fmla="*/ 0 w 223"/>
                    <a:gd name="T7" fmla="*/ 41 h 518"/>
                    <a:gd name="T8" fmla="*/ 0 w 223"/>
                    <a:gd name="T9" fmla="*/ 518 h 518"/>
                  </a:gdLst>
                  <a:ahLst/>
                  <a:cxnLst>
                    <a:cxn ang="0">
                      <a:pos x="T0" y="T1"/>
                    </a:cxn>
                    <a:cxn ang="0">
                      <a:pos x="T2" y="T3"/>
                    </a:cxn>
                    <a:cxn ang="0">
                      <a:pos x="T4" y="T5"/>
                    </a:cxn>
                    <a:cxn ang="0">
                      <a:pos x="T6" y="T7"/>
                    </a:cxn>
                    <a:cxn ang="0">
                      <a:pos x="T8" y="T9"/>
                    </a:cxn>
                  </a:cxnLst>
                  <a:rect l="0" t="0" r="r" b="b"/>
                  <a:pathLst>
                    <a:path w="223" h="518">
                      <a:moveTo>
                        <a:pt x="0" y="518"/>
                      </a:moveTo>
                      <a:lnTo>
                        <a:pt x="223" y="476"/>
                      </a:lnTo>
                      <a:lnTo>
                        <a:pt x="223" y="0"/>
                      </a:lnTo>
                      <a:lnTo>
                        <a:pt x="0" y="41"/>
                      </a:lnTo>
                      <a:lnTo>
                        <a:pt x="0" y="5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32" tIns="91416" rIns="182832" bIns="91416" numCol="1" anchor="t" anchorCtr="0" compatLnSpc="1">
                  <a:prstTxWarp prst="textNoShape">
                    <a:avLst/>
                  </a:prstTxWarp>
                </a:bodyPr>
                <a:lstStyle/>
                <a:p>
                  <a:endParaRPr lang="en-GB" sz="2800"/>
                </a:p>
              </p:txBody>
            </p:sp>
            <p:sp>
              <p:nvSpPr>
                <p:cNvPr id="37" name="Freeform 53">
                  <a:extLst>
                    <a:ext uri="{FF2B5EF4-FFF2-40B4-BE49-F238E27FC236}">
                      <a16:creationId xmlns:a16="http://schemas.microsoft.com/office/drawing/2014/main" id="{C5626BC3-3035-BCB3-FB07-C87557E6051B}"/>
                    </a:ext>
                  </a:extLst>
                </p:cNvPr>
                <p:cNvSpPr>
                  <a:spLocks/>
                </p:cNvSpPr>
                <p:nvPr/>
              </p:nvSpPr>
              <p:spPr bwMode="auto">
                <a:xfrm>
                  <a:off x="5016501" y="2430463"/>
                  <a:ext cx="352425" cy="889000"/>
                </a:xfrm>
                <a:custGeom>
                  <a:avLst/>
                  <a:gdLst>
                    <a:gd name="T0" fmla="*/ 0 w 222"/>
                    <a:gd name="T1" fmla="*/ 476 h 560"/>
                    <a:gd name="T2" fmla="*/ 222 w 222"/>
                    <a:gd name="T3" fmla="*/ 560 h 560"/>
                    <a:gd name="T4" fmla="*/ 222 w 222"/>
                    <a:gd name="T5" fmla="*/ 84 h 560"/>
                    <a:gd name="T6" fmla="*/ 0 w 222"/>
                    <a:gd name="T7" fmla="*/ 0 h 560"/>
                    <a:gd name="T8" fmla="*/ 0 w 222"/>
                    <a:gd name="T9" fmla="*/ 476 h 560"/>
                  </a:gdLst>
                  <a:ahLst/>
                  <a:cxnLst>
                    <a:cxn ang="0">
                      <a:pos x="T0" y="T1"/>
                    </a:cxn>
                    <a:cxn ang="0">
                      <a:pos x="T2" y="T3"/>
                    </a:cxn>
                    <a:cxn ang="0">
                      <a:pos x="T4" y="T5"/>
                    </a:cxn>
                    <a:cxn ang="0">
                      <a:pos x="T6" y="T7"/>
                    </a:cxn>
                    <a:cxn ang="0">
                      <a:pos x="T8" y="T9"/>
                    </a:cxn>
                  </a:cxnLst>
                  <a:rect l="0" t="0" r="r" b="b"/>
                  <a:pathLst>
                    <a:path w="222" h="560">
                      <a:moveTo>
                        <a:pt x="0" y="476"/>
                      </a:moveTo>
                      <a:lnTo>
                        <a:pt x="222" y="560"/>
                      </a:lnTo>
                      <a:lnTo>
                        <a:pt x="222" y="84"/>
                      </a:lnTo>
                      <a:lnTo>
                        <a:pt x="0" y="0"/>
                      </a:lnTo>
                      <a:lnTo>
                        <a:pt x="0" y="4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32" tIns="91416" rIns="182832" bIns="91416" numCol="1" anchor="t" anchorCtr="0" compatLnSpc="1">
                  <a:prstTxWarp prst="textNoShape">
                    <a:avLst/>
                  </a:prstTxWarp>
                </a:bodyPr>
                <a:lstStyle/>
                <a:p>
                  <a:endParaRPr lang="en-GB" sz="2800"/>
                </a:p>
              </p:txBody>
            </p:sp>
            <p:sp>
              <p:nvSpPr>
                <p:cNvPr id="38" name="Freeform 54">
                  <a:extLst>
                    <a:ext uri="{FF2B5EF4-FFF2-40B4-BE49-F238E27FC236}">
                      <a16:creationId xmlns:a16="http://schemas.microsoft.com/office/drawing/2014/main" id="{DE6F7A8B-CDE1-4D14-ECA5-6A006D27B7C9}"/>
                    </a:ext>
                  </a:extLst>
                </p:cNvPr>
                <p:cNvSpPr>
                  <a:spLocks/>
                </p:cNvSpPr>
                <p:nvPr/>
              </p:nvSpPr>
              <p:spPr bwMode="auto">
                <a:xfrm>
                  <a:off x="5391151" y="2495550"/>
                  <a:ext cx="352425" cy="823913"/>
                </a:xfrm>
                <a:custGeom>
                  <a:avLst/>
                  <a:gdLst>
                    <a:gd name="T0" fmla="*/ 0 w 222"/>
                    <a:gd name="T1" fmla="*/ 43 h 519"/>
                    <a:gd name="T2" fmla="*/ 0 w 222"/>
                    <a:gd name="T3" fmla="*/ 519 h 519"/>
                    <a:gd name="T4" fmla="*/ 222 w 222"/>
                    <a:gd name="T5" fmla="*/ 477 h 519"/>
                    <a:gd name="T6" fmla="*/ 222 w 222"/>
                    <a:gd name="T7" fmla="*/ 0 h 519"/>
                    <a:gd name="T8" fmla="*/ 0 w 222"/>
                    <a:gd name="T9" fmla="*/ 43 h 519"/>
                  </a:gdLst>
                  <a:ahLst/>
                  <a:cxnLst>
                    <a:cxn ang="0">
                      <a:pos x="T0" y="T1"/>
                    </a:cxn>
                    <a:cxn ang="0">
                      <a:pos x="T2" y="T3"/>
                    </a:cxn>
                    <a:cxn ang="0">
                      <a:pos x="T4" y="T5"/>
                    </a:cxn>
                    <a:cxn ang="0">
                      <a:pos x="T6" y="T7"/>
                    </a:cxn>
                    <a:cxn ang="0">
                      <a:pos x="T8" y="T9"/>
                    </a:cxn>
                  </a:cxnLst>
                  <a:rect l="0" t="0" r="r" b="b"/>
                  <a:pathLst>
                    <a:path w="222" h="519">
                      <a:moveTo>
                        <a:pt x="0" y="43"/>
                      </a:moveTo>
                      <a:lnTo>
                        <a:pt x="0" y="519"/>
                      </a:lnTo>
                      <a:lnTo>
                        <a:pt x="222" y="477"/>
                      </a:lnTo>
                      <a:lnTo>
                        <a:pt x="222" y="0"/>
                      </a:lnTo>
                      <a:lnTo>
                        <a:pt x="0"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32" tIns="91416" rIns="182832" bIns="91416" numCol="1" anchor="t" anchorCtr="0" compatLnSpc="1">
                  <a:prstTxWarp prst="textNoShape">
                    <a:avLst/>
                  </a:prstTxWarp>
                </a:bodyPr>
                <a:lstStyle/>
                <a:p>
                  <a:endParaRPr lang="en-GB" sz="2800"/>
                </a:p>
              </p:txBody>
            </p:sp>
            <p:sp>
              <p:nvSpPr>
                <p:cNvPr id="39" name="Freeform 55">
                  <a:extLst>
                    <a:ext uri="{FF2B5EF4-FFF2-40B4-BE49-F238E27FC236}">
                      <a16:creationId xmlns:a16="http://schemas.microsoft.com/office/drawing/2014/main" id="{123E044B-6AD3-8C90-C511-72E84CF3C6AA}"/>
                    </a:ext>
                  </a:extLst>
                </p:cNvPr>
                <p:cNvSpPr>
                  <a:spLocks/>
                </p:cNvSpPr>
                <p:nvPr/>
              </p:nvSpPr>
              <p:spPr bwMode="auto">
                <a:xfrm>
                  <a:off x="4508501" y="2362200"/>
                  <a:ext cx="131763" cy="1247775"/>
                </a:xfrm>
                <a:custGeom>
                  <a:avLst/>
                  <a:gdLst>
                    <a:gd name="T0" fmla="*/ 125 w 125"/>
                    <a:gd name="T1" fmla="*/ 63 h 1167"/>
                    <a:gd name="T2" fmla="*/ 63 w 125"/>
                    <a:gd name="T3" fmla="*/ 0 h 1167"/>
                    <a:gd name="T4" fmla="*/ 0 w 125"/>
                    <a:gd name="T5" fmla="*/ 63 h 1167"/>
                    <a:gd name="T6" fmla="*/ 42 w 125"/>
                    <a:gd name="T7" fmla="*/ 121 h 1167"/>
                    <a:gd name="T8" fmla="*/ 42 w 125"/>
                    <a:gd name="T9" fmla="*/ 1167 h 1167"/>
                    <a:gd name="T10" fmla="*/ 84 w 125"/>
                    <a:gd name="T11" fmla="*/ 1167 h 1167"/>
                    <a:gd name="T12" fmla="*/ 84 w 125"/>
                    <a:gd name="T13" fmla="*/ 121 h 1167"/>
                    <a:gd name="T14" fmla="*/ 125 w 125"/>
                    <a:gd name="T15" fmla="*/ 63 h 11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 h="1167">
                      <a:moveTo>
                        <a:pt x="125" y="63"/>
                      </a:moveTo>
                      <a:cubicBezTo>
                        <a:pt x="125" y="28"/>
                        <a:pt x="97" y="0"/>
                        <a:pt x="63" y="0"/>
                      </a:cubicBezTo>
                      <a:cubicBezTo>
                        <a:pt x="28" y="0"/>
                        <a:pt x="0" y="28"/>
                        <a:pt x="0" y="63"/>
                      </a:cubicBezTo>
                      <a:cubicBezTo>
                        <a:pt x="0" y="90"/>
                        <a:pt x="18" y="113"/>
                        <a:pt x="42" y="121"/>
                      </a:cubicBezTo>
                      <a:cubicBezTo>
                        <a:pt x="42" y="1167"/>
                        <a:pt x="42" y="1167"/>
                        <a:pt x="42" y="1167"/>
                      </a:cubicBezTo>
                      <a:cubicBezTo>
                        <a:pt x="84" y="1167"/>
                        <a:pt x="84" y="1167"/>
                        <a:pt x="84" y="1167"/>
                      </a:cubicBezTo>
                      <a:cubicBezTo>
                        <a:pt x="84" y="121"/>
                        <a:pt x="84" y="121"/>
                        <a:pt x="84" y="121"/>
                      </a:cubicBezTo>
                      <a:cubicBezTo>
                        <a:pt x="108" y="113"/>
                        <a:pt x="125" y="90"/>
                        <a:pt x="125" y="6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32" tIns="91416" rIns="182832" bIns="91416" numCol="1" anchor="t" anchorCtr="0" compatLnSpc="1">
                  <a:prstTxWarp prst="textNoShape">
                    <a:avLst/>
                  </a:prstTxWarp>
                </a:bodyPr>
                <a:lstStyle/>
                <a:p>
                  <a:endParaRPr lang="en-GB" sz="2800"/>
                </a:p>
              </p:txBody>
            </p:sp>
          </p:grpSp>
        </p:grpSp>
        <p:sp>
          <p:nvSpPr>
            <p:cNvPr id="40" name="Oval 39">
              <a:extLst>
                <a:ext uri="{FF2B5EF4-FFF2-40B4-BE49-F238E27FC236}">
                  <a16:creationId xmlns:a16="http://schemas.microsoft.com/office/drawing/2014/main" id="{E3B5E421-6E31-21C5-B0A6-1E805F32536F}"/>
                </a:ext>
              </a:extLst>
            </p:cNvPr>
            <p:cNvSpPr/>
            <p:nvPr/>
          </p:nvSpPr>
          <p:spPr>
            <a:xfrm>
              <a:off x="10981460" y="3276000"/>
              <a:ext cx="1073766" cy="107376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9192" tIns="109192" rIns="109192" bIns="109192" rtlCol="0" anchor="ctr"/>
            <a:lstStyle/>
            <a:p>
              <a:pPr algn="l"/>
              <a:endParaRPr lang="en-GB" sz="2800" err="1">
                <a:solidFill>
                  <a:schemeClr val="bg1"/>
                </a:solidFill>
              </a:endParaRPr>
            </a:p>
          </p:txBody>
        </p:sp>
        <p:sp>
          <p:nvSpPr>
            <p:cNvPr id="41" name="Oval 40">
              <a:extLst>
                <a:ext uri="{FF2B5EF4-FFF2-40B4-BE49-F238E27FC236}">
                  <a16:creationId xmlns:a16="http://schemas.microsoft.com/office/drawing/2014/main" id="{8E477D34-C99F-F591-D6FB-6FD9EBE245C1}"/>
                </a:ext>
              </a:extLst>
            </p:cNvPr>
            <p:cNvSpPr/>
            <p:nvPr/>
          </p:nvSpPr>
          <p:spPr>
            <a:xfrm>
              <a:off x="11746559" y="9858280"/>
              <a:ext cx="1073766" cy="107376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09192" tIns="109192" rIns="109192" bIns="109192" rtlCol="0" anchor="ctr"/>
            <a:lstStyle/>
            <a:p>
              <a:pPr algn="l"/>
              <a:endParaRPr lang="en-GB" sz="2800" err="1">
                <a:solidFill>
                  <a:schemeClr val="bg1"/>
                </a:solidFill>
              </a:endParaRPr>
            </a:p>
          </p:txBody>
        </p:sp>
        <p:grpSp>
          <p:nvGrpSpPr>
            <p:cNvPr id="42" name="Group 41">
              <a:extLst>
                <a:ext uri="{FF2B5EF4-FFF2-40B4-BE49-F238E27FC236}">
                  <a16:creationId xmlns:a16="http://schemas.microsoft.com/office/drawing/2014/main" id="{12C5BA19-4CA3-D86A-E2DF-9BABEF849953}"/>
                </a:ext>
              </a:extLst>
            </p:cNvPr>
            <p:cNvGrpSpPr/>
            <p:nvPr/>
          </p:nvGrpSpPr>
          <p:grpSpPr>
            <a:xfrm>
              <a:off x="19365069" y="9599603"/>
              <a:ext cx="1073766" cy="1073766"/>
              <a:chOff x="4448805" y="1347534"/>
              <a:chExt cx="537023" cy="537023"/>
            </a:xfrm>
          </p:grpSpPr>
          <p:sp>
            <p:nvSpPr>
              <p:cNvPr id="43" name="Oval 42">
                <a:extLst>
                  <a:ext uri="{FF2B5EF4-FFF2-40B4-BE49-F238E27FC236}">
                    <a16:creationId xmlns:a16="http://schemas.microsoft.com/office/drawing/2014/main" id="{D46157B4-2792-0CAE-F76A-E535FC54F2CD}"/>
                  </a:ext>
                </a:extLst>
              </p:cNvPr>
              <p:cNvSpPr/>
              <p:nvPr/>
            </p:nvSpPr>
            <p:spPr>
              <a:xfrm>
                <a:off x="4448805" y="1347534"/>
                <a:ext cx="537023" cy="53702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09192" tIns="109192" rIns="109192" bIns="109192" rtlCol="0" anchor="ctr"/>
              <a:lstStyle/>
              <a:p>
                <a:pPr algn="l"/>
                <a:endParaRPr lang="en-GB" sz="2800" err="1">
                  <a:solidFill>
                    <a:schemeClr val="bg1"/>
                  </a:solidFill>
                </a:endParaRPr>
              </a:p>
            </p:txBody>
          </p:sp>
          <p:grpSp>
            <p:nvGrpSpPr>
              <p:cNvPr id="44" name="Group 43">
                <a:extLst>
                  <a:ext uri="{FF2B5EF4-FFF2-40B4-BE49-F238E27FC236}">
                    <a16:creationId xmlns:a16="http://schemas.microsoft.com/office/drawing/2014/main" id="{43B45ECB-B4B0-C0D0-3658-C47F5165DECC}"/>
                  </a:ext>
                </a:extLst>
              </p:cNvPr>
              <p:cNvGrpSpPr/>
              <p:nvPr/>
            </p:nvGrpSpPr>
            <p:grpSpPr>
              <a:xfrm>
                <a:off x="4534436" y="1438241"/>
                <a:ext cx="365760" cy="365760"/>
                <a:chOff x="1092400" y="9393281"/>
                <a:chExt cx="1578566" cy="1578569"/>
              </a:xfrm>
              <a:solidFill>
                <a:schemeClr val="bg1"/>
              </a:solidFill>
            </p:grpSpPr>
            <p:sp>
              <p:nvSpPr>
                <p:cNvPr id="45" name="Freeform 15">
                  <a:extLst>
                    <a:ext uri="{FF2B5EF4-FFF2-40B4-BE49-F238E27FC236}">
                      <a16:creationId xmlns:a16="http://schemas.microsoft.com/office/drawing/2014/main" id="{64AA21F6-3061-6C49-4195-14B376A8225D}"/>
                    </a:ext>
                  </a:extLst>
                </p:cNvPr>
                <p:cNvSpPr>
                  <a:spLocks noEditPoints="1"/>
                </p:cNvSpPr>
                <p:nvPr/>
              </p:nvSpPr>
              <p:spPr bwMode="auto">
                <a:xfrm>
                  <a:off x="1092400" y="9393281"/>
                  <a:ext cx="1578566" cy="1578569"/>
                </a:xfrm>
                <a:custGeom>
                  <a:avLst/>
                  <a:gdLst>
                    <a:gd name="T0" fmla="*/ 0 w 1166"/>
                    <a:gd name="T1" fmla="*/ 583 h 1167"/>
                    <a:gd name="T2" fmla="*/ 1166 w 1166"/>
                    <a:gd name="T3" fmla="*/ 583 h 1167"/>
                    <a:gd name="T4" fmla="*/ 583 w 1166"/>
                    <a:gd name="T5" fmla="*/ 1083 h 1167"/>
                    <a:gd name="T6" fmla="*/ 139 w 1166"/>
                    <a:gd name="T7" fmla="*/ 354 h 1167"/>
                    <a:gd name="T8" fmla="*/ 271 w 1166"/>
                    <a:gd name="T9" fmla="*/ 193 h 1167"/>
                    <a:gd name="T10" fmla="*/ 728 w 1166"/>
                    <a:gd name="T11" fmla="*/ 105 h 1167"/>
                    <a:gd name="T12" fmla="*/ 708 w 1166"/>
                    <a:gd name="T13" fmla="*/ 167 h 1167"/>
                    <a:gd name="T14" fmla="*/ 604 w 1166"/>
                    <a:gd name="T15" fmla="*/ 146 h 1167"/>
                    <a:gd name="T16" fmla="*/ 500 w 1166"/>
                    <a:gd name="T17" fmla="*/ 292 h 1167"/>
                    <a:gd name="T18" fmla="*/ 541 w 1166"/>
                    <a:gd name="T19" fmla="*/ 271 h 1167"/>
                    <a:gd name="T20" fmla="*/ 604 w 1166"/>
                    <a:gd name="T21" fmla="*/ 250 h 1167"/>
                    <a:gd name="T22" fmla="*/ 583 w 1166"/>
                    <a:gd name="T23" fmla="*/ 333 h 1167"/>
                    <a:gd name="T24" fmla="*/ 541 w 1166"/>
                    <a:gd name="T25" fmla="*/ 313 h 1167"/>
                    <a:gd name="T26" fmla="*/ 416 w 1166"/>
                    <a:gd name="T27" fmla="*/ 396 h 1167"/>
                    <a:gd name="T28" fmla="*/ 354 w 1166"/>
                    <a:gd name="T29" fmla="*/ 479 h 1167"/>
                    <a:gd name="T30" fmla="*/ 437 w 1166"/>
                    <a:gd name="T31" fmla="*/ 458 h 1167"/>
                    <a:gd name="T32" fmla="*/ 541 w 1166"/>
                    <a:gd name="T33" fmla="*/ 500 h 1167"/>
                    <a:gd name="T34" fmla="*/ 625 w 1166"/>
                    <a:gd name="T35" fmla="*/ 479 h 1167"/>
                    <a:gd name="T36" fmla="*/ 666 w 1166"/>
                    <a:gd name="T37" fmla="*/ 542 h 1167"/>
                    <a:gd name="T38" fmla="*/ 458 w 1166"/>
                    <a:gd name="T39" fmla="*/ 500 h 1167"/>
                    <a:gd name="T40" fmla="*/ 354 w 1166"/>
                    <a:gd name="T41" fmla="*/ 521 h 1167"/>
                    <a:gd name="T42" fmla="*/ 312 w 1166"/>
                    <a:gd name="T43" fmla="*/ 646 h 1167"/>
                    <a:gd name="T44" fmla="*/ 458 w 1166"/>
                    <a:gd name="T45" fmla="*/ 750 h 1167"/>
                    <a:gd name="T46" fmla="*/ 541 w 1166"/>
                    <a:gd name="T47" fmla="*/ 896 h 1167"/>
                    <a:gd name="T48" fmla="*/ 583 w 1166"/>
                    <a:gd name="T49" fmla="*/ 1042 h 1167"/>
                    <a:gd name="T50" fmla="*/ 687 w 1166"/>
                    <a:gd name="T51" fmla="*/ 792 h 1167"/>
                    <a:gd name="T52" fmla="*/ 771 w 1166"/>
                    <a:gd name="T53" fmla="*/ 667 h 1167"/>
                    <a:gd name="T54" fmla="*/ 708 w 1166"/>
                    <a:gd name="T55" fmla="*/ 542 h 1167"/>
                    <a:gd name="T56" fmla="*/ 854 w 1166"/>
                    <a:gd name="T57" fmla="*/ 583 h 1167"/>
                    <a:gd name="T58" fmla="*/ 812 w 1166"/>
                    <a:gd name="T59" fmla="*/ 542 h 1167"/>
                    <a:gd name="T60" fmla="*/ 916 w 1166"/>
                    <a:gd name="T61" fmla="*/ 500 h 1167"/>
                    <a:gd name="T62" fmla="*/ 979 w 1166"/>
                    <a:gd name="T63" fmla="*/ 583 h 1167"/>
                    <a:gd name="T64" fmla="*/ 1083 w 1166"/>
                    <a:gd name="T65" fmla="*/ 583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66" h="1167">
                      <a:moveTo>
                        <a:pt x="583" y="0"/>
                      </a:moveTo>
                      <a:cubicBezTo>
                        <a:pt x="261" y="0"/>
                        <a:pt x="0" y="261"/>
                        <a:pt x="0" y="583"/>
                      </a:cubicBezTo>
                      <a:cubicBezTo>
                        <a:pt x="0" y="906"/>
                        <a:pt x="261" y="1167"/>
                        <a:pt x="583" y="1167"/>
                      </a:cubicBezTo>
                      <a:cubicBezTo>
                        <a:pt x="905" y="1167"/>
                        <a:pt x="1166" y="906"/>
                        <a:pt x="1166" y="583"/>
                      </a:cubicBezTo>
                      <a:cubicBezTo>
                        <a:pt x="1166" y="261"/>
                        <a:pt x="905" y="0"/>
                        <a:pt x="583" y="0"/>
                      </a:cubicBezTo>
                      <a:moveTo>
                        <a:pt x="583" y="1083"/>
                      </a:moveTo>
                      <a:cubicBezTo>
                        <a:pt x="307" y="1083"/>
                        <a:pt x="83" y="859"/>
                        <a:pt x="83" y="583"/>
                      </a:cubicBezTo>
                      <a:cubicBezTo>
                        <a:pt x="83" y="501"/>
                        <a:pt x="103" y="423"/>
                        <a:pt x="139" y="354"/>
                      </a:cubicBezTo>
                      <a:cubicBezTo>
                        <a:pt x="271" y="354"/>
                        <a:pt x="271" y="354"/>
                        <a:pt x="271" y="354"/>
                      </a:cubicBezTo>
                      <a:cubicBezTo>
                        <a:pt x="271" y="193"/>
                        <a:pt x="271" y="193"/>
                        <a:pt x="271" y="193"/>
                      </a:cubicBezTo>
                      <a:cubicBezTo>
                        <a:pt x="356" y="125"/>
                        <a:pt x="465" y="83"/>
                        <a:pt x="583" y="83"/>
                      </a:cubicBezTo>
                      <a:cubicBezTo>
                        <a:pt x="634" y="83"/>
                        <a:pt x="682" y="91"/>
                        <a:pt x="728" y="105"/>
                      </a:cubicBezTo>
                      <a:cubicBezTo>
                        <a:pt x="687" y="146"/>
                        <a:pt x="687" y="146"/>
                        <a:pt x="687" y="146"/>
                      </a:cubicBezTo>
                      <a:cubicBezTo>
                        <a:pt x="708" y="167"/>
                        <a:pt x="708" y="167"/>
                        <a:pt x="708" y="167"/>
                      </a:cubicBezTo>
                      <a:cubicBezTo>
                        <a:pt x="666" y="208"/>
                        <a:pt x="666" y="208"/>
                        <a:pt x="666" y="208"/>
                      </a:cubicBezTo>
                      <a:cubicBezTo>
                        <a:pt x="604" y="146"/>
                        <a:pt x="604" y="146"/>
                        <a:pt x="604" y="146"/>
                      </a:cubicBezTo>
                      <a:cubicBezTo>
                        <a:pt x="500" y="250"/>
                        <a:pt x="500" y="250"/>
                        <a:pt x="500" y="250"/>
                      </a:cubicBezTo>
                      <a:cubicBezTo>
                        <a:pt x="500" y="292"/>
                        <a:pt x="500" y="292"/>
                        <a:pt x="500" y="292"/>
                      </a:cubicBezTo>
                      <a:cubicBezTo>
                        <a:pt x="541" y="292"/>
                        <a:pt x="541" y="292"/>
                        <a:pt x="541" y="292"/>
                      </a:cubicBezTo>
                      <a:cubicBezTo>
                        <a:pt x="541" y="271"/>
                        <a:pt x="541" y="271"/>
                        <a:pt x="541" y="271"/>
                      </a:cubicBezTo>
                      <a:cubicBezTo>
                        <a:pt x="583" y="229"/>
                        <a:pt x="583" y="229"/>
                        <a:pt x="583" y="229"/>
                      </a:cubicBezTo>
                      <a:cubicBezTo>
                        <a:pt x="604" y="250"/>
                        <a:pt x="604" y="250"/>
                        <a:pt x="604" y="250"/>
                      </a:cubicBezTo>
                      <a:cubicBezTo>
                        <a:pt x="583" y="271"/>
                        <a:pt x="583" y="271"/>
                        <a:pt x="583" y="271"/>
                      </a:cubicBezTo>
                      <a:cubicBezTo>
                        <a:pt x="583" y="333"/>
                        <a:pt x="583" y="333"/>
                        <a:pt x="583" y="333"/>
                      </a:cubicBezTo>
                      <a:cubicBezTo>
                        <a:pt x="541" y="333"/>
                        <a:pt x="541" y="333"/>
                        <a:pt x="541" y="333"/>
                      </a:cubicBezTo>
                      <a:cubicBezTo>
                        <a:pt x="541" y="313"/>
                        <a:pt x="541" y="313"/>
                        <a:pt x="541" y="313"/>
                      </a:cubicBezTo>
                      <a:cubicBezTo>
                        <a:pt x="500" y="313"/>
                        <a:pt x="500" y="313"/>
                        <a:pt x="500" y="313"/>
                      </a:cubicBezTo>
                      <a:cubicBezTo>
                        <a:pt x="416" y="396"/>
                        <a:pt x="416" y="396"/>
                        <a:pt x="416" y="396"/>
                      </a:cubicBezTo>
                      <a:cubicBezTo>
                        <a:pt x="354" y="396"/>
                        <a:pt x="354" y="396"/>
                        <a:pt x="354" y="396"/>
                      </a:cubicBezTo>
                      <a:cubicBezTo>
                        <a:pt x="354" y="479"/>
                        <a:pt x="354" y="479"/>
                        <a:pt x="354" y="479"/>
                      </a:cubicBezTo>
                      <a:cubicBezTo>
                        <a:pt x="437" y="479"/>
                        <a:pt x="437" y="479"/>
                        <a:pt x="437" y="479"/>
                      </a:cubicBezTo>
                      <a:cubicBezTo>
                        <a:pt x="437" y="458"/>
                        <a:pt x="437" y="458"/>
                        <a:pt x="437" y="458"/>
                      </a:cubicBezTo>
                      <a:cubicBezTo>
                        <a:pt x="541" y="458"/>
                        <a:pt x="541" y="458"/>
                        <a:pt x="541" y="458"/>
                      </a:cubicBezTo>
                      <a:cubicBezTo>
                        <a:pt x="541" y="500"/>
                        <a:pt x="541" y="500"/>
                        <a:pt x="541" y="500"/>
                      </a:cubicBezTo>
                      <a:cubicBezTo>
                        <a:pt x="625" y="500"/>
                        <a:pt x="625" y="500"/>
                        <a:pt x="625" y="500"/>
                      </a:cubicBezTo>
                      <a:cubicBezTo>
                        <a:pt x="625" y="479"/>
                        <a:pt x="625" y="479"/>
                        <a:pt x="625" y="479"/>
                      </a:cubicBezTo>
                      <a:cubicBezTo>
                        <a:pt x="666" y="479"/>
                        <a:pt x="666" y="479"/>
                        <a:pt x="666" y="479"/>
                      </a:cubicBezTo>
                      <a:cubicBezTo>
                        <a:pt x="666" y="542"/>
                        <a:pt x="666" y="542"/>
                        <a:pt x="666" y="542"/>
                      </a:cubicBezTo>
                      <a:cubicBezTo>
                        <a:pt x="458" y="542"/>
                        <a:pt x="458" y="542"/>
                        <a:pt x="458" y="542"/>
                      </a:cubicBezTo>
                      <a:cubicBezTo>
                        <a:pt x="458" y="500"/>
                        <a:pt x="458" y="500"/>
                        <a:pt x="458" y="500"/>
                      </a:cubicBezTo>
                      <a:cubicBezTo>
                        <a:pt x="354" y="500"/>
                        <a:pt x="354" y="500"/>
                        <a:pt x="354" y="500"/>
                      </a:cubicBezTo>
                      <a:cubicBezTo>
                        <a:pt x="354" y="521"/>
                        <a:pt x="354" y="521"/>
                        <a:pt x="354" y="521"/>
                      </a:cubicBezTo>
                      <a:cubicBezTo>
                        <a:pt x="312" y="521"/>
                        <a:pt x="312" y="521"/>
                        <a:pt x="312" y="521"/>
                      </a:cubicBezTo>
                      <a:cubicBezTo>
                        <a:pt x="312" y="646"/>
                        <a:pt x="312" y="646"/>
                        <a:pt x="312" y="646"/>
                      </a:cubicBezTo>
                      <a:cubicBezTo>
                        <a:pt x="416" y="750"/>
                        <a:pt x="416" y="750"/>
                        <a:pt x="416" y="750"/>
                      </a:cubicBezTo>
                      <a:cubicBezTo>
                        <a:pt x="458" y="750"/>
                        <a:pt x="458" y="750"/>
                        <a:pt x="458" y="750"/>
                      </a:cubicBezTo>
                      <a:cubicBezTo>
                        <a:pt x="458" y="813"/>
                        <a:pt x="458" y="813"/>
                        <a:pt x="458" y="813"/>
                      </a:cubicBezTo>
                      <a:cubicBezTo>
                        <a:pt x="541" y="896"/>
                        <a:pt x="541" y="896"/>
                        <a:pt x="541" y="896"/>
                      </a:cubicBezTo>
                      <a:cubicBezTo>
                        <a:pt x="541" y="1042"/>
                        <a:pt x="541" y="1042"/>
                        <a:pt x="541" y="1042"/>
                      </a:cubicBezTo>
                      <a:cubicBezTo>
                        <a:pt x="583" y="1042"/>
                        <a:pt x="583" y="1042"/>
                        <a:pt x="583" y="1042"/>
                      </a:cubicBezTo>
                      <a:cubicBezTo>
                        <a:pt x="687" y="938"/>
                        <a:pt x="687" y="938"/>
                        <a:pt x="687" y="938"/>
                      </a:cubicBezTo>
                      <a:cubicBezTo>
                        <a:pt x="687" y="792"/>
                        <a:pt x="687" y="792"/>
                        <a:pt x="687" y="792"/>
                      </a:cubicBezTo>
                      <a:cubicBezTo>
                        <a:pt x="812" y="667"/>
                        <a:pt x="812" y="667"/>
                        <a:pt x="812" y="667"/>
                      </a:cubicBezTo>
                      <a:cubicBezTo>
                        <a:pt x="771" y="667"/>
                        <a:pt x="771" y="667"/>
                        <a:pt x="771" y="667"/>
                      </a:cubicBezTo>
                      <a:cubicBezTo>
                        <a:pt x="687" y="563"/>
                        <a:pt x="687" y="563"/>
                        <a:pt x="687" y="563"/>
                      </a:cubicBezTo>
                      <a:cubicBezTo>
                        <a:pt x="708" y="542"/>
                        <a:pt x="708" y="542"/>
                        <a:pt x="708" y="542"/>
                      </a:cubicBezTo>
                      <a:cubicBezTo>
                        <a:pt x="791" y="646"/>
                        <a:pt x="791" y="646"/>
                        <a:pt x="791" y="646"/>
                      </a:cubicBezTo>
                      <a:cubicBezTo>
                        <a:pt x="854" y="583"/>
                        <a:pt x="854" y="583"/>
                        <a:pt x="854" y="583"/>
                      </a:cubicBezTo>
                      <a:cubicBezTo>
                        <a:pt x="854" y="542"/>
                        <a:pt x="854" y="542"/>
                        <a:pt x="854" y="542"/>
                      </a:cubicBezTo>
                      <a:cubicBezTo>
                        <a:pt x="812" y="542"/>
                        <a:pt x="812" y="542"/>
                        <a:pt x="812" y="542"/>
                      </a:cubicBezTo>
                      <a:cubicBezTo>
                        <a:pt x="771" y="500"/>
                        <a:pt x="771" y="500"/>
                        <a:pt x="771" y="500"/>
                      </a:cubicBezTo>
                      <a:cubicBezTo>
                        <a:pt x="916" y="500"/>
                        <a:pt x="916" y="500"/>
                        <a:pt x="916" y="500"/>
                      </a:cubicBezTo>
                      <a:cubicBezTo>
                        <a:pt x="916" y="583"/>
                        <a:pt x="916" y="583"/>
                        <a:pt x="916" y="583"/>
                      </a:cubicBezTo>
                      <a:cubicBezTo>
                        <a:pt x="979" y="583"/>
                        <a:pt x="979" y="583"/>
                        <a:pt x="979" y="583"/>
                      </a:cubicBezTo>
                      <a:cubicBezTo>
                        <a:pt x="1074" y="488"/>
                        <a:pt x="1074" y="488"/>
                        <a:pt x="1074" y="488"/>
                      </a:cubicBezTo>
                      <a:cubicBezTo>
                        <a:pt x="1080" y="519"/>
                        <a:pt x="1083" y="551"/>
                        <a:pt x="1083" y="583"/>
                      </a:cubicBezTo>
                      <a:cubicBezTo>
                        <a:pt x="1083" y="859"/>
                        <a:pt x="859" y="1083"/>
                        <a:pt x="583" y="108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32" tIns="91416" rIns="182832" bIns="91416" numCol="1" anchor="t" anchorCtr="0" compatLnSpc="1">
                  <a:prstTxWarp prst="textNoShape">
                    <a:avLst/>
                  </a:prstTxWarp>
                </a:bodyPr>
                <a:lstStyle/>
                <a:p>
                  <a:endParaRPr lang="en-GB" sz="2800"/>
                </a:p>
              </p:txBody>
            </p:sp>
            <p:sp>
              <p:nvSpPr>
                <p:cNvPr id="46" name="Freeform 16">
                  <a:extLst>
                    <a:ext uri="{FF2B5EF4-FFF2-40B4-BE49-F238E27FC236}">
                      <a16:creationId xmlns:a16="http://schemas.microsoft.com/office/drawing/2014/main" id="{ACF79625-ECFD-4110-1D03-873ABD6B04B5}"/>
                    </a:ext>
                  </a:extLst>
                </p:cNvPr>
                <p:cNvSpPr>
                  <a:spLocks/>
                </p:cNvSpPr>
                <p:nvPr/>
              </p:nvSpPr>
              <p:spPr bwMode="auto">
                <a:xfrm>
                  <a:off x="2495551" y="9734550"/>
                  <a:ext cx="44450" cy="88900"/>
                </a:xfrm>
                <a:custGeom>
                  <a:avLst/>
                  <a:gdLst>
                    <a:gd name="T0" fmla="*/ 28 w 28"/>
                    <a:gd name="T1" fmla="*/ 0 h 56"/>
                    <a:gd name="T2" fmla="*/ 0 w 28"/>
                    <a:gd name="T3" fmla="*/ 0 h 56"/>
                    <a:gd name="T4" fmla="*/ 0 w 28"/>
                    <a:gd name="T5" fmla="*/ 56 h 56"/>
                    <a:gd name="T6" fmla="*/ 28 w 28"/>
                    <a:gd name="T7" fmla="*/ 29 h 56"/>
                    <a:gd name="T8" fmla="*/ 28 w 28"/>
                    <a:gd name="T9" fmla="*/ 0 h 56"/>
                  </a:gdLst>
                  <a:ahLst/>
                  <a:cxnLst>
                    <a:cxn ang="0">
                      <a:pos x="T0" y="T1"/>
                    </a:cxn>
                    <a:cxn ang="0">
                      <a:pos x="T2" y="T3"/>
                    </a:cxn>
                    <a:cxn ang="0">
                      <a:pos x="T4" y="T5"/>
                    </a:cxn>
                    <a:cxn ang="0">
                      <a:pos x="T6" y="T7"/>
                    </a:cxn>
                    <a:cxn ang="0">
                      <a:pos x="T8" y="T9"/>
                    </a:cxn>
                  </a:cxnLst>
                  <a:rect l="0" t="0" r="r" b="b"/>
                  <a:pathLst>
                    <a:path w="28" h="56">
                      <a:moveTo>
                        <a:pt x="28" y="0"/>
                      </a:moveTo>
                      <a:lnTo>
                        <a:pt x="0" y="0"/>
                      </a:lnTo>
                      <a:lnTo>
                        <a:pt x="0" y="56"/>
                      </a:lnTo>
                      <a:lnTo>
                        <a:pt x="28" y="29"/>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32" tIns="91416" rIns="182832" bIns="91416" numCol="1" anchor="t" anchorCtr="0" compatLnSpc="1">
                  <a:prstTxWarp prst="textNoShape">
                    <a:avLst/>
                  </a:prstTxWarp>
                </a:bodyPr>
                <a:lstStyle/>
                <a:p>
                  <a:endParaRPr lang="en-GB" sz="2800"/>
                </a:p>
              </p:txBody>
            </p:sp>
          </p:grpSp>
        </p:grpSp>
        <p:cxnSp>
          <p:nvCxnSpPr>
            <p:cNvPr id="47" name="Connector: Elbow 46">
              <a:extLst>
                <a:ext uri="{FF2B5EF4-FFF2-40B4-BE49-F238E27FC236}">
                  <a16:creationId xmlns:a16="http://schemas.microsoft.com/office/drawing/2014/main" id="{527A4BC1-64D0-6F37-7E02-20AA90A3522F}"/>
                </a:ext>
              </a:extLst>
            </p:cNvPr>
            <p:cNvCxnSpPr>
              <a:cxnSpLocks/>
            </p:cNvCxnSpPr>
            <p:nvPr/>
          </p:nvCxnSpPr>
          <p:spPr>
            <a:xfrm flipV="1">
              <a:off x="7824967" y="3649937"/>
              <a:ext cx="3211575" cy="4776182"/>
            </a:xfrm>
            <a:prstGeom prst="bentConnector3">
              <a:avLst>
                <a:gd name="adj1" fmla="val 20419"/>
              </a:avLst>
            </a:prstGeom>
            <a:ln w="381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pic>
          <p:nvPicPr>
            <p:cNvPr id="48" name="Graphic 47" descr="Good Idea with solid fill">
              <a:extLst>
                <a:ext uri="{FF2B5EF4-FFF2-40B4-BE49-F238E27FC236}">
                  <a16:creationId xmlns:a16="http://schemas.microsoft.com/office/drawing/2014/main" id="{BF7BBFBA-BC2A-1554-EB30-7CA75358A3C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894026" y="9977148"/>
              <a:ext cx="822746" cy="822746"/>
            </a:xfrm>
            <a:prstGeom prst="rect">
              <a:avLst/>
            </a:prstGeom>
          </p:spPr>
        </p:pic>
        <p:pic>
          <p:nvPicPr>
            <p:cNvPr id="49" name="Graphic 48" descr="Research with solid fill">
              <a:extLst>
                <a:ext uri="{FF2B5EF4-FFF2-40B4-BE49-F238E27FC236}">
                  <a16:creationId xmlns:a16="http://schemas.microsoft.com/office/drawing/2014/main" id="{4E936690-E957-B5E0-2959-5779B213A28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82782" y="8140952"/>
              <a:ext cx="895879" cy="895879"/>
            </a:xfrm>
            <a:prstGeom prst="rect">
              <a:avLst/>
            </a:prstGeom>
          </p:spPr>
        </p:pic>
        <p:pic>
          <p:nvPicPr>
            <p:cNvPr id="50" name="Graphic 49" descr="Server with solid fill">
              <a:extLst>
                <a:ext uri="{FF2B5EF4-FFF2-40B4-BE49-F238E27FC236}">
                  <a16:creationId xmlns:a16="http://schemas.microsoft.com/office/drawing/2014/main" id="{AACEEDDC-4595-94B9-7D9B-B2C7A43DA40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146467" y="3420735"/>
              <a:ext cx="731330" cy="731330"/>
            </a:xfrm>
            <a:prstGeom prst="rect">
              <a:avLst/>
            </a:prstGeom>
          </p:spPr>
        </p:pic>
        <p:sp>
          <p:nvSpPr>
            <p:cNvPr id="51" name="Freeform 73">
              <a:extLst>
                <a:ext uri="{FF2B5EF4-FFF2-40B4-BE49-F238E27FC236}">
                  <a16:creationId xmlns:a16="http://schemas.microsoft.com/office/drawing/2014/main" id="{9737339A-61A7-B7E5-A0A6-927B45E31401}"/>
                </a:ext>
              </a:extLst>
            </p:cNvPr>
            <p:cNvSpPr>
              <a:spLocks/>
            </p:cNvSpPr>
            <p:nvPr/>
          </p:nvSpPr>
          <p:spPr bwMode="auto">
            <a:xfrm>
              <a:off x="16439017" y="5115584"/>
              <a:ext cx="731330" cy="731330"/>
            </a:xfrm>
            <a:custGeom>
              <a:avLst/>
              <a:gdLst>
                <a:gd name="T0" fmla="*/ 326 w 1010"/>
                <a:gd name="T1" fmla="*/ 119 h 1082"/>
                <a:gd name="T2" fmla="*/ 249 w 1010"/>
                <a:gd name="T3" fmla="*/ 163 h 1082"/>
                <a:gd name="T4" fmla="*/ 92 w 1010"/>
                <a:gd name="T5" fmla="*/ 665 h 1082"/>
                <a:gd name="T6" fmla="*/ 116 w 1010"/>
                <a:gd name="T7" fmla="*/ 699 h 1082"/>
                <a:gd name="T8" fmla="*/ 340 w 1010"/>
                <a:gd name="T9" fmla="*/ 329 h 1082"/>
                <a:gd name="T10" fmla="*/ 384 w 1010"/>
                <a:gd name="T11" fmla="*/ 373 h 1082"/>
                <a:gd name="T12" fmla="*/ 167 w 1010"/>
                <a:gd name="T13" fmla="*/ 748 h 1082"/>
                <a:gd name="T14" fmla="*/ 187 w 1010"/>
                <a:gd name="T15" fmla="*/ 1082 h 1082"/>
                <a:gd name="T16" fmla="*/ 256 w 1010"/>
                <a:gd name="T17" fmla="*/ 1082 h 1082"/>
                <a:gd name="T18" fmla="*/ 223 w 1010"/>
                <a:gd name="T19" fmla="*/ 783 h 1082"/>
                <a:gd name="T20" fmla="*/ 645 w 1010"/>
                <a:gd name="T21" fmla="*/ 759 h 1082"/>
                <a:gd name="T22" fmla="*/ 864 w 1010"/>
                <a:gd name="T23" fmla="*/ 311 h 1082"/>
                <a:gd name="T24" fmla="*/ 976 w 1010"/>
                <a:gd name="T25" fmla="*/ 158 h 1082"/>
                <a:gd name="T26" fmla="*/ 1010 w 1010"/>
                <a:gd name="T27" fmla="*/ 144 h 1082"/>
                <a:gd name="T28" fmla="*/ 326 w 1010"/>
                <a:gd name="T29" fmla="*/ 119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10" h="1082">
                  <a:moveTo>
                    <a:pt x="326" y="119"/>
                  </a:moveTo>
                  <a:cubicBezTo>
                    <a:pt x="313" y="125"/>
                    <a:pt x="262" y="155"/>
                    <a:pt x="249" y="163"/>
                  </a:cubicBezTo>
                  <a:cubicBezTo>
                    <a:pt x="70" y="288"/>
                    <a:pt x="0" y="504"/>
                    <a:pt x="92" y="665"/>
                  </a:cubicBezTo>
                  <a:cubicBezTo>
                    <a:pt x="99" y="677"/>
                    <a:pt x="107" y="688"/>
                    <a:pt x="116" y="699"/>
                  </a:cubicBezTo>
                  <a:cubicBezTo>
                    <a:pt x="154" y="569"/>
                    <a:pt x="230" y="440"/>
                    <a:pt x="340" y="329"/>
                  </a:cubicBezTo>
                  <a:cubicBezTo>
                    <a:pt x="384" y="373"/>
                    <a:pt x="384" y="373"/>
                    <a:pt x="384" y="373"/>
                  </a:cubicBezTo>
                  <a:cubicBezTo>
                    <a:pt x="272" y="486"/>
                    <a:pt x="199" y="618"/>
                    <a:pt x="167" y="748"/>
                  </a:cubicBezTo>
                  <a:cubicBezTo>
                    <a:pt x="138" y="867"/>
                    <a:pt x="143" y="984"/>
                    <a:pt x="187" y="1082"/>
                  </a:cubicBezTo>
                  <a:cubicBezTo>
                    <a:pt x="256" y="1082"/>
                    <a:pt x="256" y="1082"/>
                    <a:pt x="256" y="1082"/>
                  </a:cubicBezTo>
                  <a:cubicBezTo>
                    <a:pt x="210" y="997"/>
                    <a:pt x="200" y="892"/>
                    <a:pt x="223" y="783"/>
                  </a:cubicBezTo>
                  <a:cubicBezTo>
                    <a:pt x="349" y="846"/>
                    <a:pt x="522" y="841"/>
                    <a:pt x="645" y="759"/>
                  </a:cubicBezTo>
                  <a:cubicBezTo>
                    <a:pt x="840" y="627"/>
                    <a:pt x="843" y="395"/>
                    <a:pt x="864" y="311"/>
                  </a:cubicBezTo>
                  <a:cubicBezTo>
                    <a:pt x="885" y="227"/>
                    <a:pt x="923" y="189"/>
                    <a:pt x="976" y="158"/>
                  </a:cubicBezTo>
                  <a:cubicBezTo>
                    <a:pt x="987" y="152"/>
                    <a:pt x="998" y="148"/>
                    <a:pt x="1010" y="144"/>
                  </a:cubicBezTo>
                  <a:cubicBezTo>
                    <a:pt x="839" y="13"/>
                    <a:pt x="562" y="0"/>
                    <a:pt x="326" y="119"/>
                  </a:cubicBezTo>
                </a:path>
              </a:pathLst>
            </a:custGeom>
            <a:solidFill>
              <a:schemeClr val="tx2"/>
            </a:solidFill>
            <a:ln>
              <a:noFill/>
            </a:ln>
          </p:spPr>
          <p:txBody>
            <a:bodyPr vert="horz" wrap="square" lIns="182832" tIns="91416" rIns="182832" bIns="91416" numCol="1" anchor="t" anchorCtr="0" compatLnSpc="1">
              <a:prstTxWarp prst="textNoShape">
                <a:avLst/>
              </a:prstTxWarp>
            </a:bodyPr>
            <a:lstStyle/>
            <a:p>
              <a:endParaRPr lang="en-GB" sz="2800"/>
            </a:p>
          </p:txBody>
        </p:sp>
      </p:grpSp>
    </p:spTree>
    <p:extLst>
      <p:ext uri="{BB962C8B-B14F-4D97-AF65-F5344CB8AC3E}">
        <p14:creationId xmlns:p14="http://schemas.microsoft.com/office/powerpoint/2010/main" val="2808210736"/>
      </p:ext>
    </p:extLst>
  </p:cSld>
  <p:clrMapOvr>
    <a:masterClrMapping/>
  </p:clrMapOvr>
  <p:extLst>
    <p:ext uri="{6950BFC3-D8DA-4A85-94F7-54DA5524770B}">
      <p188:commentRel xmlns:p188="http://schemas.microsoft.com/office/powerpoint/2018/8/main" r:id="rId3"/>
    </p:ext>
  </p:extLs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460"/>
        <p:cNvGrpSpPr/>
        <p:nvPr/>
      </p:nvGrpSpPr>
      <p:grpSpPr>
        <a:xfrm>
          <a:off x="0" y="0"/>
          <a:ext cx="0" cy="0"/>
          <a:chOff x="0" y="0"/>
          <a:chExt cx="0" cy="0"/>
        </a:xfrm>
      </p:grpSpPr>
      <p:sp>
        <p:nvSpPr>
          <p:cNvPr id="1461" name="Google Shape;1461;p111"/>
          <p:cNvSpPr txBox="1">
            <a:spLocks noGrp="1"/>
          </p:cNvSpPr>
          <p:nvPr>
            <p:ph type="title"/>
          </p:nvPr>
        </p:nvSpPr>
        <p:spPr>
          <a:xfrm>
            <a:off x="1507908" y="760087"/>
            <a:ext cx="18382800" cy="949629"/>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a:t>Milestone 1 Expectations</a:t>
            </a:r>
            <a:endParaRPr/>
          </a:p>
        </p:txBody>
      </p:sp>
      <p:grpSp>
        <p:nvGrpSpPr>
          <p:cNvPr id="52" name="Group 51">
            <a:extLst>
              <a:ext uri="{FF2B5EF4-FFF2-40B4-BE49-F238E27FC236}">
                <a16:creationId xmlns:a16="http://schemas.microsoft.com/office/drawing/2014/main" id="{528FC44C-20D5-793F-A413-B2F47CB848D7}"/>
              </a:ext>
            </a:extLst>
          </p:cNvPr>
          <p:cNvGrpSpPr/>
          <p:nvPr/>
        </p:nvGrpSpPr>
        <p:grpSpPr>
          <a:xfrm>
            <a:off x="0" y="2015892"/>
            <a:ext cx="24377650" cy="10521070"/>
            <a:chOff x="548641" y="3276000"/>
            <a:chExt cx="23719027" cy="9843669"/>
          </a:xfrm>
        </p:grpSpPr>
        <p:grpSp>
          <p:nvGrpSpPr>
            <p:cNvPr id="5" name="Group 4">
              <a:extLst>
                <a:ext uri="{FF2B5EF4-FFF2-40B4-BE49-F238E27FC236}">
                  <a16:creationId xmlns:a16="http://schemas.microsoft.com/office/drawing/2014/main" id="{E6AACE61-CF0E-2225-D232-B317D09E0695}"/>
                </a:ext>
              </a:extLst>
            </p:cNvPr>
            <p:cNvGrpSpPr/>
            <p:nvPr/>
          </p:nvGrpSpPr>
          <p:grpSpPr>
            <a:xfrm>
              <a:off x="548641" y="3746138"/>
              <a:ext cx="23719027" cy="6481849"/>
              <a:chOff x="-349265" y="1322387"/>
              <a:chExt cx="13675524" cy="3737198"/>
            </a:xfrm>
          </p:grpSpPr>
          <p:sp>
            <p:nvSpPr>
              <p:cNvPr id="6" name="Freeform: Shape 5">
                <a:extLst>
                  <a:ext uri="{FF2B5EF4-FFF2-40B4-BE49-F238E27FC236}">
                    <a16:creationId xmlns:a16="http://schemas.microsoft.com/office/drawing/2014/main" id="{D5B14B91-620D-05E4-8DD2-0CCCCC0D01CD}"/>
                  </a:ext>
                </a:extLst>
              </p:cNvPr>
              <p:cNvSpPr/>
              <p:nvPr/>
            </p:nvSpPr>
            <p:spPr>
              <a:xfrm>
                <a:off x="8333958" y="1339089"/>
                <a:ext cx="795518" cy="1919229"/>
              </a:xfrm>
              <a:custGeom>
                <a:avLst/>
                <a:gdLst>
                  <a:gd name="connsiteX0" fmla="*/ 627613 w 795518"/>
                  <a:gd name="connsiteY0" fmla="*/ 959504 h 1919229"/>
                  <a:gd name="connsiteX1" fmla="*/ 0 w 795518"/>
                  <a:gd name="connsiteY1" fmla="*/ 1747448 h 1919229"/>
                  <a:gd name="connsiteX2" fmla="*/ 0 w 795518"/>
                  <a:gd name="connsiteY2" fmla="*/ 1919206 h 1919229"/>
                  <a:gd name="connsiteX3" fmla="*/ 778381 w 795518"/>
                  <a:gd name="connsiteY3" fmla="*/ 778354 h 1919229"/>
                  <a:gd name="connsiteX4" fmla="*/ 0 w 795518"/>
                  <a:gd name="connsiteY4" fmla="*/ -23 h 1919229"/>
                  <a:gd name="connsiteX5" fmla="*/ 0 w 795518"/>
                  <a:gd name="connsiteY5" fmla="*/ 171560 h 1919229"/>
                  <a:gd name="connsiteX6" fmla="*/ 627613 w 795518"/>
                  <a:gd name="connsiteY6" fmla="*/ 959504 h 1919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5518" h="1919229">
                    <a:moveTo>
                      <a:pt x="627613" y="959504"/>
                    </a:moveTo>
                    <a:cubicBezTo>
                      <a:pt x="627120" y="1336160"/>
                      <a:pt x="367004" y="1662729"/>
                      <a:pt x="0" y="1747448"/>
                    </a:cubicBezTo>
                    <a:lnTo>
                      <a:pt x="0" y="1919206"/>
                    </a:lnTo>
                    <a:cubicBezTo>
                      <a:pt x="529972" y="1819105"/>
                      <a:pt x="878465" y="1308334"/>
                      <a:pt x="778381" y="778354"/>
                    </a:cubicBezTo>
                    <a:cubicBezTo>
                      <a:pt x="703788" y="383450"/>
                      <a:pt x="394904" y="74561"/>
                      <a:pt x="0" y="-23"/>
                    </a:cubicBezTo>
                    <a:lnTo>
                      <a:pt x="0" y="171560"/>
                    </a:lnTo>
                    <a:cubicBezTo>
                      <a:pt x="367004" y="256277"/>
                      <a:pt x="627120" y="582855"/>
                      <a:pt x="627613" y="959504"/>
                    </a:cubicBezTo>
                    <a:close/>
                  </a:path>
                </a:pathLst>
              </a:custGeom>
              <a:solidFill>
                <a:srgbClr val="00B0F0"/>
              </a:solidFill>
              <a:ln w="17576" cap="flat">
                <a:noFill/>
                <a:prstDash val="solid"/>
                <a:miter/>
              </a:ln>
            </p:spPr>
            <p:txBody>
              <a:bodyPr rtlCol="0" anchor="ctr"/>
              <a:lstStyle/>
              <a:p>
                <a:endParaRPr lang="en-GB" sz="2800"/>
              </a:p>
            </p:txBody>
          </p:sp>
          <p:sp>
            <p:nvSpPr>
              <p:cNvPr id="7" name="Freeform: Shape 6">
                <a:extLst>
                  <a:ext uri="{FF2B5EF4-FFF2-40B4-BE49-F238E27FC236}">
                    <a16:creationId xmlns:a16="http://schemas.microsoft.com/office/drawing/2014/main" id="{78653FBA-75E7-F77D-BF93-60C21FCD59EE}"/>
                  </a:ext>
                </a:extLst>
              </p:cNvPr>
              <p:cNvSpPr/>
              <p:nvPr/>
            </p:nvSpPr>
            <p:spPr>
              <a:xfrm>
                <a:off x="-349265" y="1322387"/>
                <a:ext cx="4519005" cy="168663"/>
              </a:xfrm>
              <a:custGeom>
                <a:avLst/>
                <a:gdLst>
                  <a:gd name="connsiteX0" fmla="*/ 0 w 2230926"/>
                  <a:gd name="connsiteY0" fmla="*/ 0 h 167890"/>
                  <a:gd name="connsiteX1" fmla="*/ 2230926 w 2230926"/>
                  <a:gd name="connsiteY1" fmla="*/ 0 h 167890"/>
                  <a:gd name="connsiteX2" fmla="*/ 2230926 w 2230926"/>
                  <a:gd name="connsiteY2" fmla="*/ 167891 h 167890"/>
                  <a:gd name="connsiteX3" fmla="*/ 0 w 2230926"/>
                  <a:gd name="connsiteY3" fmla="*/ 167891 h 167890"/>
                </a:gdLst>
                <a:ahLst/>
                <a:cxnLst>
                  <a:cxn ang="0">
                    <a:pos x="connsiteX0" y="connsiteY0"/>
                  </a:cxn>
                  <a:cxn ang="0">
                    <a:pos x="connsiteX1" y="connsiteY1"/>
                  </a:cxn>
                  <a:cxn ang="0">
                    <a:pos x="connsiteX2" y="connsiteY2"/>
                  </a:cxn>
                  <a:cxn ang="0">
                    <a:pos x="connsiteX3" y="connsiteY3"/>
                  </a:cxn>
                </a:cxnLst>
                <a:rect l="l" t="t" r="r" b="b"/>
                <a:pathLst>
                  <a:path w="2230926" h="167890">
                    <a:moveTo>
                      <a:pt x="0" y="0"/>
                    </a:moveTo>
                    <a:lnTo>
                      <a:pt x="2230926" y="0"/>
                    </a:lnTo>
                    <a:lnTo>
                      <a:pt x="2230926" y="167891"/>
                    </a:lnTo>
                    <a:lnTo>
                      <a:pt x="0" y="167891"/>
                    </a:lnTo>
                    <a:close/>
                  </a:path>
                </a:pathLst>
              </a:custGeom>
              <a:solidFill>
                <a:schemeClr val="accent5">
                  <a:lumMod val="75000"/>
                </a:schemeClr>
              </a:solidFill>
              <a:ln w="17576" cap="flat">
                <a:noFill/>
                <a:prstDash val="solid"/>
                <a:miter/>
              </a:ln>
            </p:spPr>
            <p:txBody>
              <a:bodyPr rtlCol="0" anchor="ctr"/>
              <a:lstStyle/>
              <a:p>
                <a:endParaRPr lang="en-GB" sz="2800"/>
              </a:p>
            </p:txBody>
          </p:sp>
          <p:sp>
            <p:nvSpPr>
              <p:cNvPr id="8" name="Freeform: Shape 7">
                <a:extLst>
                  <a:ext uri="{FF2B5EF4-FFF2-40B4-BE49-F238E27FC236}">
                    <a16:creationId xmlns:a16="http://schemas.microsoft.com/office/drawing/2014/main" id="{05A8B5F0-F865-C169-15DF-C67F7487FD60}"/>
                  </a:ext>
                </a:extLst>
              </p:cNvPr>
              <p:cNvSpPr/>
              <p:nvPr/>
            </p:nvSpPr>
            <p:spPr>
              <a:xfrm>
                <a:off x="6251760" y="3086560"/>
                <a:ext cx="2082197" cy="188283"/>
              </a:xfrm>
              <a:custGeom>
                <a:avLst/>
                <a:gdLst>
                  <a:gd name="connsiteX0" fmla="*/ 1901298 w 2082197"/>
                  <a:gd name="connsiteY0" fmla="*/ 20370 h 188283"/>
                  <a:gd name="connsiteX1" fmla="*/ 0 w 2082197"/>
                  <a:gd name="connsiteY1" fmla="*/ 20370 h 188283"/>
                  <a:gd name="connsiteX2" fmla="*/ 0 w 2082197"/>
                  <a:gd name="connsiteY2" fmla="*/ 188261 h 188283"/>
                  <a:gd name="connsiteX3" fmla="*/ 1901298 w 2082197"/>
                  <a:gd name="connsiteY3" fmla="*/ 188261 h 188283"/>
                  <a:gd name="connsiteX4" fmla="*/ 2082197 w 2082197"/>
                  <a:gd name="connsiteY4" fmla="*/ 171735 h 188283"/>
                  <a:gd name="connsiteX5" fmla="*/ 2082197 w 2082197"/>
                  <a:gd name="connsiteY5" fmla="*/ -23 h 188283"/>
                  <a:gd name="connsiteX6" fmla="*/ 1901298 w 2082197"/>
                  <a:gd name="connsiteY6" fmla="*/ 20370 h 18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2197" h="188283">
                    <a:moveTo>
                      <a:pt x="1901298" y="20370"/>
                    </a:moveTo>
                    <a:lnTo>
                      <a:pt x="0" y="20370"/>
                    </a:lnTo>
                    <a:lnTo>
                      <a:pt x="0" y="188261"/>
                    </a:lnTo>
                    <a:lnTo>
                      <a:pt x="1901298" y="188261"/>
                    </a:lnTo>
                    <a:cubicBezTo>
                      <a:pt x="1961967" y="188278"/>
                      <a:pt x="2022531" y="182741"/>
                      <a:pt x="2082197" y="171735"/>
                    </a:cubicBezTo>
                    <a:lnTo>
                      <a:pt x="2082197" y="-23"/>
                    </a:lnTo>
                    <a:cubicBezTo>
                      <a:pt x="2022864" y="13566"/>
                      <a:pt x="1962178" y="20423"/>
                      <a:pt x="1901298" y="20370"/>
                    </a:cubicBezTo>
                    <a:close/>
                  </a:path>
                </a:pathLst>
              </a:custGeom>
              <a:solidFill>
                <a:schemeClr val="bg2"/>
              </a:solidFill>
              <a:ln w="17576" cap="flat">
                <a:noFill/>
                <a:prstDash val="solid"/>
                <a:miter/>
              </a:ln>
            </p:spPr>
            <p:txBody>
              <a:bodyPr rtlCol="0" anchor="ctr"/>
              <a:lstStyle/>
              <a:p>
                <a:endParaRPr lang="en-GB" sz="2800"/>
              </a:p>
            </p:txBody>
          </p:sp>
          <p:sp>
            <p:nvSpPr>
              <p:cNvPr id="9" name="Freeform: Shape 8">
                <a:extLst>
                  <a:ext uri="{FF2B5EF4-FFF2-40B4-BE49-F238E27FC236}">
                    <a16:creationId xmlns:a16="http://schemas.microsoft.com/office/drawing/2014/main" id="{45A692E5-5304-5092-483D-08A37A637C3B}"/>
                  </a:ext>
                </a:extLst>
              </p:cNvPr>
              <p:cNvSpPr/>
              <p:nvPr/>
            </p:nvSpPr>
            <p:spPr>
              <a:xfrm>
                <a:off x="6251760" y="4891695"/>
                <a:ext cx="2082197" cy="151189"/>
              </a:xfrm>
              <a:custGeom>
                <a:avLst/>
                <a:gdLst>
                  <a:gd name="connsiteX0" fmla="*/ 0 w 2082197"/>
                  <a:gd name="connsiteY0" fmla="*/ 0 h 167890"/>
                  <a:gd name="connsiteX1" fmla="*/ 2082198 w 2082197"/>
                  <a:gd name="connsiteY1" fmla="*/ 0 h 167890"/>
                  <a:gd name="connsiteX2" fmla="*/ 2082198 w 2082197"/>
                  <a:gd name="connsiteY2" fmla="*/ 167891 h 167890"/>
                  <a:gd name="connsiteX3" fmla="*/ 0 w 2082197"/>
                  <a:gd name="connsiteY3" fmla="*/ 167891 h 167890"/>
                </a:gdLst>
                <a:ahLst/>
                <a:cxnLst>
                  <a:cxn ang="0">
                    <a:pos x="connsiteX0" y="connsiteY0"/>
                  </a:cxn>
                  <a:cxn ang="0">
                    <a:pos x="connsiteX1" y="connsiteY1"/>
                  </a:cxn>
                  <a:cxn ang="0">
                    <a:pos x="connsiteX2" y="connsiteY2"/>
                  </a:cxn>
                  <a:cxn ang="0">
                    <a:pos x="connsiteX3" y="connsiteY3"/>
                  </a:cxn>
                </a:cxnLst>
                <a:rect l="l" t="t" r="r" b="b"/>
                <a:pathLst>
                  <a:path w="2082197" h="167890">
                    <a:moveTo>
                      <a:pt x="0" y="0"/>
                    </a:moveTo>
                    <a:lnTo>
                      <a:pt x="2082198" y="0"/>
                    </a:lnTo>
                    <a:lnTo>
                      <a:pt x="2082198" y="167891"/>
                    </a:lnTo>
                    <a:lnTo>
                      <a:pt x="0" y="167891"/>
                    </a:lnTo>
                    <a:close/>
                  </a:path>
                </a:pathLst>
              </a:custGeom>
              <a:solidFill>
                <a:schemeClr val="accent4"/>
              </a:solidFill>
              <a:ln w="17576" cap="flat">
                <a:noFill/>
                <a:prstDash val="solid"/>
                <a:miter/>
              </a:ln>
            </p:spPr>
            <p:txBody>
              <a:bodyPr rtlCol="0" anchor="ctr"/>
              <a:lstStyle/>
              <a:p>
                <a:endParaRPr lang="en-GB" sz="2800"/>
              </a:p>
            </p:txBody>
          </p:sp>
          <p:sp>
            <p:nvSpPr>
              <p:cNvPr id="10" name="Freeform: Shape 9">
                <a:extLst>
                  <a:ext uri="{FF2B5EF4-FFF2-40B4-BE49-F238E27FC236}">
                    <a16:creationId xmlns:a16="http://schemas.microsoft.com/office/drawing/2014/main" id="{C0B5AA3F-6A11-883F-D277-A1D804386D7F}"/>
                  </a:ext>
                </a:extLst>
              </p:cNvPr>
              <p:cNvSpPr/>
              <p:nvPr/>
            </p:nvSpPr>
            <p:spPr>
              <a:xfrm>
                <a:off x="8333956" y="4891694"/>
                <a:ext cx="4992303" cy="151189"/>
              </a:xfrm>
              <a:custGeom>
                <a:avLst/>
                <a:gdLst>
                  <a:gd name="connsiteX0" fmla="*/ 0 w 2230926"/>
                  <a:gd name="connsiteY0" fmla="*/ 0 h 167890"/>
                  <a:gd name="connsiteX1" fmla="*/ 2230926 w 2230926"/>
                  <a:gd name="connsiteY1" fmla="*/ 0 h 167890"/>
                  <a:gd name="connsiteX2" fmla="*/ 2230926 w 2230926"/>
                  <a:gd name="connsiteY2" fmla="*/ 167891 h 167890"/>
                  <a:gd name="connsiteX3" fmla="*/ 0 w 2230926"/>
                  <a:gd name="connsiteY3" fmla="*/ 167891 h 167890"/>
                </a:gdLst>
                <a:ahLst/>
                <a:cxnLst>
                  <a:cxn ang="0">
                    <a:pos x="connsiteX0" y="connsiteY0"/>
                  </a:cxn>
                  <a:cxn ang="0">
                    <a:pos x="connsiteX1" y="connsiteY1"/>
                  </a:cxn>
                  <a:cxn ang="0">
                    <a:pos x="connsiteX2" y="connsiteY2"/>
                  </a:cxn>
                  <a:cxn ang="0">
                    <a:pos x="connsiteX3" y="connsiteY3"/>
                  </a:cxn>
                </a:cxnLst>
                <a:rect l="l" t="t" r="r" b="b"/>
                <a:pathLst>
                  <a:path w="2230926" h="167890">
                    <a:moveTo>
                      <a:pt x="0" y="0"/>
                    </a:moveTo>
                    <a:lnTo>
                      <a:pt x="2230926" y="0"/>
                    </a:lnTo>
                    <a:lnTo>
                      <a:pt x="2230926" y="167891"/>
                    </a:lnTo>
                    <a:lnTo>
                      <a:pt x="0" y="167891"/>
                    </a:lnTo>
                    <a:close/>
                  </a:path>
                </a:pathLst>
              </a:custGeom>
              <a:solidFill>
                <a:schemeClr val="accent2"/>
              </a:solidFill>
              <a:ln w="17576" cap="flat">
                <a:noFill/>
                <a:prstDash val="solid"/>
                <a:miter/>
              </a:ln>
            </p:spPr>
            <p:txBody>
              <a:bodyPr rtlCol="0" anchor="ctr"/>
              <a:lstStyle/>
              <a:p>
                <a:endParaRPr lang="en-GB" sz="2800"/>
              </a:p>
            </p:txBody>
          </p:sp>
          <p:sp>
            <p:nvSpPr>
              <p:cNvPr id="11" name="Freeform: Shape 10">
                <a:extLst>
                  <a:ext uri="{FF2B5EF4-FFF2-40B4-BE49-F238E27FC236}">
                    <a16:creationId xmlns:a16="http://schemas.microsoft.com/office/drawing/2014/main" id="{0DD44976-EADC-3849-B74B-863903B026B7}"/>
                  </a:ext>
                </a:extLst>
              </p:cNvPr>
              <p:cNvSpPr/>
              <p:nvPr/>
            </p:nvSpPr>
            <p:spPr>
              <a:xfrm>
                <a:off x="4169739" y="4871301"/>
                <a:ext cx="2082021" cy="188284"/>
              </a:xfrm>
              <a:custGeom>
                <a:avLst/>
                <a:gdLst>
                  <a:gd name="connsiteX0" fmla="*/ 180724 w 2082021"/>
                  <a:gd name="connsiteY0" fmla="*/ 20370 h 188284"/>
                  <a:gd name="connsiteX1" fmla="*/ 0 w 2082021"/>
                  <a:gd name="connsiteY1" fmla="*/ -23 h 188284"/>
                  <a:gd name="connsiteX2" fmla="*/ 0 w 2082021"/>
                  <a:gd name="connsiteY2" fmla="*/ 171560 h 188284"/>
                  <a:gd name="connsiteX3" fmla="*/ 180724 w 2082021"/>
                  <a:gd name="connsiteY3" fmla="*/ 188261 h 188284"/>
                  <a:gd name="connsiteX4" fmla="*/ 2082022 w 2082021"/>
                  <a:gd name="connsiteY4" fmla="*/ 188261 h 188284"/>
                  <a:gd name="connsiteX5" fmla="*/ 2082022 w 2082021"/>
                  <a:gd name="connsiteY5" fmla="*/ 20370 h 188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021" h="188284">
                    <a:moveTo>
                      <a:pt x="180724" y="20370"/>
                    </a:moveTo>
                    <a:cubicBezTo>
                      <a:pt x="119914" y="20423"/>
                      <a:pt x="59280" y="13584"/>
                      <a:pt x="0" y="-23"/>
                    </a:cubicBezTo>
                    <a:lnTo>
                      <a:pt x="0" y="171560"/>
                    </a:lnTo>
                    <a:cubicBezTo>
                      <a:pt x="59597" y="182723"/>
                      <a:pt x="120090" y="188314"/>
                      <a:pt x="180724" y="188261"/>
                    </a:cubicBezTo>
                    <a:lnTo>
                      <a:pt x="2082022" y="188261"/>
                    </a:lnTo>
                    <a:lnTo>
                      <a:pt x="2082022" y="20370"/>
                    </a:lnTo>
                    <a:close/>
                  </a:path>
                </a:pathLst>
              </a:custGeom>
              <a:solidFill>
                <a:schemeClr val="accent4"/>
              </a:solidFill>
              <a:ln w="17576" cap="flat">
                <a:noFill/>
                <a:prstDash val="solid"/>
                <a:miter/>
              </a:ln>
            </p:spPr>
            <p:txBody>
              <a:bodyPr rtlCol="0" anchor="ctr"/>
              <a:lstStyle/>
              <a:p>
                <a:endParaRPr lang="en-GB" sz="2800"/>
              </a:p>
            </p:txBody>
          </p:sp>
          <p:sp>
            <p:nvSpPr>
              <p:cNvPr id="12" name="Freeform: Shape 11">
                <a:extLst>
                  <a:ext uri="{FF2B5EF4-FFF2-40B4-BE49-F238E27FC236}">
                    <a16:creationId xmlns:a16="http://schemas.microsoft.com/office/drawing/2014/main" id="{097A0FE4-EB76-56DB-9243-AA637A6D45DB}"/>
                  </a:ext>
                </a:extLst>
              </p:cNvPr>
              <p:cNvSpPr/>
              <p:nvPr/>
            </p:nvSpPr>
            <p:spPr>
              <a:xfrm>
                <a:off x="4169739" y="3106953"/>
                <a:ext cx="2082021" cy="189338"/>
              </a:xfrm>
              <a:custGeom>
                <a:avLst/>
                <a:gdLst>
                  <a:gd name="connsiteX0" fmla="*/ 180724 w 2082021"/>
                  <a:gd name="connsiteY0" fmla="*/ 167868 h 189338"/>
                  <a:gd name="connsiteX1" fmla="*/ 2082022 w 2082021"/>
                  <a:gd name="connsiteY1" fmla="*/ 167868 h 189338"/>
                  <a:gd name="connsiteX2" fmla="*/ 2082022 w 2082021"/>
                  <a:gd name="connsiteY2" fmla="*/ -23 h 189338"/>
                  <a:gd name="connsiteX3" fmla="*/ 180724 w 2082021"/>
                  <a:gd name="connsiteY3" fmla="*/ -23 h 189338"/>
                  <a:gd name="connsiteX4" fmla="*/ 0 w 2082021"/>
                  <a:gd name="connsiteY4" fmla="*/ 17557 h 189338"/>
                  <a:gd name="connsiteX5" fmla="*/ 0 w 2082021"/>
                  <a:gd name="connsiteY5" fmla="*/ 189316 h 189338"/>
                  <a:gd name="connsiteX6" fmla="*/ 180724 w 2082021"/>
                  <a:gd name="connsiteY6" fmla="*/ 167868 h 189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2021" h="189338">
                    <a:moveTo>
                      <a:pt x="180724" y="167868"/>
                    </a:moveTo>
                    <a:lnTo>
                      <a:pt x="2082022" y="167868"/>
                    </a:lnTo>
                    <a:lnTo>
                      <a:pt x="2082022" y="-23"/>
                    </a:lnTo>
                    <a:lnTo>
                      <a:pt x="180724" y="-23"/>
                    </a:lnTo>
                    <a:cubicBezTo>
                      <a:pt x="120073" y="311"/>
                      <a:pt x="59579" y="6183"/>
                      <a:pt x="0" y="17557"/>
                    </a:cubicBezTo>
                    <a:lnTo>
                      <a:pt x="0" y="189316"/>
                    </a:lnTo>
                    <a:cubicBezTo>
                      <a:pt x="59245" y="175357"/>
                      <a:pt x="119862" y="168167"/>
                      <a:pt x="180724" y="167868"/>
                    </a:cubicBezTo>
                    <a:close/>
                  </a:path>
                </a:pathLst>
              </a:custGeom>
              <a:solidFill>
                <a:schemeClr val="bg2"/>
              </a:solidFill>
              <a:ln w="17576" cap="flat">
                <a:noFill/>
                <a:prstDash val="solid"/>
                <a:miter/>
              </a:ln>
            </p:spPr>
            <p:txBody>
              <a:bodyPr rtlCol="0" anchor="ctr"/>
              <a:lstStyle/>
              <a:p>
                <a:endParaRPr lang="en-GB" sz="2800"/>
              </a:p>
            </p:txBody>
          </p:sp>
          <p:sp>
            <p:nvSpPr>
              <p:cNvPr id="13" name="Freeform: Shape 12">
                <a:extLst>
                  <a:ext uri="{FF2B5EF4-FFF2-40B4-BE49-F238E27FC236}">
                    <a16:creationId xmlns:a16="http://schemas.microsoft.com/office/drawing/2014/main" id="{7229ED93-8D3B-60B8-18F0-B7940E0D2AE7}"/>
                  </a:ext>
                </a:extLst>
              </p:cNvPr>
              <p:cNvSpPr/>
              <p:nvPr/>
            </p:nvSpPr>
            <p:spPr>
              <a:xfrm>
                <a:off x="4167877" y="1322388"/>
                <a:ext cx="2082021" cy="168662"/>
              </a:xfrm>
              <a:custGeom>
                <a:avLst/>
                <a:gdLst>
                  <a:gd name="connsiteX0" fmla="*/ 0 w 2082197"/>
                  <a:gd name="connsiteY0" fmla="*/ 0 h 167890"/>
                  <a:gd name="connsiteX1" fmla="*/ 2082198 w 2082197"/>
                  <a:gd name="connsiteY1" fmla="*/ 0 h 167890"/>
                  <a:gd name="connsiteX2" fmla="*/ 2082198 w 2082197"/>
                  <a:gd name="connsiteY2" fmla="*/ 167891 h 167890"/>
                  <a:gd name="connsiteX3" fmla="*/ 0 w 2082197"/>
                  <a:gd name="connsiteY3" fmla="*/ 167891 h 167890"/>
                </a:gdLst>
                <a:ahLst/>
                <a:cxnLst>
                  <a:cxn ang="0">
                    <a:pos x="connsiteX0" y="connsiteY0"/>
                  </a:cxn>
                  <a:cxn ang="0">
                    <a:pos x="connsiteX1" y="connsiteY1"/>
                  </a:cxn>
                  <a:cxn ang="0">
                    <a:pos x="connsiteX2" y="connsiteY2"/>
                  </a:cxn>
                  <a:cxn ang="0">
                    <a:pos x="connsiteX3" y="connsiteY3"/>
                  </a:cxn>
                </a:cxnLst>
                <a:rect l="l" t="t" r="r" b="b"/>
                <a:pathLst>
                  <a:path w="2082197" h="167890">
                    <a:moveTo>
                      <a:pt x="0" y="0"/>
                    </a:moveTo>
                    <a:lnTo>
                      <a:pt x="2082198" y="0"/>
                    </a:lnTo>
                    <a:lnTo>
                      <a:pt x="2082198" y="167891"/>
                    </a:lnTo>
                    <a:lnTo>
                      <a:pt x="0" y="167891"/>
                    </a:lnTo>
                    <a:close/>
                  </a:path>
                </a:pathLst>
              </a:custGeom>
              <a:solidFill>
                <a:schemeClr val="accent1"/>
              </a:solidFill>
              <a:ln w="17576" cap="flat">
                <a:noFill/>
                <a:prstDash val="solid"/>
                <a:miter/>
              </a:ln>
            </p:spPr>
            <p:txBody>
              <a:bodyPr rtlCol="0" anchor="ctr"/>
              <a:lstStyle/>
              <a:p>
                <a:endParaRPr lang="en-GB" sz="2800"/>
              </a:p>
            </p:txBody>
          </p:sp>
          <p:sp>
            <p:nvSpPr>
              <p:cNvPr id="14" name="Freeform: Shape 13">
                <a:extLst>
                  <a:ext uri="{FF2B5EF4-FFF2-40B4-BE49-F238E27FC236}">
                    <a16:creationId xmlns:a16="http://schemas.microsoft.com/office/drawing/2014/main" id="{036151C2-C657-02C4-67BD-A442082A360D}"/>
                  </a:ext>
                </a:extLst>
              </p:cNvPr>
              <p:cNvSpPr/>
              <p:nvPr/>
            </p:nvSpPr>
            <p:spPr>
              <a:xfrm>
                <a:off x="3374220" y="3123654"/>
                <a:ext cx="795518" cy="1919229"/>
              </a:xfrm>
              <a:custGeom>
                <a:avLst/>
                <a:gdLst>
                  <a:gd name="connsiteX0" fmla="*/ 167906 w 795518"/>
                  <a:gd name="connsiteY0" fmla="*/ 959680 h 1919229"/>
                  <a:gd name="connsiteX1" fmla="*/ 795519 w 795518"/>
                  <a:gd name="connsiteY1" fmla="*/ 171735 h 1919229"/>
                  <a:gd name="connsiteX2" fmla="*/ 795519 w 795518"/>
                  <a:gd name="connsiteY2" fmla="*/ -23 h 1919229"/>
                  <a:gd name="connsiteX3" fmla="*/ 17142 w 795518"/>
                  <a:gd name="connsiteY3" fmla="*/ 1140826 h 1919229"/>
                  <a:gd name="connsiteX4" fmla="*/ 795519 w 795518"/>
                  <a:gd name="connsiteY4" fmla="*/ 1919207 h 1919229"/>
                  <a:gd name="connsiteX5" fmla="*/ 795519 w 795518"/>
                  <a:gd name="connsiteY5" fmla="*/ 1747624 h 1919229"/>
                  <a:gd name="connsiteX6" fmla="*/ 167906 w 795518"/>
                  <a:gd name="connsiteY6" fmla="*/ 959680 h 1919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5518" h="1919229">
                    <a:moveTo>
                      <a:pt x="167906" y="959680"/>
                    </a:moveTo>
                    <a:cubicBezTo>
                      <a:pt x="168394" y="583024"/>
                      <a:pt x="428515" y="256454"/>
                      <a:pt x="795519" y="171735"/>
                    </a:cubicBezTo>
                    <a:lnTo>
                      <a:pt x="795519" y="-23"/>
                    </a:lnTo>
                    <a:cubicBezTo>
                      <a:pt x="265537" y="100079"/>
                      <a:pt x="-82953" y="610854"/>
                      <a:pt x="17142" y="1140826"/>
                    </a:cubicBezTo>
                    <a:cubicBezTo>
                      <a:pt x="91726" y="1535730"/>
                      <a:pt x="400615" y="1844631"/>
                      <a:pt x="795519" y="1919207"/>
                    </a:cubicBezTo>
                    <a:lnTo>
                      <a:pt x="795519" y="1747624"/>
                    </a:lnTo>
                    <a:cubicBezTo>
                      <a:pt x="428515" y="1662905"/>
                      <a:pt x="168394" y="1336335"/>
                      <a:pt x="167906" y="959680"/>
                    </a:cubicBezTo>
                    <a:close/>
                  </a:path>
                </a:pathLst>
              </a:custGeom>
              <a:solidFill>
                <a:schemeClr val="accent3"/>
              </a:solidFill>
              <a:ln w="17576" cap="flat">
                <a:noFill/>
                <a:prstDash val="solid"/>
                <a:miter/>
              </a:ln>
            </p:spPr>
            <p:txBody>
              <a:bodyPr rtlCol="0" anchor="ctr"/>
              <a:lstStyle/>
              <a:p>
                <a:endParaRPr lang="en-GB" sz="2800"/>
              </a:p>
            </p:txBody>
          </p:sp>
          <p:sp>
            <p:nvSpPr>
              <p:cNvPr id="15" name="Freeform: Shape 14">
                <a:extLst>
                  <a:ext uri="{FF2B5EF4-FFF2-40B4-BE49-F238E27FC236}">
                    <a16:creationId xmlns:a16="http://schemas.microsoft.com/office/drawing/2014/main" id="{ECE911B5-C3EA-C995-0C5A-89188330C6A2}"/>
                  </a:ext>
                </a:extLst>
              </p:cNvPr>
              <p:cNvSpPr/>
              <p:nvPr/>
            </p:nvSpPr>
            <p:spPr>
              <a:xfrm>
                <a:off x="5880346" y="1326940"/>
                <a:ext cx="2453610" cy="174910"/>
              </a:xfrm>
              <a:custGeom>
                <a:avLst/>
                <a:gdLst>
                  <a:gd name="connsiteX0" fmla="*/ 1901298 w 2082197"/>
                  <a:gd name="connsiteY0" fmla="*/ 168923 h 189338"/>
                  <a:gd name="connsiteX1" fmla="*/ 2082197 w 2082197"/>
                  <a:gd name="connsiteY1" fmla="*/ 189316 h 189338"/>
                  <a:gd name="connsiteX2" fmla="*/ 2082197 w 2082197"/>
                  <a:gd name="connsiteY2" fmla="*/ 17557 h 189338"/>
                  <a:gd name="connsiteX3" fmla="*/ 1901298 w 2082197"/>
                  <a:gd name="connsiteY3" fmla="*/ -23 h 189338"/>
                  <a:gd name="connsiteX4" fmla="*/ 0 w 2082197"/>
                  <a:gd name="connsiteY4" fmla="*/ -23 h 189338"/>
                  <a:gd name="connsiteX5" fmla="*/ 0 w 2082197"/>
                  <a:gd name="connsiteY5" fmla="*/ 167868 h 189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197" h="189338">
                    <a:moveTo>
                      <a:pt x="1901298" y="168923"/>
                    </a:moveTo>
                    <a:cubicBezTo>
                      <a:pt x="1962178" y="168877"/>
                      <a:pt x="2022864" y="175717"/>
                      <a:pt x="2082197" y="189316"/>
                    </a:cubicBezTo>
                    <a:lnTo>
                      <a:pt x="2082197" y="17557"/>
                    </a:lnTo>
                    <a:cubicBezTo>
                      <a:pt x="2022565" y="6111"/>
                      <a:pt x="1962019" y="227"/>
                      <a:pt x="1901298" y="-23"/>
                    </a:cubicBezTo>
                    <a:lnTo>
                      <a:pt x="0" y="-23"/>
                    </a:lnTo>
                    <a:lnTo>
                      <a:pt x="0" y="167868"/>
                    </a:lnTo>
                    <a:close/>
                  </a:path>
                </a:pathLst>
              </a:custGeom>
              <a:solidFill>
                <a:schemeClr val="accent1"/>
              </a:solidFill>
              <a:ln w="17576" cap="flat">
                <a:noFill/>
                <a:prstDash val="solid"/>
                <a:miter/>
              </a:ln>
            </p:spPr>
            <p:txBody>
              <a:bodyPr rtlCol="0" anchor="ctr"/>
              <a:lstStyle/>
              <a:p>
                <a:endParaRPr lang="en-GB" sz="2800"/>
              </a:p>
            </p:txBody>
          </p:sp>
        </p:grpSp>
        <p:sp>
          <p:nvSpPr>
            <p:cNvPr id="16" name="TextBox 15">
              <a:extLst>
                <a:ext uri="{FF2B5EF4-FFF2-40B4-BE49-F238E27FC236}">
                  <a16:creationId xmlns:a16="http://schemas.microsoft.com/office/drawing/2014/main" id="{67B495B9-BE91-4B3B-F5BB-7FAB5DA79B68}"/>
                </a:ext>
              </a:extLst>
            </p:cNvPr>
            <p:cNvSpPr txBox="1"/>
            <p:nvPr/>
          </p:nvSpPr>
          <p:spPr>
            <a:xfrm>
              <a:off x="1212425" y="4508732"/>
              <a:ext cx="6726588" cy="2822011"/>
            </a:xfrm>
            <a:prstGeom prst="rect">
              <a:avLst/>
            </a:prstGeom>
            <a:noFill/>
          </p:spPr>
          <p:txBody>
            <a:bodyPr wrap="square" lIns="0" tIns="0" rIns="0" bIns="0" rtlCol="0">
              <a:spAutoFit/>
            </a:bodyPr>
            <a:lstStyle/>
            <a:p>
              <a:pPr marL="514350" indent="-514350" defTabSz="1828343">
                <a:buClrTx/>
                <a:buAutoNum type="arabicPeriod"/>
                <a:defRPr/>
              </a:pPr>
              <a:r>
                <a:rPr lang="en-GB" sz="2800" b="1" kern="1200">
                  <a:solidFill>
                    <a:srgbClr val="00338D"/>
                  </a:solidFill>
                  <a:ea typeface="+mn-ea"/>
                  <a:cs typeface="+mn-cs"/>
                </a:rPr>
                <a:t>Understand the business problem </a:t>
              </a:r>
            </a:p>
            <a:p>
              <a:pPr defTabSz="1828343">
                <a:buClrTx/>
                <a:defRPr/>
              </a:pPr>
              <a:r>
                <a:rPr lang="en-US" sz="2800" kern="1200">
                  <a:ea typeface="+mn-ea"/>
                  <a:cs typeface="+mn-cs"/>
                </a:rPr>
                <a:t>Internalize the challenge statement and prompt, and conduct additional research on the client and their needs. Brainstorm how you can provide a practical and reliable solution to the client. </a:t>
              </a:r>
              <a:r>
                <a:rPr lang="en-US" sz="2800" b="1" kern="1200">
                  <a:ea typeface="+mn-ea"/>
                  <a:cs typeface="+mn-cs"/>
                </a:rPr>
                <a:t>Define your criteria for success.</a:t>
              </a:r>
              <a:endParaRPr lang="en-GB" sz="2800" b="1" kern="1200">
                <a:ea typeface="+mn-ea"/>
                <a:cs typeface="+mn-cs"/>
              </a:endParaRPr>
            </a:p>
          </p:txBody>
        </p:sp>
        <p:sp>
          <p:nvSpPr>
            <p:cNvPr id="17" name="TextBox 16">
              <a:extLst>
                <a:ext uri="{FF2B5EF4-FFF2-40B4-BE49-F238E27FC236}">
                  <a16:creationId xmlns:a16="http://schemas.microsoft.com/office/drawing/2014/main" id="{4C8EAE34-7D96-FB11-CE3B-BE912FFA9882}"/>
                </a:ext>
              </a:extLst>
            </p:cNvPr>
            <p:cNvSpPr txBox="1"/>
            <p:nvPr/>
          </p:nvSpPr>
          <p:spPr>
            <a:xfrm>
              <a:off x="8671566" y="4474713"/>
              <a:ext cx="6937381" cy="2333139"/>
            </a:xfrm>
            <a:prstGeom prst="rect">
              <a:avLst/>
            </a:prstGeom>
            <a:noFill/>
          </p:spPr>
          <p:txBody>
            <a:bodyPr wrap="square" lIns="0" tIns="0" rIns="0" bIns="0" rtlCol="0">
              <a:spAutoFit/>
            </a:bodyPr>
            <a:lstStyle/>
            <a:p>
              <a:pPr defTabSz="1828343">
                <a:lnSpc>
                  <a:spcPct val="110000"/>
                </a:lnSpc>
                <a:buClrTx/>
                <a:defRPr/>
              </a:pPr>
              <a:r>
                <a:rPr lang="en-GB" sz="2800" b="1">
                  <a:solidFill>
                    <a:srgbClr val="00338D"/>
                  </a:solidFill>
                </a:rPr>
                <a:t>2. Get familiar with the data</a:t>
              </a:r>
              <a:endParaRPr lang="en-GB" sz="2800" b="1" kern="1200">
                <a:solidFill>
                  <a:srgbClr val="00338D"/>
                </a:solidFill>
                <a:ea typeface="+mn-ea"/>
                <a:cs typeface="+mn-cs"/>
              </a:endParaRPr>
            </a:p>
            <a:p>
              <a:pPr>
                <a:lnSpc>
                  <a:spcPct val="110000"/>
                </a:lnSpc>
                <a:spcAft>
                  <a:spcPts val="1200"/>
                </a:spcAft>
                <a:defRPr/>
              </a:pPr>
              <a:r>
                <a:rPr lang="en-US" sz="2800" kern="1200">
                  <a:ea typeface="+mn-ea"/>
                  <a:cs typeface="+mn-cs"/>
                </a:rPr>
                <a:t>Review the available data and reports and understand how they tie to each other. Read the data dictionaries. </a:t>
              </a:r>
              <a:r>
                <a:rPr lang="en-US" sz="2800" b="1" kern="1200">
                  <a:ea typeface="+mn-ea"/>
                  <a:cs typeface="+mn-cs"/>
                </a:rPr>
                <a:t>Save all necessary data for your team to work on.</a:t>
              </a:r>
              <a:endParaRPr lang="en-GB" sz="2800" kern="1200">
                <a:ea typeface="+mn-ea"/>
                <a:cs typeface="+mn-cs"/>
              </a:endParaRPr>
            </a:p>
          </p:txBody>
        </p:sp>
        <p:sp>
          <p:nvSpPr>
            <p:cNvPr id="18" name="TextBox 17">
              <a:extLst>
                <a:ext uri="{FF2B5EF4-FFF2-40B4-BE49-F238E27FC236}">
                  <a16:creationId xmlns:a16="http://schemas.microsoft.com/office/drawing/2014/main" id="{DF31F955-1B4F-3FB1-3A37-64C51DC40EE5}"/>
                </a:ext>
              </a:extLst>
            </p:cNvPr>
            <p:cNvSpPr txBox="1"/>
            <p:nvPr/>
          </p:nvSpPr>
          <p:spPr>
            <a:xfrm>
              <a:off x="8821695" y="7459068"/>
              <a:ext cx="12449028" cy="2842349"/>
            </a:xfrm>
            <a:prstGeom prst="rect">
              <a:avLst/>
            </a:prstGeom>
            <a:noFill/>
          </p:spPr>
          <p:txBody>
            <a:bodyPr wrap="square" lIns="0" tIns="0" rIns="0" bIns="0" rtlCol="0">
              <a:spAutoFit/>
            </a:bodyPr>
            <a:lstStyle/>
            <a:p>
              <a:pPr defTabSz="1828343">
                <a:lnSpc>
                  <a:spcPct val="110000"/>
                </a:lnSpc>
                <a:spcAft>
                  <a:spcPts val="600"/>
                </a:spcAft>
                <a:buClrTx/>
                <a:defRPr/>
              </a:pPr>
              <a:r>
                <a:rPr lang="en-GB" sz="2800" b="1" kern="1200">
                  <a:solidFill>
                    <a:srgbClr val="00338D"/>
                  </a:solidFill>
                  <a:ea typeface="+mn-ea"/>
                  <a:cs typeface="+mn-cs"/>
                </a:rPr>
                <a:t>4. Data analysis and modelling</a:t>
              </a:r>
            </a:p>
            <a:p>
              <a:pPr>
                <a:lnSpc>
                  <a:spcPct val="110000"/>
                </a:lnSpc>
                <a:spcAft>
                  <a:spcPts val="1200"/>
                </a:spcAft>
                <a:defRPr/>
              </a:pPr>
              <a:r>
                <a:rPr lang="en-US" sz="2800" kern="1200">
                  <a:latin typeface="+mj-lt"/>
                  <a:ea typeface="+mn-ea"/>
                  <a:cs typeface="+mn-cs"/>
                </a:rPr>
                <a:t>Using data analysis and ML processes find trends in the data related to the </a:t>
              </a:r>
              <a:r>
                <a:rPr lang="en-US" sz="2800" kern="1200">
                  <a:solidFill>
                    <a:schemeClr val="tx1"/>
                  </a:solidFill>
                  <a:latin typeface="+mj-lt"/>
                  <a:ea typeface="+mn-ea"/>
                  <a:cs typeface="+mn-cs"/>
                </a:rPr>
                <a:t>problem statement and business issue. Ensure you have a training and testing set.  Select techniques to d</a:t>
              </a:r>
              <a:r>
                <a:rPr lang="en-US" sz="2800">
                  <a:solidFill>
                    <a:schemeClr val="tx1"/>
                  </a:solidFill>
                  <a:latin typeface="+mj-lt"/>
                  <a:ea typeface="Open Sans"/>
                  <a:cs typeface="Open Sans"/>
                  <a:sym typeface="Open Sans"/>
                </a:rPr>
                <a:t>evelop a machine learning model that can accurately </a:t>
              </a:r>
              <a:r>
                <a:rPr lang="en-US" sz="2800" b="1">
                  <a:solidFill>
                    <a:schemeClr val="tx1"/>
                  </a:solidFill>
                  <a:latin typeface="+mj-lt"/>
                  <a:ea typeface="Open Sans"/>
                  <a:cs typeface="Open Sans"/>
                  <a:sym typeface="Open Sans"/>
                </a:rPr>
                <a:t>predict the likelihood of future donations.</a:t>
              </a:r>
            </a:p>
            <a:p>
              <a:pPr>
                <a:lnSpc>
                  <a:spcPct val="110000"/>
                </a:lnSpc>
                <a:spcAft>
                  <a:spcPts val="1200"/>
                </a:spcAft>
                <a:defRPr/>
              </a:pPr>
              <a:endParaRPr lang="en-GB" sz="2800" kern="1200">
                <a:highlight>
                  <a:srgbClr val="FFFF00"/>
                </a:highlight>
                <a:ea typeface="+mn-ea"/>
                <a:cs typeface="+mn-cs"/>
              </a:endParaRPr>
            </a:p>
          </p:txBody>
        </p:sp>
        <p:sp>
          <p:nvSpPr>
            <p:cNvPr id="19" name="TextBox 18">
              <a:extLst>
                <a:ext uri="{FF2B5EF4-FFF2-40B4-BE49-F238E27FC236}">
                  <a16:creationId xmlns:a16="http://schemas.microsoft.com/office/drawing/2014/main" id="{105858A2-930A-F3F9-FB31-56CAF8F7F288}"/>
                </a:ext>
              </a:extLst>
            </p:cNvPr>
            <p:cNvSpPr txBox="1"/>
            <p:nvPr/>
          </p:nvSpPr>
          <p:spPr>
            <a:xfrm>
              <a:off x="1623213" y="8505878"/>
              <a:ext cx="5281560" cy="3141828"/>
            </a:xfrm>
            <a:prstGeom prst="rect">
              <a:avLst/>
            </a:prstGeom>
            <a:noFill/>
          </p:spPr>
          <p:txBody>
            <a:bodyPr wrap="square" lIns="0" tIns="0" rIns="0" bIns="0" rtlCol="0">
              <a:spAutoFit/>
            </a:bodyPr>
            <a:lstStyle/>
            <a:p>
              <a:pPr defTabSz="1828343">
                <a:lnSpc>
                  <a:spcPct val="110000"/>
                </a:lnSpc>
                <a:spcAft>
                  <a:spcPts val="600"/>
                </a:spcAft>
                <a:buClrTx/>
                <a:defRPr/>
              </a:pPr>
              <a:r>
                <a:rPr lang="en-GB" sz="2800" b="1" kern="1200">
                  <a:solidFill>
                    <a:srgbClr val="00338D"/>
                  </a:solidFill>
                  <a:ea typeface="+mn-ea"/>
                  <a:cs typeface="+mn-cs"/>
                </a:rPr>
                <a:t>5. Validate and enhance</a:t>
              </a:r>
            </a:p>
            <a:p>
              <a:pPr>
                <a:lnSpc>
                  <a:spcPct val="110000"/>
                </a:lnSpc>
                <a:spcAft>
                  <a:spcPts val="1200"/>
                </a:spcAft>
                <a:defRPr/>
              </a:pPr>
              <a:r>
                <a:rPr lang="en-US" sz="2800" kern="1200">
                  <a:ea typeface="+mn-ea"/>
                  <a:cs typeface="+mn-cs"/>
                </a:rPr>
                <a:t>Test your model against reasonable model metrics. Ensure your results are interpretable and reasonable. </a:t>
              </a:r>
              <a:r>
                <a:rPr lang="en-US" sz="2800" b="1" kern="1200">
                  <a:ea typeface="+mn-ea"/>
                  <a:cs typeface="+mn-cs"/>
                </a:rPr>
                <a:t>Does your model result meet the business success criteria?</a:t>
              </a:r>
              <a:endParaRPr lang="en-GB" sz="2800" b="1" kern="1200">
                <a:ea typeface="+mn-ea"/>
                <a:cs typeface="+mn-cs"/>
              </a:endParaRPr>
            </a:p>
          </p:txBody>
        </p:sp>
        <p:sp>
          <p:nvSpPr>
            <p:cNvPr id="20" name="TextBox 19">
              <a:extLst>
                <a:ext uri="{FF2B5EF4-FFF2-40B4-BE49-F238E27FC236}">
                  <a16:creationId xmlns:a16="http://schemas.microsoft.com/office/drawing/2014/main" id="{EE9FFA4D-72E5-8E5F-8F4F-D97C3BC638D8}"/>
                </a:ext>
              </a:extLst>
            </p:cNvPr>
            <p:cNvSpPr txBox="1"/>
            <p:nvPr/>
          </p:nvSpPr>
          <p:spPr>
            <a:xfrm>
              <a:off x="7292163" y="10707346"/>
              <a:ext cx="8122411" cy="2254910"/>
            </a:xfrm>
            <a:prstGeom prst="rect">
              <a:avLst/>
            </a:prstGeom>
            <a:noFill/>
          </p:spPr>
          <p:txBody>
            <a:bodyPr wrap="square" lIns="0" tIns="0" rIns="0" bIns="0" rtlCol="0">
              <a:spAutoFit/>
            </a:bodyPr>
            <a:lstStyle/>
            <a:p>
              <a:pPr defTabSz="1828343">
                <a:lnSpc>
                  <a:spcPct val="110000"/>
                </a:lnSpc>
                <a:spcAft>
                  <a:spcPts val="600"/>
                </a:spcAft>
                <a:buClrTx/>
                <a:defRPr/>
              </a:pPr>
              <a:r>
                <a:rPr lang="en-GB" sz="2800" b="1" kern="1200">
                  <a:solidFill>
                    <a:srgbClr val="00338D"/>
                  </a:solidFill>
                  <a:ea typeface="+mn-ea"/>
                  <a:cs typeface="+mn-cs"/>
                </a:rPr>
                <a:t>6. Finalize your product</a:t>
              </a:r>
            </a:p>
            <a:p>
              <a:pPr defTabSz="1828343">
                <a:lnSpc>
                  <a:spcPct val="110000"/>
                </a:lnSpc>
                <a:spcAft>
                  <a:spcPts val="600"/>
                </a:spcAft>
                <a:buClrTx/>
                <a:defRPr/>
              </a:pPr>
              <a:r>
                <a:rPr lang="en-US" sz="2800" kern="1200">
                  <a:latin typeface="+mj-lt"/>
                  <a:ea typeface="+mn-ea"/>
                  <a:cs typeface="+mn-cs"/>
                </a:rPr>
                <a:t>What are your predictions on unseen data? What is the donor profile of a repeat donor? Define the process, your model parameters, its metrics, and why you chose that model for your solution?</a:t>
              </a:r>
              <a:endParaRPr lang="en-GB" sz="2800" b="1" kern="1200">
                <a:solidFill>
                  <a:srgbClr val="00338D"/>
                </a:solidFill>
                <a:ea typeface="+mn-ea"/>
                <a:cs typeface="+mn-cs"/>
              </a:endParaRPr>
            </a:p>
          </p:txBody>
        </p:sp>
        <p:sp>
          <p:nvSpPr>
            <p:cNvPr id="21" name="TextBox 20">
              <a:extLst>
                <a:ext uri="{FF2B5EF4-FFF2-40B4-BE49-F238E27FC236}">
                  <a16:creationId xmlns:a16="http://schemas.microsoft.com/office/drawing/2014/main" id="{38CB11AF-D4D6-96FA-49A8-6E469D6120B5}"/>
                </a:ext>
              </a:extLst>
            </p:cNvPr>
            <p:cNvSpPr txBox="1"/>
            <p:nvPr/>
          </p:nvSpPr>
          <p:spPr>
            <a:xfrm>
              <a:off x="16064684" y="10864760"/>
              <a:ext cx="7281201" cy="2254909"/>
            </a:xfrm>
            <a:prstGeom prst="rect">
              <a:avLst/>
            </a:prstGeom>
            <a:noFill/>
          </p:spPr>
          <p:txBody>
            <a:bodyPr wrap="square" lIns="0" tIns="0" rIns="0" bIns="0" rtlCol="0">
              <a:spAutoFit/>
            </a:bodyPr>
            <a:lstStyle/>
            <a:p>
              <a:pPr defTabSz="1828343">
                <a:lnSpc>
                  <a:spcPct val="110000"/>
                </a:lnSpc>
                <a:spcAft>
                  <a:spcPts val="600"/>
                </a:spcAft>
                <a:buClrTx/>
                <a:defRPr/>
              </a:pPr>
              <a:r>
                <a:rPr lang="en-GB" sz="2800" b="1">
                  <a:solidFill>
                    <a:srgbClr val="003294"/>
                  </a:solidFill>
                </a:rPr>
                <a:t>7. Put it together in a presentation</a:t>
              </a:r>
              <a:endParaRPr lang="en-GB" sz="2800" b="1" kern="1200">
                <a:solidFill>
                  <a:srgbClr val="003294"/>
                </a:solidFill>
                <a:ea typeface="+mn-ea"/>
                <a:cs typeface="+mn-cs"/>
              </a:endParaRPr>
            </a:p>
            <a:p>
              <a:pPr>
                <a:lnSpc>
                  <a:spcPct val="110000"/>
                </a:lnSpc>
                <a:spcAft>
                  <a:spcPts val="1200"/>
                </a:spcAft>
                <a:defRPr/>
              </a:pPr>
              <a:r>
                <a:rPr lang="en-US" sz="2800" kern="1200">
                  <a:ea typeface="+mn-ea"/>
                  <a:cs typeface="+mn-cs"/>
                </a:rPr>
                <a:t>Present a compelling presentation that clearly states the problem, your solution, how it meets the criteria for success. </a:t>
              </a:r>
              <a:r>
                <a:rPr lang="en-US" sz="2800" b="1" kern="1200">
                  <a:ea typeface="+mn-ea"/>
                  <a:cs typeface="+mn-cs"/>
                </a:rPr>
                <a:t>Your presentation should be client-facing.</a:t>
              </a:r>
              <a:endParaRPr lang="en-GB" sz="2800" b="1" kern="1200">
                <a:ea typeface="+mn-ea"/>
                <a:cs typeface="+mn-cs"/>
              </a:endParaRPr>
            </a:p>
          </p:txBody>
        </p:sp>
        <p:sp>
          <p:nvSpPr>
            <p:cNvPr id="22" name="TextBox 21">
              <a:extLst>
                <a:ext uri="{FF2B5EF4-FFF2-40B4-BE49-F238E27FC236}">
                  <a16:creationId xmlns:a16="http://schemas.microsoft.com/office/drawing/2014/main" id="{A33C57AE-1082-A816-6CFA-A3587E75FE25}"/>
                </a:ext>
              </a:extLst>
            </p:cNvPr>
            <p:cNvSpPr txBox="1"/>
            <p:nvPr/>
          </p:nvSpPr>
          <p:spPr>
            <a:xfrm>
              <a:off x="17417714" y="4189894"/>
              <a:ext cx="6249434" cy="2698368"/>
            </a:xfrm>
            <a:prstGeom prst="rect">
              <a:avLst/>
            </a:prstGeom>
            <a:noFill/>
          </p:spPr>
          <p:txBody>
            <a:bodyPr wrap="square" lIns="0" tIns="0" rIns="0" bIns="0" rtlCol="0">
              <a:spAutoFit/>
            </a:bodyPr>
            <a:lstStyle/>
            <a:p>
              <a:pPr defTabSz="1828343">
                <a:lnSpc>
                  <a:spcPct val="110000"/>
                </a:lnSpc>
                <a:spcAft>
                  <a:spcPts val="600"/>
                </a:spcAft>
                <a:buClrTx/>
                <a:defRPr/>
              </a:pPr>
              <a:r>
                <a:rPr lang="en-GB" sz="2800" b="1">
                  <a:solidFill>
                    <a:srgbClr val="00338D"/>
                  </a:solidFill>
                </a:rPr>
                <a:t>3. </a:t>
              </a:r>
              <a:r>
                <a:rPr lang="en-GB" sz="2800" b="1" kern="1200">
                  <a:solidFill>
                    <a:srgbClr val="00338D"/>
                  </a:solidFill>
                  <a:ea typeface="+mn-ea"/>
                  <a:cs typeface="+mn-cs"/>
                </a:rPr>
                <a:t>Clean and prepare the data</a:t>
              </a:r>
            </a:p>
            <a:p>
              <a:pPr>
                <a:lnSpc>
                  <a:spcPct val="110000"/>
                </a:lnSpc>
                <a:spcAft>
                  <a:spcPts val="1200"/>
                </a:spcAft>
                <a:defRPr/>
              </a:pPr>
              <a:r>
                <a:rPr lang="en-US" sz="2800" kern="1200">
                  <a:ea typeface="+mn-ea"/>
                  <a:cs typeface="+mn-cs"/>
                </a:rPr>
                <a:t>Clean, transform, join, and group the data to answer your problem statement. Perform Exploratory Data Analysis (EDA) to </a:t>
              </a:r>
              <a:r>
                <a:rPr lang="en-US" sz="2800" b="1" kern="1200">
                  <a:ea typeface="+mn-ea"/>
                  <a:cs typeface="+mn-cs"/>
                </a:rPr>
                <a:t>understand the shape and trends in the data.</a:t>
              </a:r>
              <a:endParaRPr lang="en-GB" sz="2800" b="1" kern="1200">
                <a:ea typeface="+mn-ea"/>
                <a:cs typeface="+mn-cs"/>
              </a:endParaRPr>
            </a:p>
          </p:txBody>
        </p:sp>
        <p:sp>
          <p:nvSpPr>
            <p:cNvPr id="23" name="Oval 22">
              <a:extLst>
                <a:ext uri="{FF2B5EF4-FFF2-40B4-BE49-F238E27FC236}">
                  <a16:creationId xmlns:a16="http://schemas.microsoft.com/office/drawing/2014/main" id="{2F6DCFE1-0675-27EF-3427-1954416AA2FD}"/>
                </a:ext>
              </a:extLst>
            </p:cNvPr>
            <p:cNvSpPr/>
            <p:nvPr/>
          </p:nvSpPr>
          <p:spPr>
            <a:xfrm>
              <a:off x="16273111" y="4902591"/>
              <a:ext cx="1073766" cy="1073766"/>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109192" tIns="109192" rIns="109192" bIns="109192" rtlCol="0" anchor="ctr"/>
            <a:lstStyle/>
            <a:p>
              <a:pPr algn="l"/>
              <a:endParaRPr lang="en-GB" sz="2800" err="1">
                <a:solidFill>
                  <a:schemeClr val="bg1"/>
                </a:solidFill>
              </a:endParaRPr>
            </a:p>
          </p:txBody>
        </p:sp>
        <p:sp>
          <p:nvSpPr>
            <p:cNvPr id="24" name="Oval 23">
              <a:extLst>
                <a:ext uri="{FF2B5EF4-FFF2-40B4-BE49-F238E27FC236}">
                  <a16:creationId xmlns:a16="http://schemas.microsoft.com/office/drawing/2014/main" id="{2EC35B6C-E694-9F47-F422-4A6CE5C5AC91}"/>
                </a:ext>
              </a:extLst>
            </p:cNvPr>
            <p:cNvSpPr/>
            <p:nvPr/>
          </p:nvSpPr>
          <p:spPr>
            <a:xfrm>
              <a:off x="6696118" y="8052182"/>
              <a:ext cx="1073766" cy="107376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09192" tIns="109192" rIns="109192" bIns="109192" rtlCol="0" anchor="ctr"/>
            <a:lstStyle/>
            <a:p>
              <a:pPr algn="l"/>
              <a:endParaRPr lang="en-GB" sz="2800" err="1">
                <a:solidFill>
                  <a:schemeClr val="bg1"/>
                </a:solidFill>
              </a:endParaRPr>
            </a:p>
          </p:txBody>
        </p:sp>
        <p:grpSp>
          <p:nvGrpSpPr>
            <p:cNvPr id="25" name="Group 24">
              <a:extLst>
                <a:ext uri="{FF2B5EF4-FFF2-40B4-BE49-F238E27FC236}">
                  <a16:creationId xmlns:a16="http://schemas.microsoft.com/office/drawing/2014/main" id="{DF5260D1-CC3A-4C42-F182-A1D4632D9132}"/>
                </a:ext>
              </a:extLst>
            </p:cNvPr>
            <p:cNvGrpSpPr/>
            <p:nvPr/>
          </p:nvGrpSpPr>
          <p:grpSpPr>
            <a:xfrm>
              <a:off x="11151861" y="6493426"/>
              <a:ext cx="1073766" cy="1073766"/>
              <a:chOff x="5981648" y="4416484"/>
              <a:chExt cx="537023" cy="537023"/>
            </a:xfrm>
          </p:grpSpPr>
          <p:sp>
            <p:nvSpPr>
              <p:cNvPr id="26" name="Oval 25">
                <a:extLst>
                  <a:ext uri="{FF2B5EF4-FFF2-40B4-BE49-F238E27FC236}">
                    <a16:creationId xmlns:a16="http://schemas.microsoft.com/office/drawing/2014/main" id="{E4AD1A48-97EB-8C11-86B9-F5407D2341CF}"/>
                  </a:ext>
                </a:extLst>
              </p:cNvPr>
              <p:cNvSpPr/>
              <p:nvPr/>
            </p:nvSpPr>
            <p:spPr>
              <a:xfrm>
                <a:off x="5981648" y="4416484"/>
                <a:ext cx="537023" cy="53702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9192" tIns="109192" rIns="109192" bIns="109192" rtlCol="0" anchor="ctr"/>
              <a:lstStyle/>
              <a:p>
                <a:pPr algn="l"/>
                <a:endParaRPr lang="en-GB" sz="2800" err="1">
                  <a:solidFill>
                    <a:schemeClr val="bg1"/>
                  </a:solidFill>
                </a:endParaRPr>
              </a:p>
            </p:txBody>
          </p:sp>
          <p:grpSp>
            <p:nvGrpSpPr>
              <p:cNvPr id="27" name="Group 26">
                <a:extLst>
                  <a:ext uri="{FF2B5EF4-FFF2-40B4-BE49-F238E27FC236}">
                    <a16:creationId xmlns:a16="http://schemas.microsoft.com/office/drawing/2014/main" id="{6FE10C58-CCA2-BE14-0846-5773D9E2E9D5}"/>
                  </a:ext>
                </a:extLst>
              </p:cNvPr>
              <p:cNvGrpSpPr/>
              <p:nvPr/>
            </p:nvGrpSpPr>
            <p:grpSpPr>
              <a:xfrm>
                <a:off x="6108700" y="4546190"/>
                <a:ext cx="275844" cy="275844"/>
                <a:chOff x="2178173" y="7523647"/>
                <a:chExt cx="495086" cy="495086"/>
              </a:xfrm>
              <a:solidFill>
                <a:schemeClr val="bg1"/>
              </a:solidFill>
            </p:grpSpPr>
            <p:sp>
              <p:nvSpPr>
                <p:cNvPr id="28" name="Freeform: Shape 27">
                  <a:extLst>
                    <a:ext uri="{FF2B5EF4-FFF2-40B4-BE49-F238E27FC236}">
                      <a16:creationId xmlns:a16="http://schemas.microsoft.com/office/drawing/2014/main" id="{69CC3805-E612-AC53-DDA7-48B50DE8A79F}"/>
                    </a:ext>
                  </a:extLst>
                </p:cNvPr>
                <p:cNvSpPr/>
                <p:nvPr/>
              </p:nvSpPr>
              <p:spPr>
                <a:xfrm>
                  <a:off x="2178173" y="7523647"/>
                  <a:ext cx="495086" cy="495086"/>
                </a:xfrm>
                <a:custGeom>
                  <a:avLst/>
                  <a:gdLst>
                    <a:gd name="connsiteX0" fmla="*/ 43684 w 495086"/>
                    <a:gd name="connsiteY0" fmla="*/ 0 h 495086"/>
                    <a:gd name="connsiteX1" fmla="*/ 0 w 495086"/>
                    <a:gd name="connsiteY1" fmla="*/ 0 h 495086"/>
                    <a:gd name="connsiteX2" fmla="*/ 0 w 495086"/>
                    <a:gd name="connsiteY2" fmla="*/ 495087 h 495086"/>
                    <a:gd name="connsiteX3" fmla="*/ 495087 w 495086"/>
                    <a:gd name="connsiteY3" fmla="*/ 495087 h 495086"/>
                    <a:gd name="connsiteX4" fmla="*/ 495087 w 495086"/>
                    <a:gd name="connsiteY4" fmla="*/ 451403 h 495086"/>
                    <a:gd name="connsiteX5" fmla="*/ 43684 w 495086"/>
                    <a:gd name="connsiteY5" fmla="*/ 451403 h 495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086" h="495086">
                      <a:moveTo>
                        <a:pt x="43684" y="0"/>
                      </a:moveTo>
                      <a:lnTo>
                        <a:pt x="0" y="0"/>
                      </a:lnTo>
                      <a:lnTo>
                        <a:pt x="0" y="495087"/>
                      </a:lnTo>
                      <a:lnTo>
                        <a:pt x="495087" y="495087"/>
                      </a:lnTo>
                      <a:lnTo>
                        <a:pt x="495087" y="451403"/>
                      </a:lnTo>
                      <a:lnTo>
                        <a:pt x="43684" y="451403"/>
                      </a:lnTo>
                      <a:close/>
                    </a:path>
                  </a:pathLst>
                </a:custGeom>
                <a:grpFill/>
                <a:ln w="7243" cap="flat">
                  <a:noFill/>
                  <a:prstDash val="solid"/>
                  <a:miter/>
                </a:ln>
              </p:spPr>
              <p:txBody>
                <a:bodyPr rtlCol="0" anchor="ctr"/>
                <a:lstStyle/>
                <a:p>
                  <a:endParaRPr lang="en-US" sz="2800"/>
                </a:p>
              </p:txBody>
            </p:sp>
            <p:sp>
              <p:nvSpPr>
                <p:cNvPr id="29" name="Freeform: Shape 28">
                  <a:extLst>
                    <a:ext uri="{FF2B5EF4-FFF2-40B4-BE49-F238E27FC236}">
                      <a16:creationId xmlns:a16="http://schemas.microsoft.com/office/drawing/2014/main" id="{4E47B54C-C138-6B4F-F7E3-B4E1FC043E5E}"/>
                    </a:ext>
                  </a:extLst>
                </p:cNvPr>
                <p:cNvSpPr/>
                <p:nvPr/>
              </p:nvSpPr>
              <p:spPr>
                <a:xfrm>
                  <a:off x="2265541" y="7676542"/>
                  <a:ext cx="80087" cy="254824"/>
                </a:xfrm>
                <a:custGeom>
                  <a:avLst/>
                  <a:gdLst>
                    <a:gd name="connsiteX0" fmla="*/ 0 w 80087"/>
                    <a:gd name="connsiteY0" fmla="*/ 0 h 254824"/>
                    <a:gd name="connsiteX1" fmla="*/ 80088 w 80087"/>
                    <a:gd name="connsiteY1" fmla="*/ 0 h 254824"/>
                    <a:gd name="connsiteX2" fmla="*/ 80088 w 80087"/>
                    <a:gd name="connsiteY2" fmla="*/ 254824 h 254824"/>
                    <a:gd name="connsiteX3" fmla="*/ 0 w 80087"/>
                    <a:gd name="connsiteY3" fmla="*/ 254824 h 254824"/>
                  </a:gdLst>
                  <a:ahLst/>
                  <a:cxnLst>
                    <a:cxn ang="0">
                      <a:pos x="connsiteX0" y="connsiteY0"/>
                    </a:cxn>
                    <a:cxn ang="0">
                      <a:pos x="connsiteX1" y="connsiteY1"/>
                    </a:cxn>
                    <a:cxn ang="0">
                      <a:pos x="connsiteX2" y="connsiteY2"/>
                    </a:cxn>
                    <a:cxn ang="0">
                      <a:pos x="connsiteX3" y="connsiteY3"/>
                    </a:cxn>
                  </a:cxnLst>
                  <a:rect l="l" t="t" r="r" b="b"/>
                  <a:pathLst>
                    <a:path w="80087" h="254824">
                      <a:moveTo>
                        <a:pt x="0" y="0"/>
                      </a:moveTo>
                      <a:lnTo>
                        <a:pt x="80088" y="0"/>
                      </a:lnTo>
                      <a:lnTo>
                        <a:pt x="80088" y="254824"/>
                      </a:lnTo>
                      <a:lnTo>
                        <a:pt x="0" y="254824"/>
                      </a:lnTo>
                      <a:close/>
                    </a:path>
                  </a:pathLst>
                </a:custGeom>
                <a:grpFill/>
                <a:ln w="7243" cap="flat">
                  <a:noFill/>
                  <a:prstDash val="solid"/>
                  <a:miter/>
                </a:ln>
              </p:spPr>
              <p:txBody>
                <a:bodyPr rtlCol="0" anchor="ctr"/>
                <a:lstStyle/>
                <a:p>
                  <a:endParaRPr lang="en-US" sz="2800"/>
                </a:p>
              </p:txBody>
            </p:sp>
            <p:sp>
              <p:nvSpPr>
                <p:cNvPr id="30" name="Freeform: Shape 29">
                  <a:extLst>
                    <a:ext uri="{FF2B5EF4-FFF2-40B4-BE49-F238E27FC236}">
                      <a16:creationId xmlns:a16="http://schemas.microsoft.com/office/drawing/2014/main" id="{2FD3318A-BD48-DC20-FD97-5FB0A9E61953}"/>
                    </a:ext>
                  </a:extLst>
                </p:cNvPr>
                <p:cNvSpPr/>
                <p:nvPr/>
              </p:nvSpPr>
              <p:spPr>
                <a:xfrm>
                  <a:off x="2374752" y="7523647"/>
                  <a:ext cx="80087" cy="407718"/>
                </a:xfrm>
                <a:custGeom>
                  <a:avLst/>
                  <a:gdLst>
                    <a:gd name="connsiteX0" fmla="*/ 0 w 80087"/>
                    <a:gd name="connsiteY0" fmla="*/ 0 h 407718"/>
                    <a:gd name="connsiteX1" fmla="*/ 80088 w 80087"/>
                    <a:gd name="connsiteY1" fmla="*/ 0 h 407718"/>
                    <a:gd name="connsiteX2" fmla="*/ 80088 w 80087"/>
                    <a:gd name="connsiteY2" fmla="*/ 407719 h 407718"/>
                    <a:gd name="connsiteX3" fmla="*/ 0 w 80087"/>
                    <a:gd name="connsiteY3" fmla="*/ 407719 h 407718"/>
                  </a:gdLst>
                  <a:ahLst/>
                  <a:cxnLst>
                    <a:cxn ang="0">
                      <a:pos x="connsiteX0" y="connsiteY0"/>
                    </a:cxn>
                    <a:cxn ang="0">
                      <a:pos x="connsiteX1" y="connsiteY1"/>
                    </a:cxn>
                    <a:cxn ang="0">
                      <a:pos x="connsiteX2" y="connsiteY2"/>
                    </a:cxn>
                    <a:cxn ang="0">
                      <a:pos x="connsiteX3" y="connsiteY3"/>
                    </a:cxn>
                  </a:cxnLst>
                  <a:rect l="l" t="t" r="r" b="b"/>
                  <a:pathLst>
                    <a:path w="80087" h="407718">
                      <a:moveTo>
                        <a:pt x="0" y="0"/>
                      </a:moveTo>
                      <a:lnTo>
                        <a:pt x="80088" y="0"/>
                      </a:lnTo>
                      <a:lnTo>
                        <a:pt x="80088" y="407719"/>
                      </a:lnTo>
                      <a:lnTo>
                        <a:pt x="0" y="407719"/>
                      </a:lnTo>
                      <a:close/>
                    </a:path>
                  </a:pathLst>
                </a:custGeom>
                <a:grpFill/>
                <a:ln w="7243" cap="flat">
                  <a:noFill/>
                  <a:prstDash val="solid"/>
                  <a:miter/>
                </a:ln>
              </p:spPr>
              <p:txBody>
                <a:bodyPr rtlCol="0" anchor="ctr"/>
                <a:lstStyle/>
                <a:p>
                  <a:endParaRPr lang="en-US" sz="2800"/>
                </a:p>
              </p:txBody>
            </p:sp>
            <p:sp>
              <p:nvSpPr>
                <p:cNvPr id="31" name="Freeform: Shape 30">
                  <a:extLst>
                    <a:ext uri="{FF2B5EF4-FFF2-40B4-BE49-F238E27FC236}">
                      <a16:creationId xmlns:a16="http://schemas.microsoft.com/office/drawing/2014/main" id="{4ED4814F-B708-2B90-5A7C-E188B1BB537F}"/>
                    </a:ext>
                  </a:extLst>
                </p:cNvPr>
                <p:cNvSpPr/>
                <p:nvPr/>
              </p:nvSpPr>
              <p:spPr>
                <a:xfrm>
                  <a:off x="2483962" y="7676542"/>
                  <a:ext cx="80087" cy="254824"/>
                </a:xfrm>
                <a:custGeom>
                  <a:avLst/>
                  <a:gdLst>
                    <a:gd name="connsiteX0" fmla="*/ 0 w 80087"/>
                    <a:gd name="connsiteY0" fmla="*/ 0 h 254824"/>
                    <a:gd name="connsiteX1" fmla="*/ 80088 w 80087"/>
                    <a:gd name="connsiteY1" fmla="*/ 0 h 254824"/>
                    <a:gd name="connsiteX2" fmla="*/ 80088 w 80087"/>
                    <a:gd name="connsiteY2" fmla="*/ 254824 h 254824"/>
                    <a:gd name="connsiteX3" fmla="*/ 0 w 80087"/>
                    <a:gd name="connsiteY3" fmla="*/ 254824 h 254824"/>
                  </a:gdLst>
                  <a:ahLst/>
                  <a:cxnLst>
                    <a:cxn ang="0">
                      <a:pos x="connsiteX0" y="connsiteY0"/>
                    </a:cxn>
                    <a:cxn ang="0">
                      <a:pos x="connsiteX1" y="connsiteY1"/>
                    </a:cxn>
                    <a:cxn ang="0">
                      <a:pos x="connsiteX2" y="connsiteY2"/>
                    </a:cxn>
                    <a:cxn ang="0">
                      <a:pos x="connsiteX3" y="connsiteY3"/>
                    </a:cxn>
                  </a:cxnLst>
                  <a:rect l="l" t="t" r="r" b="b"/>
                  <a:pathLst>
                    <a:path w="80087" h="254824">
                      <a:moveTo>
                        <a:pt x="0" y="0"/>
                      </a:moveTo>
                      <a:lnTo>
                        <a:pt x="80088" y="0"/>
                      </a:lnTo>
                      <a:lnTo>
                        <a:pt x="80088" y="254824"/>
                      </a:lnTo>
                      <a:lnTo>
                        <a:pt x="0" y="254824"/>
                      </a:lnTo>
                      <a:close/>
                    </a:path>
                  </a:pathLst>
                </a:custGeom>
                <a:grpFill/>
                <a:ln w="7243" cap="flat">
                  <a:noFill/>
                  <a:prstDash val="solid"/>
                  <a:miter/>
                </a:ln>
              </p:spPr>
              <p:txBody>
                <a:bodyPr rtlCol="0" anchor="ctr"/>
                <a:lstStyle/>
                <a:p>
                  <a:endParaRPr lang="en-US" sz="2800"/>
                </a:p>
              </p:txBody>
            </p:sp>
            <p:sp>
              <p:nvSpPr>
                <p:cNvPr id="32" name="Freeform: Shape 31">
                  <a:extLst>
                    <a:ext uri="{FF2B5EF4-FFF2-40B4-BE49-F238E27FC236}">
                      <a16:creationId xmlns:a16="http://schemas.microsoft.com/office/drawing/2014/main" id="{EDA64DCE-1D35-B64B-AB5E-20BE1345FBA9}"/>
                    </a:ext>
                  </a:extLst>
                </p:cNvPr>
                <p:cNvSpPr/>
                <p:nvPr/>
              </p:nvSpPr>
              <p:spPr>
                <a:xfrm>
                  <a:off x="2593172" y="7800313"/>
                  <a:ext cx="80087" cy="131052"/>
                </a:xfrm>
                <a:custGeom>
                  <a:avLst/>
                  <a:gdLst>
                    <a:gd name="connsiteX0" fmla="*/ 0 w 80087"/>
                    <a:gd name="connsiteY0" fmla="*/ 0 h 131052"/>
                    <a:gd name="connsiteX1" fmla="*/ 80088 w 80087"/>
                    <a:gd name="connsiteY1" fmla="*/ 0 h 131052"/>
                    <a:gd name="connsiteX2" fmla="*/ 80088 w 80087"/>
                    <a:gd name="connsiteY2" fmla="*/ 131052 h 131052"/>
                    <a:gd name="connsiteX3" fmla="*/ 0 w 80087"/>
                    <a:gd name="connsiteY3" fmla="*/ 131052 h 131052"/>
                  </a:gdLst>
                  <a:ahLst/>
                  <a:cxnLst>
                    <a:cxn ang="0">
                      <a:pos x="connsiteX0" y="connsiteY0"/>
                    </a:cxn>
                    <a:cxn ang="0">
                      <a:pos x="connsiteX1" y="connsiteY1"/>
                    </a:cxn>
                    <a:cxn ang="0">
                      <a:pos x="connsiteX2" y="connsiteY2"/>
                    </a:cxn>
                    <a:cxn ang="0">
                      <a:pos x="connsiteX3" y="connsiteY3"/>
                    </a:cxn>
                  </a:cxnLst>
                  <a:rect l="l" t="t" r="r" b="b"/>
                  <a:pathLst>
                    <a:path w="80087" h="131052">
                      <a:moveTo>
                        <a:pt x="0" y="0"/>
                      </a:moveTo>
                      <a:lnTo>
                        <a:pt x="80088" y="0"/>
                      </a:lnTo>
                      <a:lnTo>
                        <a:pt x="80088" y="131052"/>
                      </a:lnTo>
                      <a:lnTo>
                        <a:pt x="0" y="131052"/>
                      </a:lnTo>
                      <a:close/>
                    </a:path>
                  </a:pathLst>
                </a:custGeom>
                <a:grpFill/>
                <a:ln w="7243" cap="flat">
                  <a:noFill/>
                  <a:prstDash val="solid"/>
                  <a:miter/>
                </a:ln>
              </p:spPr>
              <p:txBody>
                <a:bodyPr rtlCol="0" anchor="ctr"/>
                <a:lstStyle/>
                <a:p>
                  <a:endParaRPr lang="en-US" sz="2800"/>
                </a:p>
              </p:txBody>
            </p:sp>
          </p:grpSp>
        </p:grpSp>
        <p:grpSp>
          <p:nvGrpSpPr>
            <p:cNvPr id="33" name="Group 32">
              <a:extLst>
                <a:ext uri="{FF2B5EF4-FFF2-40B4-BE49-F238E27FC236}">
                  <a16:creationId xmlns:a16="http://schemas.microsoft.com/office/drawing/2014/main" id="{8EEF0978-7AB5-3BA4-1FEC-676CD806A725}"/>
                </a:ext>
              </a:extLst>
            </p:cNvPr>
            <p:cNvGrpSpPr/>
            <p:nvPr/>
          </p:nvGrpSpPr>
          <p:grpSpPr>
            <a:xfrm>
              <a:off x="3442889" y="3352291"/>
              <a:ext cx="1073766" cy="1073766"/>
              <a:chOff x="2068497" y="1332765"/>
              <a:chExt cx="537023" cy="537023"/>
            </a:xfrm>
          </p:grpSpPr>
          <p:sp>
            <p:nvSpPr>
              <p:cNvPr id="34" name="Oval 33">
                <a:extLst>
                  <a:ext uri="{FF2B5EF4-FFF2-40B4-BE49-F238E27FC236}">
                    <a16:creationId xmlns:a16="http://schemas.microsoft.com/office/drawing/2014/main" id="{60ABE5CC-C89F-B9E7-0FAC-51D93A9A790A}"/>
                  </a:ext>
                </a:extLst>
              </p:cNvPr>
              <p:cNvSpPr/>
              <p:nvPr/>
            </p:nvSpPr>
            <p:spPr>
              <a:xfrm>
                <a:off x="2068497" y="1332765"/>
                <a:ext cx="537023" cy="537023"/>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9192" tIns="109192" rIns="109192" bIns="109192" rtlCol="0" anchor="ctr"/>
              <a:lstStyle/>
              <a:p>
                <a:pPr algn="l"/>
                <a:endParaRPr lang="en-GB" sz="2800" err="1">
                  <a:solidFill>
                    <a:schemeClr val="bg1"/>
                  </a:solidFill>
                </a:endParaRPr>
              </a:p>
            </p:txBody>
          </p:sp>
          <p:grpSp>
            <p:nvGrpSpPr>
              <p:cNvPr id="35" name="Group 34">
                <a:extLst>
                  <a:ext uri="{FF2B5EF4-FFF2-40B4-BE49-F238E27FC236}">
                    <a16:creationId xmlns:a16="http://schemas.microsoft.com/office/drawing/2014/main" id="{64E9B81D-F0B1-F0D0-14AE-F5A630DF0B71}"/>
                  </a:ext>
                </a:extLst>
              </p:cNvPr>
              <p:cNvGrpSpPr/>
              <p:nvPr/>
            </p:nvGrpSpPr>
            <p:grpSpPr>
              <a:xfrm>
                <a:off x="2211075" y="1467705"/>
                <a:ext cx="251848" cy="254439"/>
                <a:chOff x="4508501" y="2362200"/>
                <a:chExt cx="1235075" cy="1247775"/>
              </a:xfrm>
              <a:solidFill>
                <a:schemeClr val="bg1"/>
              </a:solidFill>
            </p:grpSpPr>
            <p:sp>
              <p:nvSpPr>
                <p:cNvPr id="36" name="Freeform 52">
                  <a:extLst>
                    <a:ext uri="{FF2B5EF4-FFF2-40B4-BE49-F238E27FC236}">
                      <a16:creationId xmlns:a16="http://schemas.microsoft.com/office/drawing/2014/main" id="{C50ED4A3-B796-F2C5-869C-B75F9D83EBBE}"/>
                    </a:ext>
                  </a:extLst>
                </p:cNvPr>
                <p:cNvSpPr>
                  <a:spLocks/>
                </p:cNvSpPr>
                <p:nvPr/>
              </p:nvSpPr>
              <p:spPr bwMode="auto">
                <a:xfrm>
                  <a:off x="4640263" y="2430463"/>
                  <a:ext cx="354013" cy="822325"/>
                </a:xfrm>
                <a:custGeom>
                  <a:avLst/>
                  <a:gdLst>
                    <a:gd name="T0" fmla="*/ 0 w 223"/>
                    <a:gd name="T1" fmla="*/ 518 h 518"/>
                    <a:gd name="T2" fmla="*/ 223 w 223"/>
                    <a:gd name="T3" fmla="*/ 476 h 518"/>
                    <a:gd name="T4" fmla="*/ 223 w 223"/>
                    <a:gd name="T5" fmla="*/ 0 h 518"/>
                    <a:gd name="T6" fmla="*/ 0 w 223"/>
                    <a:gd name="T7" fmla="*/ 41 h 518"/>
                    <a:gd name="T8" fmla="*/ 0 w 223"/>
                    <a:gd name="T9" fmla="*/ 518 h 518"/>
                  </a:gdLst>
                  <a:ahLst/>
                  <a:cxnLst>
                    <a:cxn ang="0">
                      <a:pos x="T0" y="T1"/>
                    </a:cxn>
                    <a:cxn ang="0">
                      <a:pos x="T2" y="T3"/>
                    </a:cxn>
                    <a:cxn ang="0">
                      <a:pos x="T4" y="T5"/>
                    </a:cxn>
                    <a:cxn ang="0">
                      <a:pos x="T6" y="T7"/>
                    </a:cxn>
                    <a:cxn ang="0">
                      <a:pos x="T8" y="T9"/>
                    </a:cxn>
                  </a:cxnLst>
                  <a:rect l="0" t="0" r="r" b="b"/>
                  <a:pathLst>
                    <a:path w="223" h="518">
                      <a:moveTo>
                        <a:pt x="0" y="518"/>
                      </a:moveTo>
                      <a:lnTo>
                        <a:pt x="223" y="476"/>
                      </a:lnTo>
                      <a:lnTo>
                        <a:pt x="223" y="0"/>
                      </a:lnTo>
                      <a:lnTo>
                        <a:pt x="0" y="41"/>
                      </a:lnTo>
                      <a:lnTo>
                        <a:pt x="0" y="5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32" tIns="91416" rIns="182832" bIns="91416" numCol="1" anchor="t" anchorCtr="0" compatLnSpc="1">
                  <a:prstTxWarp prst="textNoShape">
                    <a:avLst/>
                  </a:prstTxWarp>
                </a:bodyPr>
                <a:lstStyle/>
                <a:p>
                  <a:endParaRPr lang="en-GB" sz="2800"/>
                </a:p>
              </p:txBody>
            </p:sp>
            <p:sp>
              <p:nvSpPr>
                <p:cNvPr id="37" name="Freeform 53">
                  <a:extLst>
                    <a:ext uri="{FF2B5EF4-FFF2-40B4-BE49-F238E27FC236}">
                      <a16:creationId xmlns:a16="http://schemas.microsoft.com/office/drawing/2014/main" id="{C5626BC3-3035-BCB3-FB07-C87557E6051B}"/>
                    </a:ext>
                  </a:extLst>
                </p:cNvPr>
                <p:cNvSpPr>
                  <a:spLocks/>
                </p:cNvSpPr>
                <p:nvPr/>
              </p:nvSpPr>
              <p:spPr bwMode="auto">
                <a:xfrm>
                  <a:off x="5016501" y="2430463"/>
                  <a:ext cx="352425" cy="889000"/>
                </a:xfrm>
                <a:custGeom>
                  <a:avLst/>
                  <a:gdLst>
                    <a:gd name="T0" fmla="*/ 0 w 222"/>
                    <a:gd name="T1" fmla="*/ 476 h 560"/>
                    <a:gd name="T2" fmla="*/ 222 w 222"/>
                    <a:gd name="T3" fmla="*/ 560 h 560"/>
                    <a:gd name="T4" fmla="*/ 222 w 222"/>
                    <a:gd name="T5" fmla="*/ 84 h 560"/>
                    <a:gd name="T6" fmla="*/ 0 w 222"/>
                    <a:gd name="T7" fmla="*/ 0 h 560"/>
                    <a:gd name="T8" fmla="*/ 0 w 222"/>
                    <a:gd name="T9" fmla="*/ 476 h 560"/>
                  </a:gdLst>
                  <a:ahLst/>
                  <a:cxnLst>
                    <a:cxn ang="0">
                      <a:pos x="T0" y="T1"/>
                    </a:cxn>
                    <a:cxn ang="0">
                      <a:pos x="T2" y="T3"/>
                    </a:cxn>
                    <a:cxn ang="0">
                      <a:pos x="T4" y="T5"/>
                    </a:cxn>
                    <a:cxn ang="0">
                      <a:pos x="T6" y="T7"/>
                    </a:cxn>
                    <a:cxn ang="0">
                      <a:pos x="T8" y="T9"/>
                    </a:cxn>
                  </a:cxnLst>
                  <a:rect l="0" t="0" r="r" b="b"/>
                  <a:pathLst>
                    <a:path w="222" h="560">
                      <a:moveTo>
                        <a:pt x="0" y="476"/>
                      </a:moveTo>
                      <a:lnTo>
                        <a:pt x="222" y="560"/>
                      </a:lnTo>
                      <a:lnTo>
                        <a:pt x="222" y="84"/>
                      </a:lnTo>
                      <a:lnTo>
                        <a:pt x="0" y="0"/>
                      </a:lnTo>
                      <a:lnTo>
                        <a:pt x="0" y="4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32" tIns="91416" rIns="182832" bIns="91416" numCol="1" anchor="t" anchorCtr="0" compatLnSpc="1">
                  <a:prstTxWarp prst="textNoShape">
                    <a:avLst/>
                  </a:prstTxWarp>
                </a:bodyPr>
                <a:lstStyle/>
                <a:p>
                  <a:endParaRPr lang="en-GB" sz="2800"/>
                </a:p>
              </p:txBody>
            </p:sp>
            <p:sp>
              <p:nvSpPr>
                <p:cNvPr id="38" name="Freeform 54">
                  <a:extLst>
                    <a:ext uri="{FF2B5EF4-FFF2-40B4-BE49-F238E27FC236}">
                      <a16:creationId xmlns:a16="http://schemas.microsoft.com/office/drawing/2014/main" id="{DE6F7A8B-CDE1-4D14-ECA5-6A006D27B7C9}"/>
                    </a:ext>
                  </a:extLst>
                </p:cNvPr>
                <p:cNvSpPr>
                  <a:spLocks/>
                </p:cNvSpPr>
                <p:nvPr/>
              </p:nvSpPr>
              <p:spPr bwMode="auto">
                <a:xfrm>
                  <a:off x="5391151" y="2495550"/>
                  <a:ext cx="352425" cy="823913"/>
                </a:xfrm>
                <a:custGeom>
                  <a:avLst/>
                  <a:gdLst>
                    <a:gd name="T0" fmla="*/ 0 w 222"/>
                    <a:gd name="T1" fmla="*/ 43 h 519"/>
                    <a:gd name="T2" fmla="*/ 0 w 222"/>
                    <a:gd name="T3" fmla="*/ 519 h 519"/>
                    <a:gd name="T4" fmla="*/ 222 w 222"/>
                    <a:gd name="T5" fmla="*/ 477 h 519"/>
                    <a:gd name="T6" fmla="*/ 222 w 222"/>
                    <a:gd name="T7" fmla="*/ 0 h 519"/>
                    <a:gd name="T8" fmla="*/ 0 w 222"/>
                    <a:gd name="T9" fmla="*/ 43 h 519"/>
                  </a:gdLst>
                  <a:ahLst/>
                  <a:cxnLst>
                    <a:cxn ang="0">
                      <a:pos x="T0" y="T1"/>
                    </a:cxn>
                    <a:cxn ang="0">
                      <a:pos x="T2" y="T3"/>
                    </a:cxn>
                    <a:cxn ang="0">
                      <a:pos x="T4" y="T5"/>
                    </a:cxn>
                    <a:cxn ang="0">
                      <a:pos x="T6" y="T7"/>
                    </a:cxn>
                    <a:cxn ang="0">
                      <a:pos x="T8" y="T9"/>
                    </a:cxn>
                  </a:cxnLst>
                  <a:rect l="0" t="0" r="r" b="b"/>
                  <a:pathLst>
                    <a:path w="222" h="519">
                      <a:moveTo>
                        <a:pt x="0" y="43"/>
                      </a:moveTo>
                      <a:lnTo>
                        <a:pt x="0" y="519"/>
                      </a:lnTo>
                      <a:lnTo>
                        <a:pt x="222" y="477"/>
                      </a:lnTo>
                      <a:lnTo>
                        <a:pt x="222" y="0"/>
                      </a:lnTo>
                      <a:lnTo>
                        <a:pt x="0"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32" tIns="91416" rIns="182832" bIns="91416" numCol="1" anchor="t" anchorCtr="0" compatLnSpc="1">
                  <a:prstTxWarp prst="textNoShape">
                    <a:avLst/>
                  </a:prstTxWarp>
                </a:bodyPr>
                <a:lstStyle/>
                <a:p>
                  <a:endParaRPr lang="en-GB" sz="2800"/>
                </a:p>
              </p:txBody>
            </p:sp>
            <p:sp>
              <p:nvSpPr>
                <p:cNvPr id="39" name="Freeform 55">
                  <a:extLst>
                    <a:ext uri="{FF2B5EF4-FFF2-40B4-BE49-F238E27FC236}">
                      <a16:creationId xmlns:a16="http://schemas.microsoft.com/office/drawing/2014/main" id="{123E044B-6AD3-8C90-C511-72E84CF3C6AA}"/>
                    </a:ext>
                  </a:extLst>
                </p:cNvPr>
                <p:cNvSpPr>
                  <a:spLocks/>
                </p:cNvSpPr>
                <p:nvPr/>
              </p:nvSpPr>
              <p:spPr bwMode="auto">
                <a:xfrm>
                  <a:off x="4508501" y="2362200"/>
                  <a:ext cx="131763" cy="1247775"/>
                </a:xfrm>
                <a:custGeom>
                  <a:avLst/>
                  <a:gdLst>
                    <a:gd name="T0" fmla="*/ 125 w 125"/>
                    <a:gd name="T1" fmla="*/ 63 h 1167"/>
                    <a:gd name="T2" fmla="*/ 63 w 125"/>
                    <a:gd name="T3" fmla="*/ 0 h 1167"/>
                    <a:gd name="T4" fmla="*/ 0 w 125"/>
                    <a:gd name="T5" fmla="*/ 63 h 1167"/>
                    <a:gd name="T6" fmla="*/ 42 w 125"/>
                    <a:gd name="T7" fmla="*/ 121 h 1167"/>
                    <a:gd name="T8" fmla="*/ 42 w 125"/>
                    <a:gd name="T9" fmla="*/ 1167 h 1167"/>
                    <a:gd name="T10" fmla="*/ 84 w 125"/>
                    <a:gd name="T11" fmla="*/ 1167 h 1167"/>
                    <a:gd name="T12" fmla="*/ 84 w 125"/>
                    <a:gd name="T13" fmla="*/ 121 h 1167"/>
                    <a:gd name="T14" fmla="*/ 125 w 125"/>
                    <a:gd name="T15" fmla="*/ 63 h 11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 h="1167">
                      <a:moveTo>
                        <a:pt x="125" y="63"/>
                      </a:moveTo>
                      <a:cubicBezTo>
                        <a:pt x="125" y="28"/>
                        <a:pt x="97" y="0"/>
                        <a:pt x="63" y="0"/>
                      </a:cubicBezTo>
                      <a:cubicBezTo>
                        <a:pt x="28" y="0"/>
                        <a:pt x="0" y="28"/>
                        <a:pt x="0" y="63"/>
                      </a:cubicBezTo>
                      <a:cubicBezTo>
                        <a:pt x="0" y="90"/>
                        <a:pt x="18" y="113"/>
                        <a:pt x="42" y="121"/>
                      </a:cubicBezTo>
                      <a:cubicBezTo>
                        <a:pt x="42" y="1167"/>
                        <a:pt x="42" y="1167"/>
                        <a:pt x="42" y="1167"/>
                      </a:cubicBezTo>
                      <a:cubicBezTo>
                        <a:pt x="84" y="1167"/>
                        <a:pt x="84" y="1167"/>
                        <a:pt x="84" y="1167"/>
                      </a:cubicBezTo>
                      <a:cubicBezTo>
                        <a:pt x="84" y="121"/>
                        <a:pt x="84" y="121"/>
                        <a:pt x="84" y="121"/>
                      </a:cubicBezTo>
                      <a:cubicBezTo>
                        <a:pt x="108" y="113"/>
                        <a:pt x="125" y="90"/>
                        <a:pt x="125" y="6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32" tIns="91416" rIns="182832" bIns="91416" numCol="1" anchor="t" anchorCtr="0" compatLnSpc="1">
                  <a:prstTxWarp prst="textNoShape">
                    <a:avLst/>
                  </a:prstTxWarp>
                </a:bodyPr>
                <a:lstStyle/>
                <a:p>
                  <a:endParaRPr lang="en-GB" sz="2800"/>
                </a:p>
              </p:txBody>
            </p:sp>
          </p:grpSp>
        </p:grpSp>
        <p:sp>
          <p:nvSpPr>
            <p:cNvPr id="40" name="Oval 39">
              <a:extLst>
                <a:ext uri="{FF2B5EF4-FFF2-40B4-BE49-F238E27FC236}">
                  <a16:creationId xmlns:a16="http://schemas.microsoft.com/office/drawing/2014/main" id="{E3B5E421-6E31-21C5-B0A6-1E805F32536F}"/>
                </a:ext>
              </a:extLst>
            </p:cNvPr>
            <p:cNvSpPr/>
            <p:nvPr/>
          </p:nvSpPr>
          <p:spPr>
            <a:xfrm>
              <a:off x="10981460" y="3276000"/>
              <a:ext cx="1073766" cy="107376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9192" tIns="109192" rIns="109192" bIns="109192" rtlCol="0" anchor="ctr"/>
            <a:lstStyle/>
            <a:p>
              <a:pPr algn="l"/>
              <a:endParaRPr lang="en-GB" sz="2800" err="1">
                <a:solidFill>
                  <a:schemeClr val="bg1"/>
                </a:solidFill>
              </a:endParaRPr>
            </a:p>
          </p:txBody>
        </p:sp>
        <p:sp>
          <p:nvSpPr>
            <p:cNvPr id="41" name="Oval 40">
              <a:extLst>
                <a:ext uri="{FF2B5EF4-FFF2-40B4-BE49-F238E27FC236}">
                  <a16:creationId xmlns:a16="http://schemas.microsoft.com/office/drawing/2014/main" id="{8E477D34-C99F-F591-D6FB-6FD9EBE245C1}"/>
                </a:ext>
              </a:extLst>
            </p:cNvPr>
            <p:cNvSpPr/>
            <p:nvPr/>
          </p:nvSpPr>
          <p:spPr>
            <a:xfrm>
              <a:off x="11661590" y="9706799"/>
              <a:ext cx="1073766" cy="107376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09192" tIns="109192" rIns="109192" bIns="109192" rtlCol="0" anchor="ctr"/>
            <a:lstStyle/>
            <a:p>
              <a:pPr algn="l"/>
              <a:endParaRPr lang="en-GB" sz="2800" err="1">
                <a:solidFill>
                  <a:schemeClr val="bg1"/>
                </a:solidFill>
              </a:endParaRPr>
            </a:p>
          </p:txBody>
        </p:sp>
        <p:grpSp>
          <p:nvGrpSpPr>
            <p:cNvPr id="42" name="Group 41">
              <a:extLst>
                <a:ext uri="{FF2B5EF4-FFF2-40B4-BE49-F238E27FC236}">
                  <a16:creationId xmlns:a16="http://schemas.microsoft.com/office/drawing/2014/main" id="{12C5BA19-4CA3-D86A-E2DF-9BABEF849953}"/>
                </a:ext>
              </a:extLst>
            </p:cNvPr>
            <p:cNvGrpSpPr/>
            <p:nvPr/>
          </p:nvGrpSpPr>
          <p:grpSpPr>
            <a:xfrm>
              <a:off x="19730735" y="9570073"/>
              <a:ext cx="1073766" cy="1073766"/>
              <a:chOff x="4631686" y="1332765"/>
              <a:chExt cx="537023" cy="537023"/>
            </a:xfrm>
          </p:grpSpPr>
          <p:sp>
            <p:nvSpPr>
              <p:cNvPr id="43" name="Oval 42">
                <a:extLst>
                  <a:ext uri="{FF2B5EF4-FFF2-40B4-BE49-F238E27FC236}">
                    <a16:creationId xmlns:a16="http://schemas.microsoft.com/office/drawing/2014/main" id="{D46157B4-2792-0CAE-F76A-E535FC54F2CD}"/>
                  </a:ext>
                </a:extLst>
              </p:cNvPr>
              <p:cNvSpPr/>
              <p:nvPr/>
            </p:nvSpPr>
            <p:spPr>
              <a:xfrm>
                <a:off x="4631686" y="1332765"/>
                <a:ext cx="537023" cy="53702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09192" tIns="109192" rIns="109192" bIns="109192" rtlCol="0" anchor="ctr"/>
              <a:lstStyle/>
              <a:p>
                <a:pPr algn="l"/>
                <a:endParaRPr lang="en-GB" sz="2800" err="1">
                  <a:solidFill>
                    <a:schemeClr val="bg1"/>
                  </a:solidFill>
                </a:endParaRPr>
              </a:p>
            </p:txBody>
          </p:sp>
          <p:grpSp>
            <p:nvGrpSpPr>
              <p:cNvPr id="44" name="Group 43">
                <a:extLst>
                  <a:ext uri="{FF2B5EF4-FFF2-40B4-BE49-F238E27FC236}">
                    <a16:creationId xmlns:a16="http://schemas.microsoft.com/office/drawing/2014/main" id="{43B45ECB-B4B0-C0D0-3658-C47F5165DECC}"/>
                  </a:ext>
                </a:extLst>
              </p:cNvPr>
              <p:cNvGrpSpPr/>
              <p:nvPr/>
            </p:nvGrpSpPr>
            <p:grpSpPr>
              <a:xfrm>
                <a:off x="4717317" y="1423472"/>
                <a:ext cx="365760" cy="365760"/>
                <a:chOff x="1881686" y="9329541"/>
                <a:chExt cx="1578566" cy="1578569"/>
              </a:xfrm>
              <a:solidFill>
                <a:schemeClr val="bg1"/>
              </a:solidFill>
            </p:grpSpPr>
            <p:sp>
              <p:nvSpPr>
                <p:cNvPr id="45" name="Freeform 15">
                  <a:extLst>
                    <a:ext uri="{FF2B5EF4-FFF2-40B4-BE49-F238E27FC236}">
                      <a16:creationId xmlns:a16="http://schemas.microsoft.com/office/drawing/2014/main" id="{64AA21F6-3061-6C49-4195-14B376A8225D}"/>
                    </a:ext>
                  </a:extLst>
                </p:cNvPr>
                <p:cNvSpPr>
                  <a:spLocks noEditPoints="1"/>
                </p:cNvSpPr>
                <p:nvPr/>
              </p:nvSpPr>
              <p:spPr bwMode="auto">
                <a:xfrm>
                  <a:off x="1881686" y="9329541"/>
                  <a:ext cx="1578566" cy="1578569"/>
                </a:xfrm>
                <a:custGeom>
                  <a:avLst/>
                  <a:gdLst>
                    <a:gd name="T0" fmla="*/ 0 w 1166"/>
                    <a:gd name="T1" fmla="*/ 583 h 1167"/>
                    <a:gd name="T2" fmla="*/ 1166 w 1166"/>
                    <a:gd name="T3" fmla="*/ 583 h 1167"/>
                    <a:gd name="T4" fmla="*/ 583 w 1166"/>
                    <a:gd name="T5" fmla="*/ 1083 h 1167"/>
                    <a:gd name="T6" fmla="*/ 139 w 1166"/>
                    <a:gd name="T7" fmla="*/ 354 h 1167"/>
                    <a:gd name="T8" fmla="*/ 271 w 1166"/>
                    <a:gd name="T9" fmla="*/ 193 h 1167"/>
                    <a:gd name="T10" fmla="*/ 728 w 1166"/>
                    <a:gd name="T11" fmla="*/ 105 h 1167"/>
                    <a:gd name="T12" fmla="*/ 708 w 1166"/>
                    <a:gd name="T13" fmla="*/ 167 h 1167"/>
                    <a:gd name="T14" fmla="*/ 604 w 1166"/>
                    <a:gd name="T15" fmla="*/ 146 h 1167"/>
                    <a:gd name="T16" fmla="*/ 500 w 1166"/>
                    <a:gd name="T17" fmla="*/ 292 h 1167"/>
                    <a:gd name="T18" fmla="*/ 541 w 1166"/>
                    <a:gd name="T19" fmla="*/ 271 h 1167"/>
                    <a:gd name="T20" fmla="*/ 604 w 1166"/>
                    <a:gd name="T21" fmla="*/ 250 h 1167"/>
                    <a:gd name="T22" fmla="*/ 583 w 1166"/>
                    <a:gd name="T23" fmla="*/ 333 h 1167"/>
                    <a:gd name="T24" fmla="*/ 541 w 1166"/>
                    <a:gd name="T25" fmla="*/ 313 h 1167"/>
                    <a:gd name="T26" fmla="*/ 416 w 1166"/>
                    <a:gd name="T27" fmla="*/ 396 h 1167"/>
                    <a:gd name="T28" fmla="*/ 354 w 1166"/>
                    <a:gd name="T29" fmla="*/ 479 h 1167"/>
                    <a:gd name="T30" fmla="*/ 437 w 1166"/>
                    <a:gd name="T31" fmla="*/ 458 h 1167"/>
                    <a:gd name="T32" fmla="*/ 541 w 1166"/>
                    <a:gd name="T33" fmla="*/ 500 h 1167"/>
                    <a:gd name="T34" fmla="*/ 625 w 1166"/>
                    <a:gd name="T35" fmla="*/ 479 h 1167"/>
                    <a:gd name="T36" fmla="*/ 666 w 1166"/>
                    <a:gd name="T37" fmla="*/ 542 h 1167"/>
                    <a:gd name="T38" fmla="*/ 458 w 1166"/>
                    <a:gd name="T39" fmla="*/ 500 h 1167"/>
                    <a:gd name="T40" fmla="*/ 354 w 1166"/>
                    <a:gd name="T41" fmla="*/ 521 h 1167"/>
                    <a:gd name="T42" fmla="*/ 312 w 1166"/>
                    <a:gd name="T43" fmla="*/ 646 h 1167"/>
                    <a:gd name="T44" fmla="*/ 458 w 1166"/>
                    <a:gd name="T45" fmla="*/ 750 h 1167"/>
                    <a:gd name="T46" fmla="*/ 541 w 1166"/>
                    <a:gd name="T47" fmla="*/ 896 h 1167"/>
                    <a:gd name="T48" fmla="*/ 583 w 1166"/>
                    <a:gd name="T49" fmla="*/ 1042 h 1167"/>
                    <a:gd name="T50" fmla="*/ 687 w 1166"/>
                    <a:gd name="T51" fmla="*/ 792 h 1167"/>
                    <a:gd name="T52" fmla="*/ 771 w 1166"/>
                    <a:gd name="T53" fmla="*/ 667 h 1167"/>
                    <a:gd name="T54" fmla="*/ 708 w 1166"/>
                    <a:gd name="T55" fmla="*/ 542 h 1167"/>
                    <a:gd name="T56" fmla="*/ 854 w 1166"/>
                    <a:gd name="T57" fmla="*/ 583 h 1167"/>
                    <a:gd name="T58" fmla="*/ 812 w 1166"/>
                    <a:gd name="T59" fmla="*/ 542 h 1167"/>
                    <a:gd name="T60" fmla="*/ 916 w 1166"/>
                    <a:gd name="T61" fmla="*/ 500 h 1167"/>
                    <a:gd name="T62" fmla="*/ 979 w 1166"/>
                    <a:gd name="T63" fmla="*/ 583 h 1167"/>
                    <a:gd name="T64" fmla="*/ 1083 w 1166"/>
                    <a:gd name="T65" fmla="*/ 583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66" h="1167">
                      <a:moveTo>
                        <a:pt x="583" y="0"/>
                      </a:moveTo>
                      <a:cubicBezTo>
                        <a:pt x="261" y="0"/>
                        <a:pt x="0" y="261"/>
                        <a:pt x="0" y="583"/>
                      </a:cubicBezTo>
                      <a:cubicBezTo>
                        <a:pt x="0" y="906"/>
                        <a:pt x="261" y="1167"/>
                        <a:pt x="583" y="1167"/>
                      </a:cubicBezTo>
                      <a:cubicBezTo>
                        <a:pt x="905" y="1167"/>
                        <a:pt x="1166" y="906"/>
                        <a:pt x="1166" y="583"/>
                      </a:cubicBezTo>
                      <a:cubicBezTo>
                        <a:pt x="1166" y="261"/>
                        <a:pt x="905" y="0"/>
                        <a:pt x="583" y="0"/>
                      </a:cubicBezTo>
                      <a:moveTo>
                        <a:pt x="583" y="1083"/>
                      </a:moveTo>
                      <a:cubicBezTo>
                        <a:pt x="307" y="1083"/>
                        <a:pt x="83" y="859"/>
                        <a:pt x="83" y="583"/>
                      </a:cubicBezTo>
                      <a:cubicBezTo>
                        <a:pt x="83" y="501"/>
                        <a:pt x="103" y="423"/>
                        <a:pt x="139" y="354"/>
                      </a:cubicBezTo>
                      <a:cubicBezTo>
                        <a:pt x="271" y="354"/>
                        <a:pt x="271" y="354"/>
                        <a:pt x="271" y="354"/>
                      </a:cubicBezTo>
                      <a:cubicBezTo>
                        <a:pt x="271" y="193"/>
                        <a:pt x="271" y="193"/>
                        <a:pt x="271" y="193"/>
                      </a:cubicBezTo>
                      <a:cubicBezTo>
                        <a:pt x="356" y="125"/>
                        <a:pt x="465" y="83"/>
                        <a:pt x="583" y="83"/>
                      </a:cubicBezTo>
                      <a:cubicBezTo>
                        <a:pt x="634" y="83"/>
                        <a:pt x="682" y="91"/>
                        <a:pt x="728" y="105"/>
                      </a:cubicBezTo>
                      <a:cubicBezTo>
                        <a:pt x="687" y="146"/>
                        <a:pt x="687" y="146"/>
                        <a:pt x="687" y="146"/>
                      </a:cubicBezTo>
                      <a:cubicBezTo>
                        <a:pt x="708" y="167"/>
                        <a:pt x="708" y="167"/>
                        <a:pt x="708" y="167"/>
                      </a:cubicBezTo>
                      <a:cubicBezTo>
                        <a:pt x="666" y="208"/>
                        <a:pt x="666" y="208"/>
                        <a:pt x="666" y="208"/>
                      </a:cubicBezTo>
                      <a:cubicBezTo>
                        <a:pt x="604" y="146"/>
                        <a:pt x="604" y="146"/>
                        <a:pt x="604" y="146"/>
                      </a:cubicBezTo>
                      <a:cubicBezTo>
                        <a:pt x="500" y="250"/>
                        <a:pt x="500" y="250"/>
                        <a:pt x="500" y="250"/>
                      </a:cubicBezTo>
                      <a:cubicBezTo>
                        <a:pt x="500" y="292"/>
                        <a:pt x="500" y="292"/>
                        <a:pt x="500" y="292"/>
                      </a:cubicBezTo>
                      <a:cubicBezTo>
                        <a:pt x="541" y="292"/>
                        <a:pt x="541" y="292"/>
                        <a:pt x="541" y="292"/>
                      </a:cubicBezTo>
                      <a:cubicBezTo>
                        <a:pt x="541" y="271"/>
                        <a:pt x="541" y="271"/>
                        <a:pt x="541" y="271"/>
                      </a:cubicBezTo>
                      <a:cubicBezTo>
                        <a:pt x="583" y="229"/>
                        <a:pt x="583" y="229"/>
                        <a:pt x="583" y="229"/>
                      </a:cubicBezTo>
                      <a:cubicBezTo>
                        <a:pt x="604" y="250"/>
                        <a:pt x="604" y="250"/>
                        <a:pt x="604" y="250"/>
                      </a:cubicBezTo>
                      <a:cubicBezTo>
                        <a:pt x="583" y="271"/>
                        <a:pt x="583" y="271"/>
                        <a:pt x="583" y="271"/>
                      </a:cubicBezTo>
                      <a:cubicBezTo>
                        <a:pt x="583" y="333"/>
                        <a:pt x="583" y="333"/>
                        <a:pt x="583" y="333"/>
                      </a:cubicBezTo>
                      <a:cubicBezTo>
                        <a:pt x="541" y="333"/>
                        <a:pt x="541" y="333"/>
                        <a:pt x="541" y="333"/>
                      </a:cubicBezTo>
                      <a:cubicBezTo>
                        <a:pt x="541" y="313"/>
                        <a:pt x="541" y="313"/>
                        <a:pt x="541" y="313"/>
                      </a:cubicBezTo>
                      <a:cubicBezTo>
                        <a:pt x="500" y="313"/>
                        <a:pt x="500" y="313"/>
                        <a:pt x="500" y="313"/>
                      </a:cubicBezTo>
                      <a:cubicBezTo>
                        <a:pt x="416" y="396"/>
                        <a:pt x="416" y="396"/>
                        <a:pt x="416" y="396"/>
                      </a:cubicBezTo>
                      <a:cubicBezTo>
                        <a:pt x="354" y="396"/>
                        <a:pt x="354" y="396"/>
                        <a:pt x="354" y="396"/>
                      </a:cubicBezTo>
                      <a:cubicBezTo>
                        <a:pt x="354" y="479"/>
                        <a:pt x="354" y="479"/>
                        <a:pt x="354" y="479"/>
                      </a:cubicBezTo>
                      <a:cubicBezTo>
                        <a:pt x="437" y="479"/>
                        <a:pt x="437" y="479"/>
                        <a:pt x="437" y="479"/>
                      </a:cubicBezTo>
                      <a:cubicBezTo>
                        <a:pt x="437" y="458"/>
                        <a:pt x="437" y="458"/>
                        <a:pt x="437" y="458"/>
                      </a:cubicBezTo>
                      <a:cubicBezTo>
                        <a:pt x="541" y="458"/>
                        <a:pt x="541" y="458"/>
                        <a:pt x="541" y="458"/>
                      </a:cubicBezTo>
                      <a:cubicBezTo>
                        <a:pt x="541" y="500"/>
                        <a:pt x="541" y="500"/>
                        <a:pt x="541" y="500"/>
                      </a:cubicBezTo>
                      <a:cubicBezTo>
                        <a:pt x="625" y="500"/>
                        <a:pt x="625" y="500"/>
                        <a:pt x="625" y="500"/>
                      </a:cubicBezTo>
                      <a:cubicBezTo>
                        <a:pt x="625" y="479"/>
                        <a:pt x="625" y="479"/>
                        <a:pt x="625" y="479"/>
                      </a:cubicBezTo>
                      <a:cubicBezTo>
                        <a:pt x="666" y="479"/>
                        <a:pt x="666" y="479"/>
                        <a:pt x="666" y="479"/>
                      </a:cubicBezTo>
                      <a:cubicBezTo>
                        <a:pt x="666" y="542"/>
                        <a:pt x="666" y="542"/>
                        <a:pt x="666" y="542"/>
                      </a:cubicBezTo>
                      <a:cubicBezTo>
                        <a:pt x="458" y="542"/>
                        <a:pt x="458" y="542"/>
                        <a:pt x="458" y="542"/>
                      </a:cubicBezTo>
                      <a:cubicBezTo>
                        <a:pt x="458" y="500"/>
                        <a:pt x="458" y="500"/>
                        <a:pt x="458" y="500"/>
                      </a:cubicBezTo>
                      <a:cubicBezTo>
                        <a:pt x="354" y="500"/>
                        <a:pt x="354" y="500"/>
                        <a:pt x="354" y="500"/>
                      </a:cubicBezTo>
                      <a:cubicBezTo>
                        <a:pt x="354" y="521"/>
                        <a:pt x="354" y="521"/>
                        <a:pt x="354" y="521"/>
                      </a:cubicBezTo>
                      <a:cubicBezTo>
                        <a:pt x="312" y="521"/>
                        <a:pt x="312" y="521"/>
                        <a:pt x="312" y="521"/>
                      </a:cubicBezTo>
                      <a:cubicBezTo>
                        <a:pt x="312" y="646"/>
                        <a:pt x="312" y="646"/>
                        <a:pt x="312" y="646"/>
                      </a:cubicBezTo>
                      <a:cubicBezTo>
                        <a:pt x="416" y="750"/>
                        <a:pt x="416" y="750"/>
                        <a:pt x="416" y="750"/>
                      </a:cubicBezTo>
                      <a:cubicBezTo>
                        <a:pt x="458" y="750"/>
                        <a:pt x="458" y="750"/>
                        <a:pt x="458" y="750"/>
                      </a:cubicBezTo>
                      <a:cubicBezTo>
                        <a:pt x="458" y="813"/>
                        <a:pt x="458" y="813"/>
                        <a:pt x="458" y="813"/>
                      </a:cubicBezTo>
                      <a:cubicBezTo>
                        <a:pt x="541" y="896"/>
                        <a:pt x="541" y="896"/>
                        <a:pt x="541" y="896"/>
                      </a:cubicBezTo>
                      <a:cubicBezTo>
                        <a:pt x="541" y="1042"/>
                        <a:pt x="541" y="1042"/>
                        <a:pt x="541" y="1042"/>
                      </a:cubicBezTo>
                      <a:cubicBezTo>
                        <a:pt x="583" y="1042"/>
                        <a:pt x="583" y="1042"/>
                        <a:pt x="583" y="1042"/>
                      </a:cubicBezTo>
                      <a:cubicBezTo>
                        <a:pt x="687" y="938"/>
                        <a:pt x="687" y="938"/>
                        <a:pt x="687" y="938"/>
                      </a:cubicBezTo>
                      <a:cubicBezTo>
                        <a:pt x="687" y="792"/>
                        <a:pt x="687" y="792"/>
                        <a:pt x="687" y="792"/>
                      </a:cubicBezTo>
                      <a:cubicBezTo>
                        <a:pt x="812" y="667"/>
                        <a:pt x="812" y="667"/>
                        <a:pt x="812" y="667"/>
                      </a:cubicBezTo>
                      <a:cubicBezTo>
                        <a:pt x="771" y="667"/>
                        <a:pt x="771" y="667"/>
                        <a:pt x="771" y="667"/>
                      </a:cubicBezTo>
                      <a:cubicBezTo>
                        <a:pt x="687" y="563"/>
                        <a:pt x="687" y="563"/>
                        <a:pt x="687" y="563"/>
                      </a:cubicBezTo>
                      <a:cubicBezTo>
                        <a:pt x="708" y="542"/>
                        <a:pt x="708" y="542"/>
                        <a:pt x="708" y="542"/>
                      </a:cubicBezTo>
                      <a:cubicBezTo>
                        <a:pt x="791" y="646"/>
                        <a:pt x="791" y="646"/>
                        <a:pt x="791" y="646"/>
                      </a:cubicBezTo>
                      <a:cubicBezTo>
                        <a:pt x="854" y="583"/>
                        <a:pt x="854" y="583"/>
                        <a:pt x="854" y="583"/>
                      </a:cubicBezTo>
                      <a:cubicBezTo>
                        <a:pt x="854" y="542"/>
                        <a:pt x="854" y="542"/>
                        <a:pt x="854" y="542"/>
                      </a:cubicBezTo>
                      <a:cubicBezTo>
                        <a:pt x="812" y="542"/>
                        <a:pt x="812" y="542"/>
                        <a:pt x="812" y="542"/>
                      </a:cubicBezTo>
                      <a:cubicBezTo>
                        <a:pt x="771" y="500"/>
                        <a:pt x="771" y="500"/>
                        <a:pt x="771" y="500"/>
                      </a:cubicBezTo>
                      <a:cubicBezTo>
                        <a:pt x="916" y="500"/>
                        <a:pt x="916" y="500"/>
                        <a:pt x="916" y="500"/>
                      </a:cubicBezTo>
                      <a:cubicBezTo>
                        <a:pt x="916" y="583"/>
                        <a:pt x="916" y="583"/>
                        <a:pt x="916" y="583"/>
                      </a:cubicBezTo>
                      <a:cubicBezTo>
                        <a:pt x="979" y="583"/>
                        <a:pt x="979" y="583"/>
                        <a:pt x="979" y="583"/>
                      </a:cubicBezTo>
                      <a:cubicBezTo>
                        <a:pt x="1074" y="488"/>
                        <a:pt x="1074" y="488"/>
                        <a:pt x="1074" y="488"/>
                      </a:cubicBezTo>
                      <a:cubicBezTo>
                        <a:pt x="1080" y="519"/>
                        <a:pt x="1083" y="551"/>
                        <a:pt x="1083" y="583"/>
                      </a:cubicBezTo>
                      <a:cubicBezTo>
                        <a:pt x="1083" y="859"/>
                        <a:pt x="859" y="1083"/>
                        <a:pt x="583" y="108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32" tIns="91416" rIns="182832" bIns="91416" numCol="1" anchor="t" anchorCtr="0" compatLnSpc="1">
                  <a:prstTxWarp prst="textNoShape">
                    <a:avLst/>
                  </a:prstTxWarp>
                </a:bodyPr>
                <a:lstStyle/>
                <a:p>
                  <a:endParaRPr lang="en-GB" sz="2800"/>
                </a:p>
              </p:txBody>
            </p:sp>
            <p:sp>
              <p:nvSpPr>
                <p:cNvPr id="46" name="Freeform 16">
                  <a:extLst>
                    <a:ext uri="{FF2B5EF4-FFF2-40B4-BE49-F238E27FC236}">
                      <a16:creationId xmlns:a16="http://schemas.microsoft.com/office/drawing/2014/main" id="{ACF79625-ECFD-4110-1D03-873ABD6B04B5}"/>
                    </a:ext>
                  </a:extLst>
                </p:cNvPr>
                <p:cNvSpPr>
                  <a:spLocks/>
                </p:cNvSpPr>
                <p:nvPr/>
              </p:nvSpPr>
              <p:spPr bwMode="auto">
                <a:xfrm>
                  <a:off x="2495551" y="9734550"/>
                  <a:ext cx="44450" cy="88900"/>
                </a:xfrm>
                <a:custGeom>
                  <a:avLst/>
                  <a:gdLst>
                    <a:gd name="T0" fmla="*/ 28 w 28"/>
                    <a:gd name="T1" fmla="*/ 0 h 56"/>
                    <a:gd name="T2" fmla="*/ 0 w 28"/>
                    <a:gd name="T3" fmla="*/ 0 h 56"/>
                    <a:gd name="T4" fmla="*/ 0 w 28"/>
                    <a:gd name="T5" fmla="*/ 56 h 56"/>
                    <a:gd name="T6" fmla="*/ 28 w 28"/>
                    <a:gd name="T7" fmla="*/ 29 h 56"/>
                    <a:gd name="T8" fmla="*/ 28 w 28"/>
                    <a:gd name="T9" fmla="*/ 0 h 56"/>
                  </a:gdLst>
                  <a:ahLst/>
                  <a:cxnLst>
                    <a:cxn ang="0">
                      <a:pos x="T0" y="T1"/>
                    </a:cxn>
                    <a:cxn ang="0">
                      <a:pos x="T2" y="T3"/>
                    </a:cxn>
                    <a:cxn ang="0">
                      <a:pos x="T4" y="T5"/>
                    </a:cxn>
                    <a:cxn ang="0">
                      <a:pos x="T6" y="T7"/>
                    </a:cxn>
                    <a:cxn ang="0">
                      <a:pos x="T8" y="T9"/>
                    </a:cxn>
                  </a:cxnLst>
                  <a:rect l="0" t="0" r="r" b="b"/>
                  <a:pathLst>
                    <a:path w="28" h="56">
                      <a:moveTo>
                        <a:pt x="28" y="0"/>
                      </a:moveTo>
                      <a:lnTo>
                        <a:pt x="0" y="0"/>
                      </a:lnTo>
                      <a:lnTo>
                        <a:pt x="0" y="56"/>
                      </a:lnTo>
                      <a:lnTo>
                        <a:pt x="28" y="29"/>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32" tIns="91416" rIns="182832" bIns="91416" numCol="1" anchor="t" anchorCtr="0" compatLnSpc="1">
                  <a:prstTxWarp prst="textNoShape">
                    <a:avLst/>
                  </a:prstTxWarp>
                </a:bodyPr>
                <a:lstStyle/>
                <a:p>
                  <a:endParaRPr lang="en-GB" sz="2800"/>
                </a:p>
              </p:txBody>
            </p:sp>
          </p:grpSp>
        </p:grpSp>
        <p:cxnSp>
          <p:nvCxnSpPr>
            <p:cNvPr id="47" name="Connector: Elbow 46">
              <a:extLst>
                <a:ext uri="{FF2B5EF4-FFF2-40B4-BE49-F238E27FC236}">
                  <a16:creationId xmlns:a16="http://schemas.microsoft.com/office/drawing/2014/main" id="{527A4BC1-64D0-6F37-7E02-20AA90A3522F}"/>
                </a:ext>
              </a:extLst>
            </p:cNvPr>
            <p:cNvCxnSpPr>
              <a:cxnSpLocks/>
            </p:cNvCxnSpPr>
            <p:nvPr/>
          </p:nvCxnSpPr>
          <p:spPr>
            <a:xfrm flipV="1">
              <a:off x="7824967" y="3649937"/>
              <a:ext cx="3211575" cy="4776182"/>
            </a:xfrm>
            <a:prstGeom prst="bentConnector3">
              <a:avLst>
                <a:gd name="adj1" fmla="val 20419"/>
              </a:avLst>
            </a:prstGeom>
            <a:ln w="381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pic>
          <p:nvPicPr>
            <p:cNvPr id="48" name="Graphic 47" descr="Good Idea with solid fill">
              <a:extLst>
                <a:ext uri="{FF2B5EF4-FFF2-40B4-BE49-F238E27FC236}">
                  <a16:creationId xmlns:a16="http://schemas.microsoft.com/office/drawing/2014/main" id="{BF7BBFBA-BC2A-1554-EB30-7CA75358A3C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814254" y="9818707"/>
              <a:ext cx="822746" cy="822746"/>
            </a:xfrm>
            <a:prstGeom prst="rect">
              <a:avLst/>
            </a:prstGeom>
          </p:spPr>
        </p:pic>
        <p:pic>
          <p:nvPicPr>
            <p:cNvPr id="49" name="Graphic 48" descr="Research with solid fill">
              <a:extLst>
                <a:ext uri="{FF2B5EF4-FFF2-40B4-BE49-F238E27FC236}">
                  <a16:creationId xmlns:a16="http://schemas.microsoft.com/office/drawing/2014/main" id="{4E936690-E957-B5E0-2959-5779B213A28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782782" y="8140952"/>
              <a:ext cx="895879" cy="895879"/>
            </a:xfrm>
            <a:prstGeom prst="rect">
              <a:avLst/>
            </a:prstGeom>
          </p:spPr>
        </p:pic>
        <p:pic>
          <p:nvPicPr>
            <p:cNvPr id="50" name="Graphic 49" descr="Server with solid fill">
              <a:extLst>
                <a:ext uri="{FF2B5EF4-FFF2-40B4-BE49-F238E27FC236}">
                  <a16:creationId xmlns:a16="http://schemas.microsoft.com/office/drawing/2014/main" id="{AACEEDDC-4595-94B9-7D9B-B2C7A43DA40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146467" y="3420735"/>
              <a:ext cx="731330" cy="731330"/>
            </a:xfrm>
            <a:prstGeom prst="rect">
              <a:avLst/>
            </a:prstGeom>
          </p:spPr>
        </p:pic>
        <p:sp>
          <p:nvSpPr>
            <p:cNvPr id="51" name="Freeform 73">
              <a:extLst>
                <a:ext uri="{FF2B5EF4-FFF2-40B4-BE49-F238E27FC236}">
                  <a16:creationId xmlns:a16="http://schemas.microsoft.com/office/drawing/2014/main" id="{9737339A-61A7-B7E5-A0A6-927B45E31401}"/>
                </a:ext>
              </a:extLst>
            </p:cNvPr>
            <p:cNvSpPr>
              <a:spLocks/>
            </p:cNvSpPr>
            <p:nvPr/>
          </p:nvSpPr>
          <p:spPr bwMode="auto">
            <a:xfrm>
              <a:off x="16439017" y="5115584"/>
              <a:ext cx="731330" cy="731330"/>
            </a:xfrm>
            <a:custGeom>
              <a:avLst/>
              <a:gdLst>
                <a:gd name="T0" fmla="*/ 326 w 1010"/>
                <a:gd name="T1" fmla="*/ 119 h 1082"/>
                <a:gd name="T2" fmla="*/ 249 w 1010"/>
                <a:gd name="T3" fmla="*/ 163 h 1082"/>
                <a:gd name="T4" fmla="*/ 92 w 1010"/>
                <a:gd name="T5" fmla="*/ 665 h 1082"/>
                <a:gd name="T6" fmla="*/ 116 w 1010"/>
                <a:gd name="T7" fmla="*/ 699 h 1082"/>
                <a:gd name="T8" fmla="*/ 340 w 1010"/>
                <a:gd name="T9" fmla="*/ 329 h 1082"/>
                <a:gd name="T10" fmla="*/ 384 w 1010"/>
                <a:gd name="T11" fmla="*/ 373 h 1082"/>
                <a:gd name="T12" fmla="*/ 167 w 1010"/>
                <a:gd name="T13" fmla="*/ 748 h 1082"/>
                <a:gd name="T14" fmla="*/ 187 w 1010"/>
                <a:gd name="T15" fmla="*/ 1082 h 1082"/>
                <a:gd name="T16" fmla="*/ 256 w 1010"/>
                <a:gd name="T17" fmla="*/ 1082 h 1082"/>
                <a:gd name="T18" fmla="*/ 223 w 1010"/>
                <a:gd name="T19" fmla="*/ 783 h 1082"/>
                <a:gd name="T20" fmla="*/ 645 w 1010"/>
                <a:gd name="T21" fmla="*/ 759 h 1082"/>
                <a:gd name="T22" fmla="*/ 864 w 1010"/>
                <a:gd name="T23" fmla="*/ 311 h 1082"/>
                <a:gd name="T24" fmla="*/ 976 w 1010"/>
                <a:gd name="T25" fmla="*/ 158 h 1082"/>
                <a:gd name="T26" fmla="*/ 1010 w 1010"/>
                <a:gd name="T27" fmla="*/ 144 h 1082"/>
                <a:gd name="T28" fmla="*/ 326 w 1010"/>
                <a:gd name="T29" fmla="*/ 119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10" h="1082">
                  <a:moveTo>
                    <a:pt x="326" y="119"/>
                  </a:moveTo>
                  <a:cubicBezTo>
                    <a:pt x="313" y="125"/>
                    <a:pt x="262" y="155"/>
                    <a:pt x="249" y="163"/>
                  </a:cubicBezTo>
                  <a:cubicBezTo>
                    <a:pt x="70" y="288"/>
                    <a:pt x="0" y="504"/>
                    <a:pt x="92" y="665"/>
                  </a:cubicBezTo>
                  <a:cubicBezTo>
                    <a:pt x="99" y="677"/>
                    <a:pt x="107" y="688"/>
                    <a:pt x="116" y="699"/>
                  </a:cubicBezTo>
                  <a:cubicBezTo>
                    <a:pt x="154" y="569"/>
                    <a:pt x="230" y="440"/>
                    <a:pt x="340" y="329"/>
                  </a:cubicBezTo>
                  <a:cubicBezTo>
                    <a:pt x="384" y="373"/>
                    <a:pt x="384" y="373"/>
                    <a:pt x="384" y="373"/>
                  </a:cubicBezTo>
                  <a:cubicBezTo>
                    <a:pt x="272" y="486"/>
                    <a:pt x="199" y="618"/>
                    <a:pt x="167" y="748"/>
                  </a:cubicBezTo>
                  <a:cubicBezTo>
                    <a:pt x="138" y="867"/>
                    <a:pt x="143" y="984"/>
                    <a:pt x="187" y="1082"/>
                  </a:cubicBezTo>
                  <a:cubicBezTo>
                    <a:pt x="256" y="1082"/>
                    <a:pt x="256" y="1082"/>
                    <a:pt x="256" y="1082"/>
                  </a:cubicBezTo>
                  <a:cubicBezTo>
                    <a:pt x="210" y="997"/>
                    <a:pt x="200" y="892"/>
                    <a:pt x="223" y="783"/>
                  </a:cubicBezTo>
                  <a:cubicBezTo>
                    <a:pt x="349" y="846"/>
                    <a:pt x="522" y="841"/>
                    <a:pt x="645" y="759"/>
                  </a:cubicBezTo>
                  <a:cubicBezTo>
                    <a:pt x="840" y="627"/>
                    <a:pt x="843" y="395"/>
                    <a:pt x="864" y="311"/>
                  </a:cubicBezTo>
                  <a:cubicBezTo>
                    <a:pt x="885" y="227"/>
                    <a:pt x="923" y="189"/>
                    <a:pt x="976" y="158"/>
                  </a:cubicBezTo>
                  <a:cubicBezTo>
                    <a:pt x="987" y="152"/>
                    <a:pt x="998" y="148"/>
                    <a:pt x="1010" y="144"/>
                  </a:cubicBezTo>
                  <a:cubicBezTo>
                    <a:pt x="839" y="13"/>
                    <a:pt x="562" y="0"/>
                    <a:pt x="326" y="119"/>
                  </a:cubicBezTo>
                </a:path>
              </a:pathLst>
            </a:custGeom>
            <a:solidFill>
              <a:schemeClr val="tx2"/>
            </a:solidFill>
            <a:ln>
              <a:noFill/>
            </a:ln>
          </p:spPr>
          <p:txBody>
            <a:bodyPr vert="horz" wrap="square" lIns="182832" tIns="91416" rIns="182832" bIns="91416" numCol="1" anchor="t" anchorCtr="0" compatLnSpc="1">
              <a:prstTxWarp prst="textNoShape">
                <a:avLst/>
              </a:prstTxWarp>
            </a:bodyPr>
            <a:lstStyle/>
            <a:p>
              <a:endParaRPr lang="en-GB" sz="2800"/>
            </a:p>
          </p:txBody>
        </p:sp>
      </p:grpSp>
      <p:sp>
        <p:nvSpPr>
          <p:cNvPr id="2" name="Rectangle 1">
            <a:extLst>
              <a:ext uri="{FF2B5EF4-FFF2-40B4-BE49-F238E27FC236}">
                <a16:creationId xmlns:a16="http://schemas.microsoft.com/office/drawing/2014/main" id="{FFA4724D-E2ED-ACEF-EBEE-19AE01587009}"/>
              </a:ext>
            </a:extLst>
          </p:cNvPr>
          <p:cNvSpPr/>
          <p:nvPr/>
        </p:nvSpPr>
        <p:spPr>
          <a:xfrm>
            <a:off x="0" y="6478851"/>
            <a:ext cx="24377650" cy="6500775"/>
          </a:xfrm>
          <a:prstGeom prst="rect">
            <a:avLst/>
          </a:prstGeom>
          <a:solidFill>
            <a:srgbClr val="808080">
              <a:alpha val="5490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73E5B076-605D-FC43-9060-DAE221074556}"/>
              </a:ext>
            </a:extLst>
          </p:cNvPr>
          <p:cNvSpPr/>
          <p:nvPr/>
        </p:nvSpPr>
        <p:spPr>
          <a:xfrm>
            <a:off x="0" y="1971092"/>
            <a:ext cx="24377650" cy="4478011"/>
          </a:xfrm>
          <a:prstGeom prst="rect">
            <a:avLst/>
          </a:prstGeom>
          <a:noFill/>
          <a:ln w="1905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800986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460"/>
        <p:cNvGrpSpPr/>
        <p:nvPr/>
      </p:nvGrpSpPr>
      <p:grpSpPr>
        <a:xfrm>
          <a:off x="0" y="0"/>
          <a:ext cx="0" cy="0"/>
          <a:chOff x="0" y="0"/>
          <a:chExt cx="0" cy="0"/>
        </a:xfrm>
      </p:grpSpPr>
      <p:sp>
        <p:nvSpPr>
          <p:cNvPr id="1461" name="Google Shape;1461;p111"/>
          <p:cNvSpPr txBox="1">
            <a:spLocks noGrp="1"/>
          </p:cNvSpPr>
          <p:nvPr>
            <p:ph type="title"/>
          </p:nvPr>
        </p:nvSpPr>
        <p:spPr>
          <a:xfrm>
            <a:off x="1568000" y="1554150"/>
            <a:ext cx="18382800" cy="26505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a:t>Understand the problem</a:t>
            </a:r>
            <a:endParaRPr/>
          </a:p>
        </p:txBody>
      </p:sp>
      <p:sp>
        <p:nvSpPr>
          <p:cNvPr id="1462" name="Google Shape;1462;p111"/>
          <p:cNvSpPr/>
          <p:nvPr/>
        </p:nvSpPr>
        <p:spPr>
          <a:xfrm>
            <a:off x="1743025" y="770000"/>
            <a:ext cx="4443600" cy="646800"/>
          </a:xfrm>
          <a:prstGeom prst="rect">
            <a:avLst/>
          </a:prstGeom>
          <a:solidFill>
            <a:srgbClr val="002A44"/>
          </a:solidFill>
          <a:ln w="9525" cap="flat" cmpd="sng">
            <a:solidFill>
              <a:srgbClr val="002A44"/>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463" name="Google Shape;1463;p111"/>
          <p:cNvSpPr txBox="1">
            <a:spLocks noGrp="1"/>
          </p:cNvSpPr>
          <p:nvPr>
            <p:ph type="subTitle" idx="1"/>
          </p:nvPr>
        </p:nvSpPr>
        <p:spPr>
          <a:xfrm>
            <a:off x="1812875" y="800050"/>
            <a:ext cx="3878700" cy="6156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sz="2500" b="1">
                <a:solidFill>
                  <a:schemeClr val="lt1"/>
                </a:solidFill>
                <a:latin typeface="Montserrat"/>
                <a:ea typeface="Montserrat"/>
                <a:cs typeface="Montserrat"/>
                <a:sym typeface="Montserrat"/>
              </a:rPr>
              <a:t>MILESTONE #1 TASKS</a:t>
            </a:r>
            <a:endParaRPr sz="2400" b="1">
              <a:solidFill>
                <a:schemeClr val="lt1"/>
              </a:solidFill>
              <a:latin typeface="Montserrat"/>
              <a:ea typeface="Montserrat"/>
              <a:cs typeface="Montserrat"/>
              <a:sym typeface="Montserrat"/>
            </a:endParaRPr>
          </a:p>
        </p:txBody>
      </p:sp>
      <p:sp>
        <p:nvSpPr>
          <p:cNvPr id="1464" name="Google Shape;1464;p111"/>
          <p:cNvSpPr txBox="1">
            <a:spLocks noGrp="1"/>
          </p:cNvSpPr>
          <p:nvPr>
            <p:ph type="subTitle" idx="1"/>
          </p:nvPr>
        </p:nvSpPr>
        <p:spPr>
          <a:xfrm>
            <a:off x="1568000" y="2875844"/>
            <a:ext cx="21804900" cy="9571795"/>
          </a:xfrm>
          <a:prstGeom prst="rect">
            <a:avLst/>
          </a:prstGeom>
        </p:spPr>
        <p:txBody>
          <a:bodyPr spcFirstLastPara="1" wrap="square" lIns="91425" tIns="91425" rIns="91425" bIns="91425" anchor="t" anchorCtr="0">
            <a:noAutofit/>
          </a:bodyPr>
          <a:lstStyle/>
          <a:p>
            <a:pPr marR="0">
              <a:lnSpc>
                <a:spcPct val="107000"/>
              </a:lnSpc>
              <a:spcBef>
                <a:spcPts val="0"/>
              </a:spcBef>
              <a:spcAft>
                <a:spcPts val="800"/>
              </a:spcAft>
            </a:pPr>
            <a:r>
              <a:rPr lang="en-US" sz="5000" kern="100">
                <a:effectLst/>
                <a:latin typeface="Aptos"/>
                <a:ea typeface="Aptos"/>
                <a:cs typeface="Times New Roman" panose="02020603050405020304" pitchFamily="18" charset="0"/>
              </a:rPr>
              <a:t>Some specific questions to consider are:</a:t>
            </a:r>
            <a:endParaRPr lang="en-US" sz="3200" kern="100">
              <a:effectLst/>
              <a:latin typeface="Aptos"/>
              <a:ea typeface="Aptos"/>
              <a:cs typeface="Times New Roman" panose="02020603050405020304" pitchFamily="18" charset="0"/>
            </a:endParaRPr>
          </a:p>
          <a:p>
            <a:pPr marL="457200" marR="0" lvl="0" indent="-457200">
              <a:lnSpc>
                <a:spcPct val="107000"/>
              </a:lnSpc>
              <a:spcBef>
                <a:spcPts val="0"/>
              </a:spcBef>
              <a:spcAft>
                <a:spcPts val="600"/>
              </a:spcAft>
              <a:buSzPct val="100000"/>
              <a:buFont typeface="Arial" panose="020B0604020202020204" pitchFamily="34" charset="0"/>
              <a:buChar char="•"/>
              <a:tabLst>
                <a:tab pos="215900" algn="l"/>
              </a:tabLst>
            </a:pPr>
            <a:r>
              <a:rPr lang="en-US" b="1" kern="100">
                <a:effectLst/>
                <a:latin typeface="Aptos"/>
                <a:ea typeface="Aptos"/>
                <a:cs typeface="Times New Roman" panose="02020603050405020304" pitchFamily="18" charset="0"/>
              </a:rPr>
              <a:t>What trends can be observed in one-time donors based on their account type, donation amount, close date, and zip code?</a:t>
            </a:r>
          </a:p>
          <a:p>
            <a:pPr marL="457200" marR="0" lvl="0" indent="-457200">
              <a:lnSpc>
                <a:spcPct val="107000"/>
              </a:lnSpc>
              <a:spcBef>
                <a:spcPts val="0"/>
              </a:spcBef>
              <a:spcAft>
                <a:spcPts val="600"/>
              </a:spcAft>
              <a:buSzPct val="100000"/>
              <a:buFont typeface="Arial" panose="020B0604020202020204" pitchFamily="34" charset="0"/>
              <a:buChar char="•"/>
              <a:tabLst>
                <a:tab pos="215900" algn="l"/>
              </a:tabLst>
            </a:pPr>
            <a:r>
              <a:rPr lang="en-US" b="1" kern="100">
                <a:effectLst/>
                <a:latin typeface="Aptos"/>
                <a:ea typeface="Aptos"/>
                <a:cs typeface="Times New Roman" panose="02020603050405020304" pitchFamily="18" charset="0"/>
              </a:rPr>
              <a:t>How have one-time donation trends shifted over time? Is there a specific time of the year when the most donations are made?</a:t>
            </a:r>
          </a:p>
          <a:p>
            <a:pPr marL="457200" marR="0" lvl="0" indent="-457200">
              <a:lnSpc>
                <a:spcPct val="107000"/>
              </a:lnSpc>
              <a:spcBef>
                <a:spcPts val="0"/>
              </a:spcBef>
              <a:spcAft>
                <a:spcPts val="600"/>
              </a:spcAft>
              <a:buSzPct val="100000"/>
              <a:buFont typeface="Arial" panose="020B0604020202020204" pitchFamily="34" charset="0"/>
              <a:buChar char="•"/>
              <a:tabLst>
                <a:tab pos="215900" algn="l"/>
              </a:tabLst>
            </a:pPr>
            <a:r>
              <a:rPr lang="en-US" b="1" kern="100">
                <a:effectLst/>
                <a:latin typeface="Aptos"/>
                <a:ea typeface="Aptos"/>
                <a:cs typeface="Times New Roman" panose="02020603050405020304" pitchFamily="18" charset="0"/>
              </a:rPr>
              <a:t>Are there any location-based trends in one-time donations? Can you identify locations where the largest one-time donations are coming from?</a:t>
            </a:r>
          </a:p>
          <a:p>
            <a:pPr marL="457200" marR="0" lvl="0" indent="-457200">
              <a:lnSpc>
                <a:spcPct val="107000"/>
              </a:lnSpc>
              <a:spcBef>
                <a:spcPts val="0"/>
              </a:spcBef>
              <a:spcAft>
                <a:spcPts val="600"/>
              </a:spcAft>
              <a:buSzPct val="100000"/>
              <a:buFont typeface="Arial" panose="020B0604020202020204" pitchFamily="34" charset="0"/>
              <a:buChar char="•"/>
              <a:tabLst>
                <a:tab pos="215900" algn="l"/>
              </a:tabLst>
            </a:pPr>
            <a:r>
              <a:rPr lang="en-US" b="1" kern="100">
                <a:effectLst/>
                <a:latin typeface="Aptos"/>
                <a:ea typeface="Aptos"/>
                <a:cs typeface="Times New Roman" panose="02020603050405020304" pitchFamily="18" charset="0"/>
              </a:rPr>
              <a:t>What trends can be identified in recurring donors based on their account type, donation amount, close date, and zip code?</a:t>
            </a:r>
          </a:p>
          <a:p>
            <a:pPr marL="457200" marR="0" lvl="0" indent="-457200">
              <a:lnSpc>
                <a:spcPct val="107000"/>
              </a:lnSpc>
              <a:spcBef>
                <a:spcPts val="0"/>
              </a:spcBef>
              <a:spcAft>
                <a:spcPts val="600"/>
              </a:spcAft>
              <a:buSzPct val="100000"/>
              <a:buFont typeface="Arial" panose="020B0604020202020204" pitchFamily="34" charset="0"/>
              <a:buChar char="•"/>
              <a:tabLst>
                <a:tab pos="215900" algn="l"/>
              </a:tabLst>
            </a:pPr>
            <a:r>
              <a:rPr lang="en-US" b="1" kern="100">
                <a:effectLst/>
                <a:latin typeface="Aptos"/>
                <a:ea typeface="Aptos"/>
                <a:cs typeface="Times New Roman" panose="02020603050405020304" pitchFamily="18" charset="0"/>
              </a:rPr>
              <a:t>What percentage of the donor base consists of recurring donors, and how often do they give year over year?</a:t>
            </a:r>
          </a:p>
          <a:p>
            <a:pPr marL="457200" marR="0" lvl="0" indent="-457200">
              <a:lnSpc>
                <a:spcPct val="107000"/>
              </a:lnSpc>
              <a:spcBef>
                <a:spcPts val="0"/>
              </a:spcBef>
              <a:spcAft>
                <a:spcPts val="600"/>
              </a:spcAft>
              <a:buSzPct val="100000"/>
              <a:buFont typeface="Arial" panose="020B0604020202020204" pitchFamily="34" charset="0"/>
              <a:buChar char="•"/>
              <a:tabLst>
                <a:tab pos="215900" algn="l"/>
              </a:tabLst>
            </a:pPr>
            <a:r>
              <a:rPr lang="en-US" b="1" kern="100">
                <a:effectLst/>
                <a:latin typeface="Aptos"/>
                <a:ea typeface="Aptos"/>
                <a:cs typeface="Times New Roman" panose="02020603050405020304" pitchFamily="18" charset="0"/>
              </a:rPr>
              <a:t>Is there a difference in donation amounts between one-time and recurring donors?</a:t>
            </a:r>
          </a:p>
          <a:p>
            <a:pPr marL="457200" marR="0" lvl="0" indent="-457200">
              <a:lnSpc>
                <a:spcPct val="107000"/>
              </a:lnSpc>
              <a:spcBef>
                <a:spcPts val="0"/>
              </a:spcBef>
              <a:spcAft>
                <a:spcPts val="600"/>
              </a:spcAft>
              <a:buSzPct val="100000"/>
              <a:buFont typeface="Arial" panose="020B0604020202020204" pitchFamily="34" charset="0"/>
              <a:buChar char="•"/>
              <a:tabLst>
                <a:tab pos="215900" algn="l"/>
              </a:tabLst>
            </a:pPr>
            <a:r>
              <a:rPr lang="en-US" b="1" kern="100">
                <a:effectLst/>
                <a:latin typeface="Aptos"/>
                <a:ea typeface="Aptos"/>
                <a:cs typeface="Times New Roman" panose="02020603050405020304" pitchFamily="18" charset="0"/>
              </a:rPr>
              <a:t>Do certain campaigns correlate  with one-time or recurring donations? Which campaigns were the most and least successful in terms of donor participation and donation amounts?</a:t>
            </a:r>
          </a:p>
          <a:p>
            <a:pPr marL="457200" marR="0" lvl="0" indent="-457200">
              <a:lnSpc>
                <a:spcPct val="107000"/>
              </a:lnSpc>
              <a:spcBef>
                <a:spcPts val="0"/>
              </a:spcBef>
              <a:spcAft>
                <a:spcPts val="600"/>
              </a:spcAft>
              <a:buSzPct val="100000"/>
              <a:buFont typeface="Arial" panose="020B0604020202020204" pitchFamily="34" charset="0"/>
              <a:buChar char="•"/>
              <a:tabLst>
                <a:tab pos="215900" algn="l"/>
              </a:tabLst>
            </a:pPr>
            <a:r>
              <a:rPr lang="en-US" b="1" kern="100">
                <a:effectLst/>
                <a:latin typeface="Aptos"/>
                <a:ea typeface="Aptos"/>
                <a:cs typeface="Times New Roman" panose="02020603050405020304" pitchFamily="18" charset="0"/>
              </a:rPr>
              <a:t>Based on the provided data, can you predict the likelihood that a donor will make future donations?</a:t>
            </a:r>
          </a:p>
        </p:txBody>
      </p:sp>
    </p:spTree>
    <p:extLst>
      <p:ext uri="{BB962C8B-B14F-4D97-AF65-F5344CB8AC3E}">
        <p14:creationId xmlns:p14="http://schemas.microsoft.com/office/powerpoint/2010/main" val="379950831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460"/>
        <p:cNvGrpSpPr/>
        <p:nvPr/>
      </p:nvGrpSpPr>
      <p:grpSpPr>
        <a:xfrm>
          <a:off x="0" y="0"/>
          <a:ext cx="0" cy="0"/>
          <a:chOff x="0" y="0"/>
          <a:chExt cx="0" cy="0"/>
        </a:xfrm>
      </p:grpSpPr>
      <p:sp>
        <p:nvSpPr>
          <p:cNvPr id="1461" name="Google Shape;1461;p111"/>
          <p:cNvSpPr txBox="1">
            <a:spLocks noGrp="1"/>
          </p:cNvSpPr>
          <p:nvPr>
            <p:ph type="title"/>
          </p:nvPr>
        </p:nvSpPr>
        <p:spPr>
          <a:xfrm>
            <a:off x="1568000" y="1554150"/>
            <a:ext cx="18382800" cy="26505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a:t>Understand the Data</a:t>
            </a:r>
            <a:endParaRPr/>
          </a:p>
        </p:txBody>
      </p:sp>
      <p:sp>
        <p:nvSpPr>
          <p:cNvPr id="1462" name="Google Shape;1462;p111"/>
          <p:cNvSpPr/>
          <p:nvPr/>
        </p:nvSpPr>
        <p:spPr>
          <a:xfrm>
            <a:off x="1743025" y="770000"/>
            <a:ext cx="4443600" cy="646800"/>
          </a:xfrm>
          <a:prstGeom prst="rect">
            <a:avLst/>
          </a:prstGeom>
          <a:solidFill>
            <a:srgbClr val="002A44"/>
          </a:solidFill>
          <a:ln w="9525" cap="flat" cmpd="sng">
            <a:solidFill>
              <a:srgbClr val="002A44"/>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463" name="Google Shape;1463;p111"/>
          <p:cNvSpPr txBox="1">
            <a:spLocks noGrp="1"/>
          </p:cNvSpPr>
          <p:nvPr>
            <p:ph type="subTitle" idx="1"/>
          </p:nvPr>
        </p:nvSpPr>
        <p:spPr>
          <a:xfrm>
            <a:off x="1812875" y="800050"/>
            <a:ext cx="3878700" cy="6156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sz="2500" b="1">
                <a:solidFill>
                  <a:schemeClr val="lt1"/>
                </a:solidFill>
                <a:latin typeface="Montserrat"/>
                <a:ea typeface="Montserrat"/>
                <a:cs typeface="Montserrat"/>
                <a:sym typeface="Montserrat"/>
              </a:rPr>
              <a:t>MILESTONE #1 TASKS</a:t>
            </a:r>
            <a:endParaRPr sz="2400" b="1">
              <a:solidFill>
                <a:schemeClr val="lt1"/>
              </a:solidFill>
              <a:latin typeface="Montserrat"/>
              <a:ea typeface="Montserrat"/>
              <a:cs typeface="Montserrat"/>
              <a:sym typeface="Montserrat"/>
            </a:endParaRPr>
          </a:p>
        </p:txBody>
      </p:sp>
      <p:sp>
        <p:nvSpPr>
          <p:cNvPr id="1464" name="Google Shape;1464;p111"/>
          <p:cNvSpPr txBox="1">
            <a:spLocks noGrp="1"/>
          </p:cNvSpPr>
          <p:nvPr>
            <p:ph type="subTitle" idx="1"/>
          </p:nvPr>
        </p:nvSpPr>
        <p:spPr>
          <a:xfrm>
            <a:off x="1743025" y="3467065"/>
            <a:ext cx="21804900" cy="9429043"/>
          </a:xfrm>
          <a:prstGeom prst="rect">
            <a:avLst/>
          </a:prstGeom>
        </p:spPr>
        <p:txBody>
          <a:bodyPr spcFirstLastPara="1" wrap="square" lIns="91425" tIns="91425" rIns="91425" bIns="91425" anchor="t" anchorCtr="0">
            <a:noAutofit/>
          </a:bodyPr>
          <a:lstStyle/>
          <a:p>
            <a:pPr marL="457200" lvl="0" indent="-457200" algn="l" rtl="0">
              <a:lnSpc>
                <a:spcPct val="115000"/>
              </a:lnSpc>
              <a:spcBef>
                <a:spcPts val="0"/>
              </a:spcBef>
              <a:spcAft>
                <a:spcPts val="0"/>
              </a:spcAft>
              <a:buClr>
                <a:srgbClr val="002D45"/>
              </a:buClr>
              <a:buSzPts val="3600"/>
              <a:buChar char="●"/>
            </a:pPr>
            <a:r>
              <a:rPr lang="en-US" b="1">
                <a:solidFill>
                  <a:srgbClr val="002D45"/>
                </a:solidFill>
                <a:latin typeface="Aptos" panose="02110004020202020204"/>
              </a:rPr>
              <a:t>Review the data overview slides (in this document)</a:t>
            </a:r>
          </a:p>
          <a:p>
            <a:pPr marL="457200" lvl="0" indent="-457200" algn="l" rtl="0">
              <a:lnSpc>
                <a:spcPct val="115000"/>
              </a:lnSpc>
              <a:spcBef>
                <a:spcPts val="0"/>
              </a:spcBef>
              <a:spcAft>
                <a:spcPts val="0"/>
              </a:spcAft>
              <a:buClr>
                <a:srgbClr val="002D45"/>
              </a:buClr>
              <a:buSzPts val="3600"/>
              <a:buChar char="●"/>
            </a:pPr>
            <a:r>
              <a:rPr lang="en-US" b="1">
                <a:solidFill>
                  <a:srgbClr val="002D45"/>
                </a:solidFill>
                <a:latin typeface="Aptos" panose="02110004020202020204"/>
              </a:rPr>
              <a:t>Read the data dictionaries</a:t>
            </a:r>
          </a:p>
          <a:p>
            <a:pPr marL="457200" indent="-457200">
              <a:lnSpc>
                <a:spcPct val="115000"/>
              </a:lnSpc>
              <a:buClr>
                <a:srgbClr val="002D45"/>
              </a:buClr>
              <a:buFont typeface="Montserrat"/>
              <a:buChar char="●"/>
            </a:pPr>
            <a:r>
              <a:rPr lang="en-US" b="1">
                <a:solidFill>
                  <a:schemeClr val="tx1"/>
                </a:solidFill>
                <a:cs typeface="Arial"/>
              </a:rPr>
              <a:t>Data is provided in flat files (.xlsx, .csv)</a:t>
            </a:r>
            <a:endParaRPr lang="en-US" b="1">
              <a:solidFill>
                <a:schemeClr val="tx1"/>
              </a:solidFill>
              <a:latin typeface="Aptos" panose="02110004020202020204"/>
            </a:endParaRPr>
          </a:p>
          <a:p>
            <a:pPr marL="457200" lvl="0" indent="-457200" algn="l" rtl="0">
              <a:lnSpc>
                <a:spcPct val="115000"/>
              </a:lnSpc>
              <a:spcBef>
                <a:spcPts val="0"/>
              </a:spcBef>
              <a:spcAft>
                <a:spcPts val="0"/>
              </a:spcAft>
              <a:buClr>
                <a:srgbClr val="002D45"/>
              </a:buClr>
              <a:buSzPts val="3600"/>
              <a:buChar char="●"/>
            </a:pPr>
            <a:r>
              <a:rPr lang="en-US" b="1">
                <a:solidFill>
                  <a:schemeClr val="tx1"/>
                </a:solidFill>
                <a:latin typeface="Aptos" panose="02110004020202020204"/>
              </a:rPr>
              <a:t>Save the data in a reliable format</a:t>
            </a:r>
          </a:p>
          <a:p>
            <a:pPr marL="457200" lvl="0" indent="-457200" algn="l" rtl="0">
              <a:lnSpc>
                <a:spcPct val="115000"/>
              </a:lnSpc>
              <a:spcBef>
                <a:spcPts val="0"/>
              </a:spcBef>
              <a:spcAft>
                <a:spcPts val="0"/>
              </a:spcAft>
              <a:buClr>
                <a:srgbClr val="002D45"/>
              </a:buClr>
              <a:buSzPts val="3600"/>
              <a:buChar char="●"/>
            </a:pPr>
            <a:r>
              <a:rPr lang="en-US" b="1">
                <a:solidFill>
                  <a:srgbClr val="002D45"/>
                </a:solidFill>
                <a:latin typeface="Aptos" panose="02110004020202020204"/>
              </a:rPr>
              <a:t>Ensure you can read it into your program</a:t>
            </a:r>
          </a:p>
          <a:p>
            <a:pPr marL="457200" lvl="0" indent="-457200" algn="l" rtl="0">
              <a:lnSpc>
                <a:spcPct val="115000"/>
              </a:lnSpc>
              <a:spcBef>
                <a:spcPts val="0"/>
              </a:spcBef>
              <a:spcAft>
                <a:spcPts val="0"/>
              </a:spcAft>
              <a:buClr>
                <a:srgbClr val="002D45"/>
              </a:buClr>
              <a:buSzPts val="3600"/>
              <a:buChar char="●"/>
            </a:pPr>
            <a:r>
              <a:rPr lang="en-US" b="1">
                <a:solidFill>
                  <a:srgbClr val="002D45"/>
                </a:solidFill>
                <a:latin typeface="Aptos" panose="02110004020202020204"/>
              </a:rPr>
              <a:t>Relate the data to the problem</a:t>
            </a:r>
          </a:p>
          <a:p>
            <a:pPr marL="457200" lvl="0" indent="-457200" algn="l" rtl="0">
              <a:lnSpc>
                <a:spcPct val="115000"/>
              </a:lnSpc>
              <a:spcBef>
                <a:spcPts val="0"/>
              </a:spcBef>
              <a:spcAft>
                <a:spcPts val="0"/>
              </a:spcAft>
              <a:buClr>
                <a:srgbClr val="002D45"/>
              </a:buClr>
              <a:buSzPts val="3600"/>
              <a:buChar char="●"/>
            </a:pPr>
            <a:r>
              <a:rPr lang="en-US" b="1">
                <a:solidFill>
                  <a:srgbClr val="002D45"/>
                </a:solidFill>
                <a:latin typeface="Aptos" panose="02110004020202020204"/>
              </a:rPr>
              <a:t>Note the data types</a:t>
            </a:r>
          </a:p>
          <a:p>
            <a:pPr marL="457200" lvl="0" indent="-457200" algn="l" rtl="0">
              <a:lnSpc>
                <a:spcPct val="115000"/>
              </a:lnSpc>
              <a:spcBef>
                <a:spcPts val="0"/>
              </a:spcBef>
              <a:spcAft>
                <a:spcPts val="0"/>
              </a:spcAft>
              <a:buClr>
                <a:srgbClr val="002D45"/>
              </a:buClr>
              <a:buSzPts val="3600"/>
              <a:buChar char="●"/>
            </a:pPr>
            <a:r>
              <a:rPr lang="en-US" b="1">
                <a:solidFill>
                  <a:srgbClr val="002D45"/>
                </a:solidFill>
                <a:latin typeface="Aptos" panose="02110004020202020204"/>
              </a:rPr>
              <a:t>What does the data mean?</a:t>
            </a:r>
          </a:p>
          <a:p>
            <a:pPr marL="457200" lvl="0" indent="-457200" algn="l" rtl="0">
              <a:lnSpc>
                <a:spcPct val="115000"/>
              </a:lnSpc>
              <a:spcBef>
                <a:spcPts val="0"/>
              </a:spcBef>
              <a:spcAft>
                <a:spcPts val="0"/>
              </a:spcAft>
              <a:buClr>
                <a:srgbClr val="002D45"/>
              </a:buClr>
              <a:buSzPts val="3600"/>
              <a:buChar char="●"/>
            </a:pPr>
            <a:r>
              <a:rPr lang="en-US" b="1">
                <a:solidFill>
                  <a:srgbClr val="002D45"/>
                </a:solidFill>
                <a:latin typeface="Aptos" panose="02110004020202020204"/>
              </a:rPr>
              <a:t>Check your bias</a:t>
            </a:r>
          </a:p>
          <a:p>
            <a:pPr marL="457200" lvl="0" indent="-457200" algn="l" rtl="0">
              <a:lnSpc>
                <a:spcPct val="115000"/>
              </a:lnSpc>
              <a:spcBef>
                <a:spcPts val="0"/>
              </a:spcBef>
              <a:spcAft>
                <a:spcPts val="0"/>
              </a:spcAft>
              <a:buClr>
                <a:srgbClr val="002D45"/>
              </a:buClr>
              <a:buSzPts val="3600"/>
              <a:buChar char="●"/>
            </a:pPr>
            <a:r>
              <a:rPr lang="en-US" b="1">
                <a:solidFill>
                  <a:schemeClr val="tx1"/>
                </a:solidFill>
                <a:latin typeface="Aptos" panose="02110004020202020204"/>
              </a:rPr>
              <a:t>Are there outliers? </a:t>
            </a:r>
          </a:p>
          <a:p>
            <a:pPr marL="457200" indent="-457200">
              <a:lnSpc>
                <a:spcPct val="115000"/>
              </a:lnSpc>
              <a:buClr>
                <a:srgbClr val="002D45"/>
              </a:buClr>
              <a:buFont typeface="Montserrat"/>
              <a:buChar char="●"/>
            </a:pPr>
            <a:r>
              <a:rPr lang="en-US" b="1">
                <a:solidFill>
                  <a:schemeClr val="tx1"/>
                </a:solidFill>
                <a:cs typeface="Arial"/>
              </a:rPr>
              <a:t>Conduct Exploratory Data Analysis (EDA): calculate measures of center and spread, identify outliers, count number of instances, etc.</a:t>
            </a:r>
          </a:p>
          <a:p>
            <a:pPr marL="457200" indent="-457200">
              <a:lnSpc>
                <a:spcPct val="115000"/>
              </a:lnSpc>
              <a:buClr>
                <a:srgbClr val="002D45"/>
              </a:buClr>
              <a:buFont typeface="Montserrat"/>
              <a:buChar char="●"/>
            </a:pPr>
            <a:r>
              <a:rPr lang="en-US" b="1">
                <a:solidFill>
                  <a:schemeClr val="tx1"/>
                </a:solidFill>
                <a:cs typeface="Arial"/>
              </a:rPr>
              <a:t>Real world data contains missing values, its not a mistake! Consider how to account for these (imputation, exclusion, etc.)</a:t>
            </a:r>
            <a:endParaRPr lang="en-US">
              <a:solidFill>
                <a:schemeClr val="tx1"/>
              </a:solidFill>
            </a:endParaRPr>
          </a:p>
          <a:p>
            <a:pPr marL="457200" lvl="0" indent="-457200" algn="l" rtl="0">
              <a:lnSpc>
                <a:spcPct val="115000"/>
              </a:lnSpc>
              <a:spcBef>
                <a:spcPts val="0"/>
              </a:spcBef>
              <a:spcAft>
                <a:spcPts val="0"/>
              </a:spcAft>
              <a:buClr>
                <a:srgbClr val="002D45"/>
              </a:buClr>
              <a:buSzPts val="3600"/>
              <a:buChar char="●"/>
            </a:pPr>
            <a:endParaRPr lang="en-US" b="1">
              <a:solidFill>
                <a:srgbClr val="002D45"/>
              </a:solidFill>
              <a:latin typeface="Aptos" panose="02110004020202020204"/>
            </a:endParaRPr>
          </a:p>
          <a:p>
            <a:pPr marL="457200" lvl="0" indent="-457200" algn="l" rtl="0">
              <a:lnSpc>
                <a:spcPct val="115000"/>
              </a:lnSpc>
              <a:spcBef>
                <a:spcPts val="0"/>
              </a:spcBef>
              <a:spcAft>
                <a:spcPts val="0"/>
              </a:spcAft>
              <a:buClr>
                <a:srgbClr val="002D45"/>
              </a:buClr>
              <a:buSzPts val="3600"/>
              <a:buChar char="●"/>
            </a:pPr>
            <a:endParaRPr lang="en-US" b="1">
              <a:solidFill>
                <a:srgbClr val="002D45"/>
              </a:solidFill>
              <a:latin typeface="Aptos" panose="02110004020202020204"/>
            </a:endParaRPr>
          </a:p>
        </p:txBody>
      </p:sp>
    </p:spTree>
    <p:extLst>
      <p:ext uri="{BB962C8B-B14F-4D97-AF65-F5344CB8AC3E}">
        <p14:creationId xmlns:p14="http://schemas.microsoft.com/office/powerpoint/2010/main" val="1975620741"/>
      </p:ext>
    </p:extLst>
  </p:cSld>
  <p:clrMapOvr>
    <a:masterClrMapping/>
  </p:clrMapOvr>
  <p:extLst>
    <p:ext uri="{6950BFC3-D8DA-4A85-94F7-54DA5524770B}">
      <p188:commentRel xmlns:p188="http://schemas.microsoft.com/office/powerpoint/2018/8/main" r:id="rId3"/>
    </p:ext>
  </p:extLs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460"/>
        <p:cNvGrpSpPr/>
        <p:nvPr/>
      </p:nvGrpSpPr>
      <p:grpSpPr>
        <a:xfrm>
          <a:off x="0" y="0"/>
          <a:ext cx="0" cy="0"/>
          <a:chOff x="0" y="0"/>
          <a:chExt cx="0" cy="0"/>
        </a:xfrm>
      </p:grpSpPr>
      <p:sp>
        <p:nvSpPr>
          <p:cNvPr id="1461" name="Google Shape;1461;p111"/>
          <p:cNvSpPr txBox="1">
            <a:spLocks noGrp="1"/>
          </p:cNvSpPr>
          <p:nvPr>
            <p:ph type="title"/>
          </p:nvPr>
        </p:nvSpPr>
        <p:spPr>
          <a:xfrm>
            <a:off x="1568000" y="1554150"/>
            <a:ext cx="18382800" cy="26505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a:t>Data preprocessing</a:t>
            </a:r>
            <a:endParaRPr/>
          </a:p>
        </p:txBody>
      </p:sp>
      <p:sp>
        <p:nvSpPr>
          <p:cNvPr id="1462" name="Google Shape;1462;p111"/>
          <p:cNvSpPr/>
          <p:nvPr/>
        </p:nvSpPr>
        <p:spPr>
          <a:xfrm>
            <a:off x="1743025" y="770000"/>
            <a:ext cx="4443600" cy="646800"/>
          </a:xfrm>
          <a:prstGeom prst="rect">
            <a:avLst/>
          </a:prstGeom>
          <a:solidFill>
            <a:srgbClr val="002A44"/>
          </a:solidFill>
          <a:ln w="9525" cap="flat" cmpd="sng">
            <a:solidFill>
              <a:srgbClr val="002A44"/>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463" name="Google Shape;1463;p111"/>
          <p:cNvSpPr txBox="1">
            <a:spLocks noGrp="1"/>
          </p:cNvSpPr>
          <p:nvPr>
            <p:ph type="subTitle" idx="1"/>
          </p:nvPr>
        </p:nvSpPr>
        <p:spPr>
          <a:xfrm>
            <a:off x="1812875" y="800050"/>
            <a:ext cx="3878700" cy="6156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sz="2500" b="1">
                <a:solidFill>
                  <a:schemeClr val="lt1"/>
                </a:solidFill>
                <a:latin typeface="Montserrat"/>
                <a:ea typeface="Montserrat"/>
                <a:cs typeface="Montserrat"/>
                <a:sym typeface="Montserrat"/>
              </a:rPr>
              <a:t>MILESTONE #1 TASKS</a:t>
            </a:r>
            <a:endParaRPr sz="2400" b="1">
              <a:solidFill>
                <a:schemeClr val="lt1"/>
              </a:solidFill>
              <a:latin typeface="Montserrat"/>
              <a:ea typeface="Montserrat"/>
              <a:cs typeface="Montserrat"/>
              <a:sym typeface="Montserrat"/>
            </a:endParaRPr>
          </a:p>
        </p:txBody>
      </p:sp>
      <p:sp>
        <p:nvSpPr>
          <p:cNvPr id="1464" name="Google Shape;1464;p111"/>
          <p:cNvSpPr txBox="1">
            <a:spLocks noGrp="1"/>
          </p:cNvSpPr>
          <p:nvPr>
            <p:ph type="subTitle" idx="1"/>
          </p:nvPr>
        </p:nvSpPr>
        <p:spPr>
          <a:xfrm>
            <a:off x="1568000" y="4354917"/>
            <a:ext cx="21804900" cy="5583600"/>
          </a:xfrm>
          <a:prstGeom prst="rect">
            <a:avLst/>
          </a:prstGeom>
        </p:spPr>
        <p:txBody>
          <a:bodyPr spcFirstLastPara="1" wrap="square" lIns="91425" tIns="91425" rIns="91425" bIns="91425" anchor="t" anchorCtr="0">
            <a:noAutofit/>
          </a:bodyPr>
          <a:lstStyle/>
          <a:p>
            <a:pPr marL="457200" lvl="0" indent="-457200" algn="l" rtl="0">
              <a:lnSpc>
                <a:spcPct val="115000"/>
              </a:lnSpc>
              <a:spcBef>
                <a:spcPts val="0"/>
              </a:spcBef>
              <a:spcAft>
                <a:spcPts val="0"/>
              </a:spcAft>
              <a:buClr>
                <a:srgbClr val="002D45"/>
              </a:buClr>
              <a:buSzPts val="3600"/>
              <a:buChar char="●"/>
            </a:pPr>
            <a:r>
              <a:rPr lang="en-US" b="1">
                <a:solidFill>
                  <a:srgbClr val="002D45"/>
                </a:solidFill>
              </a:rPr>
              <a:t>Data cleaning </a:t>
            </a:r>
            <a:r>
              <a:rPr lang="en-US">
                <a:solidFill>
                  <a:srgbClr val="002D45"/>
                </a:solidFill>
              </a:rPr>
              <a:t>e.g., handling missing values, outliers, duplicates</a:t>
            </a:r>
            <a:endParaRPr>
              <a:solidFill>
                <a:srgbClr val="002D45"/>
              </a:solidFill>
            </a:endParaRPr>
          </a:p>
          <a:p>
            <a:pPr marL="457200" lvl="0" indent="-457200" algn="l" rtl="0">
              <a:lnSpc>
                <a:spcPct val="115000"/>
              </a:lnSpc>
              <a:spcBef>
                <a:spcPts val="1800"/>
              </a:spcBef>
              <a:spcAft>
                <a:spcPts val="0"/>
              </a:spcAft>
              <a:buClr>
                <a:srgbClr val="002D45"/>
              </a:buClr>
              <a:buSzPts val="3600"/>
              <a:buChar char="●"/>
            </a:pPr>
            <a:r>
              <a:rPr lang="en-US" b="1">
                <a:solidFill>
                  <a:srgbClr val="002D45"/>
                </a:solidFill>
              </a:rPr>
              <a:t>Data transformation </a:t>
            </a:r>
            <a:r>
              <a:rPr lang="en-US">
                <a:solidFill>
                  <a:srgbClr val="002D45"/>
                </a:solidFill>
              </a:rPr>
              <a:t>e.g., normalization and encoding tasks</a:t>
            </a:r>
            <a:endParaRPr lang="en-US" b="1">
              <a:solidFill>
                <a:srgbClr val="002D45"/>
              </a:solidFill>
            </a:endParaRPr>
          </a:p>
          <a:p>
            <a:pPr marL="457200" lvl="0" indent="-457200" algn="l" rtl="0">
              <a:lnSpc>
                <a:spcPct val="115000"/>
              </a:lnSpc>
              <a:spcBef>
                <a:spcPts val="1800"/>
              </a:spcBef>
              <a:spcAft>
                <a:spcPts val="0"/>
              </a:spcAft>
              <a:buClr>
                <a:srgbClr val="002D45"/>
              </a:buClr>
              <a:buSzPts val="3600"/>
              <a:buChar char="●"/>
            </a:pPr>
            <a:r>
              <a:rPr lang="en-US" b="1">
                <a:solidFill>
                  <a:srgbClr val="002D45"/>
                </a:solidFill>
              </a:rPr>
              <a:t>Data Reduction if needed </a:t>
            </a:r>
            <a:r>
              <a:rPr lang="en-US">
                <a:solidFill>
                  <a:srgbClr val="002D45"/>
                </a:solidFill>
              </a:rPr>
              <a:t>e.g., dimensionality reduction</a:t>
            </a:r>
          </a:p>
          <a:p>
            <a:pPr marL="457200" lvl="0" indent="-457200" algn="l" rtl="0">
              <a:lnSpc>
                <a:spcPct val="115000"/>
              </a:lnSpc>
              <a:spcBef>
                <a:spcPts val="1800"/>
              </a:spcBef>
              <a:spcAft>
                <a:spcPts val="0"/>
              </a:spcAft>
              <a:buClr>
                <a:srgbClr val="002D45"/>
              </a:buClr>
              <a:buSzPts val="3600"/>
              <a:buChar char="●"/>
            </a:pPr>
            <a:r>
              <a:rPr lang="en-US" b="1">
                <a:solidFill>
                  <a:srgbClr val="002D45"/>
                </a:solidFill>
              </a:rPr>
              <a:t>Data Augmentation </a:t>
            </a:r>
            <a:r>
              <a:rPr lang="en-US">
                <a:solidFill>
                  <a:srgbClr val="002D45"/>
                </a:solidFill>
              </a:rPr>
              <a:t>e.g., combine data together to form new data sets for analysis</a:t>
            </a:r>
          </a:p>
          <a:p>
            <a:pPr marL="457200" indent="-457200">
              <a:lnSpc>
                <a:spcPct val="115000"/>
              </a:lnSpc>
              <a:spcBef>
                <a:spcPts val="1800"/>
              </a:spcBef>
              <a:buClr>
                <a:srgbClr val="002D45"/>
              </a:buClr>
              <a:buFont typeface="Montserrat"/>
              <a:buChar char="●"/>
            </a:pPr>
            <a:r>
              <a:rPr lang="en-US" b="1">
                <a:solidFill>
                  <a:srgbClr val="002D45"/>
                </a:solidFill>
              </a:rPr>
              <a:t>Feature Engineering</a:t>
            </a:r>
            <a:r>
              <a:rPr lang="en-US">
                <a:solidFill>
                  <a:srgbClr val="002D45"/>
                </a:solidFill>
              </a:rPr>
              <a:t> e.g., derive new columns/features from existing data that you will use in your model</a:t>
            </a:r>
          </a:p>
        </p:txBody>
      </p:sp>
    </p:spTree>
  </p:cSld>
  <p:clrMapOvr>
    <a:masterClrMapping/>
  </p:clrMapOvr>
  <p:extLst>
    <p:ext uri="{6950BFC3-D8DA-4A85-94F7-54DA5524770B}">
      <p188:commentRel xmlns:p188="http://schemas.microsoft.com/office/powerpoint/2018/8/main" r:id="rId3"/>
    </p:ext>
  </p:extLs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460"/>
        <p:cNvGrpSpPr/>
        <p:nvPr/>
      </p:nvGrpSpPr>
      <p:grpSpPr>
        <a:xfrm>
          <a:off x="0" y="0"/>
          <a:ext cx="0" cy="0"/>
          <a:chOff x="0" y="0"/>
          <a:chExt cx="0" cy="0"/>
        </a:xfrm>
      </p:grpSpPr>
      <p:sp>
        <p:nvSpPr>
          <p:cNvPr id="1462" name="Google Shape;1462;p111"/>
          <p:cNvSpPr/>
          <p:nvPr/>
        </p:nvSpPr>
        <p:spPr>
          <a:xfrm>
            <a:off x="269845" y="149675"/>
            <a:ext cx="4443600" cy="646800"/>
          </a:xfrm>
          <a:prstGeom prst="rect">
            <a:avLst/>
          </a:prstGeom>
          <a:solidFill>
            <a:srgbClr val="002A44"/>
          </a:solidFill>
          <a:ln w="9525" cap="flat" cmpd="sng">
            <a:solidFill>
              <a:srgbClr val="002A44"/>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461" name="Google Shape;1461;p111"/>
          <p:cNvSpPr txBox="1">
            <a:spLocks noGrp="1"/>
          </p:cNvSpPr>
          <p:nvPr>
            <p:ph type="title" idx="4294967295"/>
          </p:nvPr>
        </p:nvSpPr>
        <p:spPr>
          <a:xfrm>
            <a:off x="560438" y="901317"/>
            <a:ext cx="18383250" cy="949325"/>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7200">
                <a:latin typeface="Aptos"/>
              </a:rPr>
              <a:t>Exploratory Data Analysis</a:t>
            </a:r>
            <a:br>
              <a:rPr lang="en-US" sz="7200">
                <a:latin typeface="Aptos"/>
              </a:rPr>
            </a:br>
            <a:r>
              <a:rPr lang="en-US" sz="7200">
                <a:latin typeface="Aptos"/>
              </a:rPr>
              <a:t> </a:t>
            </a:r>
          </a:p>
        </p:txBody>
      </p:sp>
      <p:sp>
        <p:nvSpPr>
          <p:cNvPr id="1463" name="Google Shape;1463;p111"/>
          <p:cNvSpPr txBox="1">
            <a:spLocks noGrp="1"/>
          </p:cNvSpPr>
          <p:nvPr>
            <p:ph type="subTitle" idx="4294967295"/>
          </p:nvPr>
        </p:nvSpPr>
        <p:spPr>
          <a:xfrm>
            <a:off x="675253" y="144463"/>
            <a:ext cx="3879850" cy="61595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sz="2500" b="1">
                <a:solidFill>
                  <a:schemeClr val="lt1"/>
                </a:solidFill>
                <a:latin typeface="Montserrat"/>
                <a:ea typeface="Montserrat"/>
                <a:cs typeface="Montserrat"/>
                <a:sym typeface="Montserrat"/>
              </a:rPr>
              <a:t>MILESTONE #1 TASKS</a:t>
            </a:r>
            <a:endParaRPr sz="2400" b="1">
              <a:solidFill>
                <a:schemeClr val="lt1"/>
              </a:solidFill>
              <a:latin typeface="Montserrat"/>
              <a:ea typeface="Montserrat"/>
              <a:cs typeface="Montserrat"/>
              <a:sym typeface="Montserrat"/>
            </a:endParaRPr>
          </a:p>
        </p:txBody>
      </p:sp>
      <p:grpSp>
        <p:nvGrpSpPr>
          <p:cNvPr id="1423" name="Group 1422">
            <a:extLst>
              <a:ext uri="{FF2B5EF4-FFF2-40B4-BE49-F238E27FC236}">
                <a16:creationId xmlns:a16="http://schemas.microsoft.com/office/drawing/2014/main" id="{74417BDA-4530-A095-AE1F-CCC396F1C61C}"/>
              </a:ext>
            </a:extLst>
          </p:cNvPr>
          <p:cNvGrpSpPr/>
          <p:nvPr/>
        </p:nvGrpSpPr>
        <p:grpSpPr>
          <a:xfrm>
            <a:off x="1728043" y="3787951"/>
            <a:ext cx="20327558" cy="9235695"/>
            <a:chOff x="1761909" y="3720218"/>
            <a:chExt cx="20327558" cy="9235695"/>
          </a:xfrm>
        </p:grpSpPr>
        <p:pic>
          <p:nvPicPr>
            <p:cNvPr id="2" name="Picture 1">
              <a:extLst>
                <a:ext uri="{FF2B5EF4-FFF2-40B4-BE49-F238E27FC236}">
                  <a16:creationId xmlns:a16="http://schemas.microsoft.com/office/drawing/2014/main" id="{7F883547-3F33-3644-D4B3-431D6B34620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55423" t="3412" r="15320" b="37196"/>
            <a:stretch/>
          </p:blipFill>
          <p:spPr>
            <a:xfrm>
              <a:off x="9607675" y="5101724"/>
              <a:ext cx="3932164" cy="4561312"/>
            </a:xfrm>
            <a:custGeom>
              <a:avLst/>
              <a:gdLst>
                <a:gd name="connsiteX0" fmla="*/ 871535 w 1743070"/>
                <a:gd name="connsiteY0" fmla="*/ 0 h 2021962"/>
                <a:gd name="connsiteX1" fmla="*/ 1743070 w 1743070"/>
                <a:gd name="connsiteY1" fmla="*/ 524699 h 2021962"/>
                <a:gd name="connsiteX2" fmla="*/ 1743070 w 1743070"/>
                <a:gd name="connsiteY2" fmla="*/ 1497263 h 2021962"/>
                <a:gd name="connsiteX3" fmla="*/ 871535 w 1743070"/>
                <a:gd name="connsiteY3" fmla="*/ 2021962 h 2021962"/>
                <a:gd name="connsiteX4" fmla="*/ 0 w 1743070"/>
                <a:gd name="connsiteY4" fmla="*/ 1497263 h 2021962"/>
                <a:gd name="connsiteX5" fmla="*/ 0 w 1743070"/>
                <a:gd name="connsiteY5" fmla="*/ 524699 h 2021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3070" h="2021962">
                  <a:moveTo>
                    <a:pt x="871535" y="0"/>
                  </a:moveTo>
                  <a:lnTo>
                    <a:pt x="1743070" y="524699"/>
                  </a:lnTo>
                  <a:lnTo>
                    <a:pt x="1743070" y="1497263"/>
                  </a:lnTo>
                  <a:lnTo>
                    <a:pt x="871535" y="2021962"/>
                  </a:lnTo>
                  <a:lnTo>
                    <a:pt x="0" y="1497263"/>
                  </a:lnTo>
                  <a:lnTo>
                    <a:pt x="0" y="524699"/>
                  </a:lnTo>
                  <a:close/>
                </a:path>
              </a:pathLst>
            </a:custGeom>
          </p:spPr>
        </p:pic>
        <p:sp>
          <p:nvSpPr>
            <p:cNvPr id="3" name="Hexagon 2">
              <a:extLst>
                <a:ext uri="{FF2B5EF4-FFF2-40B4-BE49-F238E27FC236}">
                  <a16:creationId xmlns:a16="http://schemas.microsoft.com/office/drawing/2014/main" id="{3816153E-26B1-92FB-F708-55DB9A581D39}"/>
                </a:ext>
              </a:extLst>
            </p:cNvPr>
            <p:cNvSpPr/>
            <p:nvPr/>
          </p:nvSpPr>
          <p:spPr>
            <a:xfrm rot="16200000">
              <a:off x="8825759" y="5013417"/>
              <a:ext cx="5495996" cy="4737926"/>
            </a:xfrm>
            <a:prstGeom prst="hexagon">
              <a:avLst>
                <a:gd name="adj" fmla="val 30102"/>
                <a:gd name="vf" fmla="val 115470"/>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09192" tIns="109192" rIns="109192" bIns="109192" rtlCol="0" anchor="ctr"/>
            <a:lstStyle/>
            <a:p>
              <a:pPr algn="l"/>
              <a:endParaRPr lang="en-GB" sz="2999" err="1">
                <a:solidFill>
                  <a:schemeClr val="tx1"/>
                </a:solidFill>
              </a:endParaRPr>
            </a:p>
          </p:txBody>
        </p:sp>
        <p:sp>
          <p:nvSpPr>
            <p:cNvPr id="4" name="TextBox 3">
              <a:extLst>
                <a:ext uri="{FF2B5EF4-FFF2-40B4-BE49-F238E27FC236}">
                  <a16:creationId xmlns:a16="http://schemas.microsoft.com/office/drawing/2014/main" id="{A9397716-AC2F-921A-7BD7-540C94D81757}"/>
                </a:ext>
              </a:extLst>
            </p:cNvPr>
            <p:cNvSpPr txBox="1"/>
            <p:nvPr/>
          </p:nvSpPr>
          <p:spPr>
            <a:xfrm>
              <a:off x="3950848" y="4075796"/>
              <a:ext cx="4867874" cy="1301510"/>
            </a:xfrm>
            <a:prstGeom prst="rect">
              <a:avLst/>
            </a:prstGeom>
            <a:noFill/>
          </p:spPr>
          <p:txBody>
            <a:bodyPr wrap="square" lIns="0" tIns="0" rIns="0" bIns="0" rtlCol="0">
              <a:spAutoFit/>
            </a:bodyPr>
            <a:lstStyle/>
            <a:p>
              <a:pPr defTabSz="1828343">
                <a:lnSpc>
                  <a:spcPct val="110000"/>
                </a:lnSpc>
                <a:spcAft>
                  <a:spcPts val="600"/>
                </a:spcAft>
                <a:buClrTx/>
                <a:defRPr/>
              </a:pPr>
              <a:r>
                <a:rPr lang="en-GB" sz="3999" b="1" kern="1200">
                  <a:solidFill>
                    <a:schemeClr val="tx1"/>
                  </a:solidFill>
                  <a:ea typeface="+mn-ea"/>
                  <a:cs typeface="+mn-cs"/>
                </a:rPr>
                <a:t>Look for and correct errors</a:t>
              </a:r>
              <a:endParaRPr lang="en-GB" sz="3999" kern="1200">
                <a:solidFill>
                  <a:schemeClr val="tx1"/>
                </a:solidFill>
                <a:ea typeface="+mn-ea"/>
                <a:cs typeface="+mn-cs"/>
              </a:endParaRPr>
            </a:p>
          </p:txBody>
        </p:sp>
        <p:sp>
          <p:nvSpPr>
            <p:cNvPr id="53" name="Rectangle 52">
              <a:extLst>
                <a:ext uri="{FF2B5EF4-FFF2-40B4-BE49-F238E27FC236}">
                  <a16:creationId xmlns:a16="http://schemas.microsoft.com/office/drawing/2014/main" id="{D5533B52-5EE2-FBF9-3BB7-899DFC2BD4D1}"/>
                </a:ext>
              </a:extLst>
            </p:cNvPr>
            <p:cNvSpPr/>
            <p:nvPr/>
          </p:nvSpPr>
          <p:spPr>
            <a:xfrm>
              <a:off x="10106698" y="5221083"/>
              <a:ext cx="306188" cy="3061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9192" tIns="109192" rIns="109192" bIns="109192" rtlCol="0" anchor="ctr"/>
            <a:lstStyle/>
            <a:p>
              <a:pPr algn="l"/>
              <a:endParaRPr lang="en-GB" sz="2999" err="1">
                <a:solidFill>
                  <a:schemeClr val="bg1"/>
                </a:solidFill>
              </a:endParaRPr>
            </a:p>
          </p:txBody>
        </p:sp>
        <p:sp>
          <p:nvSpPr>
            <p:cNvPr id="54" name="TextBox 53">
              <a:extLst>
                <a:ext uri="{FF2B5EF4-FFF2-40B4-BE49-F238E27FC236}">
                  <a16:creationId xmlns:a16="http://schemas.microsoft.com/office/drawing/2014/main" id="{CCD48487-47C0-5641-4097-234A24E67EFC}"/>
                </a:ext>
              </a:extLst>
            </p:cNvPr>
            <p:cNvSpPr txBox="1"/>
            <p:nvPr/>
          </p:nvSpPr>
          <p:spPr>
            <a:xfrm>
              <a:off x="9893977" y="6365832"/>
              <a:ext cx="3144009" cy="2342501"/>
            </a:xfrm>
            <a:prstGeom prst="rect">
              <a:avLst/>
            </a:prstGeom>
            <a:noFill/>
          </p:spPr>
          <p:txBody>
            <a:bodyPr wrap="square" lIns="0" tIns="0" rIns="0" bIns="0" rtlCol="0">
              <a:spAutoFit/>
            </a:bodyPr>
            <a:lstStyle/>
            <a:p>
              <a:pPr algn="ctr" defTabSz="1828343">
                <a:lnSpc>
                  <a:spcPct val="70000"/>
                </a:lnSpc>
                <a:spcAft>
                  <a:spcPts val="600"/>
                </a:spcAft>
                <a:buClrTx/>
                <a:defRPr/>
              </a:pPr>
              <a:r>
                <a:rPr lang="en-GB" sz="7198" kern="1200">
                  <a:solidFill>
                    <a:schemeClr val="bg1"/>
                  </a:solidFill>
                  <a:latin typeface="+mj-lt"/>
                  <a:ea typeface="+mn-ea"/>
                  <a:cs typeface="+mn-cs"/>
                </a:rPr>
                <a:t>Assess Data Quality</a:t>
              </a:r>
            </a:p>
          </p:txBody>
        </p:sp>
        <p:sp>
          <p:nvSpPr>
            <p:cNvPr id="55" name="TextBox 54">
              <a:extLst>
                <a:ext uri="{FF2B5EF4-FFF2-40B4-BE49-F238E27FC236}">
                  <a16:creationId xmlns:a16="http://schemas.microsoft.com/office/drawing/2014/main" id="{DE02382C-32AD-BB97-8023-8E33EC3DC209}"/>
                </a:ext>
              </a:extLst>
            </p:cNvPr>
            <p:cNvSpPr txBox="1"/>
            <p:nvPr/>
          </p:nvSpPr>
          <p:spPr>
            <a:xfrm>
              <a:off x="3784196" y="6636347"/>
              <a:ext cx="3433814" cy="1743234"/>
            </a:xfrm>
            <a:prstGeom prst="rect">
              <a:avLst/>
            </a:prstGeom>
            <a:noFill/>
          </p:spPr>
          <p:txBody>
            <a:bodyPr wrap="square" lIns="0" tIns="0" rIns="0" bIns="0" rtlCol="0">
              <a:spAutoFit/>
            </a:bodyPr>
            <a:lstStyle/>
            <a:p>
              <a:pPr defTabSz="1828343">
                <a:lnSpc>
                  <a:spcPct val="110000"/>
                </a:lnSpc>
                <a:spcAft>
                  <a:spcPts val="600"/>
                </a:spcAft>
                <a:buClrTx/>
                <a:defRPr/>
              </a:pPr>
              <a:r>
                <a:rPr lang="en-GB" sz="3999" b="1" kern="1200">
                  <a:solidFill>
                    <a:schemeClr val="tx1"/>
                  </a:solidFill>
                  <a:ea typeface="+mn-ea"/>
                  <a:cs typeface="+mn-cs"/>
                </a:rPr>
                <a:t>Understand data types</a:t>
              </a:r>
            </a:p>
            <a:p>
              <a:pPr>
                <a:lnSpc>
                  <a:spcPct val="110000"/>
                </a:lnSpc>
                <a:spcAft>
                  <a:spcPts val="1200"/>
                </a:spcAft>
                <a:defRPr/>
              </a:pPr>
              <a:r>
                <a:rPr lang="en-GB" sz="2000">
                  <a:solidFill>
                    <a:schemeClr val="tx1"/>
                  </a:solidFill>
                </a:rPr>
                <a:t>.</a:t>
              </a:r>
              <a:endParaRPr lang="en-GB" sz="2000" kern="1200">
                <a:solidFill>
                  <a:schemeClr val="tx1"/>
                </a:solidFill>
                <a:ea typeface="+mn-ea"/>
                <a:cs typeface="+mn-cs"/>
              </a:endParaRPr>
            </a:p>
          </p:txBody>
        </p:sp>
        <p:sp>
          <p:nvSpPr>
            <p:cNvPr id="56" name="TextBox 55">
              <a:extLst>
                <a:ext uri="{FF2B5EF4-FFF2-40B4-BE49-F238E27FC236}">
                  <a16:creationId xmlns:a16="http://schemas.microsoft.com/office/drawing/2014/main" id="{821F7541-FEB8-49C3-94F6-7D539F487065}"/>
                </a:ext>
              </a:extLst>
            </p:cNvPr>
            <p:cNvSpPr txBox="1"/>
            <p:nvPr/>
          </p:nvSpPr>
          <p:spPr>
            <a:xfrm>
              <a:off x="3871329" y="9442179"/>
              <a:ext cx="3737183" cy="1978490"/>
            </a:xfrm>
            <a:prstGeom prst="rect">
              <a:avLst/>
            </a:prstGeom>
            <a:noFill/>
          </p:spPr>
          <p:txBody>
            <a:bodyPr wrap="square" lIns="0" tIns="0" rIns="0" bIns="0" rtlCol="0">
              <a:spAutoFit/>
            </a:bodyPr>
            <a:lstStyle>
              <a:defPPr>
                <a:defRPr lang="en-US"/>
              </a:defPPr>
              <a:lvl1pPr marR="0" lvl="0" indent="0" fontAlgn="auto">
                <a:lnSpc>
                  <a:spcPct val="110000"/>
                </a:lnSpc>
                <a:spcBef>
                  <a:spcPts val="0"/>
                </a:spcBef>
                <a:spcAft>
                  <a:spcPts val="300"/>
                </a:spcAft>
                <a:buClrTx/>
                <a:buSzTx/>
                <a:buFontTx/>
                <a:buNone/>
                <a:tabLst/>
                <a:defRPr kumimoji="0" sz="1500" b="1" i="0" u="none" strike="noStrike" cap="none" spc="0" normalizeH="0" baseline="0">
                  <a:ln>
                    <a:noFill/>
                  </a:ln>
                  <a:solidFill>
                    <a:schemeClr val="tx2"/>
                  </a:solidFill>
                  <a:effectLst/>
                  <a:uLnTx/>
                  <a:uFillTx/>
                </a:defRPr>
              </a:lvl1pPr>
            </a:lstStyle>
            <a:p>
              <a:r>
                <a:rPr lang="en-GB" sz="3999">
                  <a:solidFill>
                    <a:schemeClr val="tx1"/>
                  </a:solidFill>
                </a:rPr>
                <a:t>Evaluate Completeness of Data </a:t>
              </a:r>
            </a:p>
          </p:txBody>
        </p:sp>
        <p:sp>
          <p:nvSpPr>
            <p:cNvPr id="57" name="Rectangle 56">
              <a:extLst>
                <a:ext uri="{FF2B5EF4-FFF2-40B4-BE49-F238E27FC236}">
                  <a16:creationId xmlns:a16="http://schemas.microsoft.com/office/drawing/2014/main" id="{BDE87C87-12E6-DF7F-5626-AF6299A72978}"/>
                </a:ext>
              </a:extLst>
            </p:cNvPr>
            <p:cNvSpPr/>
            <p:nvPr/>
          </p:nvSpPr>
          <p:spPr>
            <a:xfrm>
              <a:off x="9061978" y="7229284"/>
              <a:ext cx="306188" cy="3061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9192" tIns="109192" rIns="109192" bIns="109192" rtlCol="0" anchor="ctr"/>
            <a:lstStyle/>
            <a:p>
              <a:pPr algn="l"/>
              <a:endParaRPr lang="en-GB" sz="2999" err="1">
                <a:solidFill>
                  <a:schemeClr val="bg1"/>
                </a:solidFill>
              </a:endParaRPr>
            </a:p>
          </p:txBody>
        </p:sp>
        <p:sp>
          <p:nvSpPr>
            <p:cNvPr id="58" name="Rectangle 57">
              <a:extLst>
                <a:ext uri="{FF2B5EF4-FFF2-40B4-BE49-F238E27FC236}">
                  <a16:creationId xmlns:a16="http://schemas.microsoft.com/office/drawing/2014/main" id="{27BE301E-6312-DAA1-6CE6-091ACB80F578}"/>
                </a:ext>
              </a:extLst>
            </p:cNvPr>
            <p:cNvSpPr/>
            <p:nvPr/>
          </p:nvSpPr>
          <p:spPr>
            <a:xfrm>
              <a:off x="13786689" y="7229284"/>
              <a:ext cx="306188" cy="3061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9192" tIns="109192" rIns="109192" bIns="109192" rtlCol="0" anchor="ctr"/>
            <a:lstStyle/>
            <a:p>
              <a:pPr algn="l"/>
              <a:endParaRPr lang="en-GB" sz="2999" err="1">
                <a:solidFill>
                  <a:schemeClr val="bg1"/>
                </a:solidFill>
              </a:endParaRPr>
            </a:p>
          </p:txBody>
        </p:sp>
        <p:sp>
          <p:nvSpPr>
            <p:cNvPr id="59" name="Rectangle 58">
              <a:extLst>
                <a:ext uri="{FF2B5EF4-FFF2-40B4-BE49-F238E27FC236}">
                  <a16:creationId xmlns:a16="http://schemas.microsoft.com/office/drawing/2014/main" id="{04727153-3ADD-3321-61DB-7DB2736F3705}"/>
                </a:ext>
              </a:extLst>
            </p:cNvPr>
            <p:cNvSpPr/>
            <p:nvPr/>
          </p:nvSpPr>
          <p:spPr>
            <a:xfrm>
              <a:off x="12731800" y="5221083"/>
              <a:ext cx="306188" cy="3061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9192" tIns="109192" rIns="109192" bIns="109192" rtlCol="0" anchor="ctr"/>
            <a:lstStyle/>
            <a:p>
              <a:pPr algn="l"/>
              <a:endParaRPr lang="en-GB" sz="2999" err="1">
                <a:solidFill>
                  <a:schemeClr val="bg1"/>
                </a:solidFill>
              </a:endParaRPr>
            </a:p>
          </p:txBody>
        </p:sp>
        <p:sp>
          <p:nvSpPr>
            <p:cNvPr id="60" name="Rectangle 59">
              <a:extLst>
                <a:ext uri="{FF2B5EF4-FFF2-40B4-BE49-F238E27FC236}">
                  <a16:creationId xmlns:a16="http://schemas.microsoft.com/office/drawing/2014/main" id="{B06ACD16-5735-42CE-4F42-3972BCFA4701}"/>
                </a:ext>
              </a:extLst>
            </p:cNvPr>
            <p:cNvSpPr/>
            <p:nvPr/>
          </p:nvSpPr>
          <p:spPr>
            <a:xfrm>
              <a:off x="10106698" y="9193032"/>
              <a:ext cx="306188" cy="3061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9192" tIns="109192" rIns="109192" bIns="109192" rtlCol="0" anchor="ctr"/>
            <a:lstStyle/>
            <a:p>
              <a:pPr algn="l"/>
              <a:endParaRPr lang="en-GB" sz="2999" err="1">
                <a:solidFill>
                  <a:schemeClr val="bg1"/>
                </a:solidFill>
              </a:endParaRPr>
            </a:p>
          </p:txBody>
        </p:sp>
        <p:sp>
          <p:nvSpPr>
            <p:cNvPr id="61" name="Rectangle 60">
              <a:extLst>
                <a:ext uri="{FF2B5EF4-FFF2-40B4-BE49-F238E27FC236}">
                  <a16:creationId xmlns:a16="http://schemas.microsoft.com/office/drawing/2014/main" id="{530A864E-F7C9-3147-82B2-8891E3848939}"/>
                </a:ext>
              </a:extLst>
            </p:cNvPr>
            <p:cNvSpPr/>
            <p:nvPr/>
          </p:nvSpPr>
          <p:spPr>
            <a:xfrm>
              <a:off x="12731800" y="9193032"/>
              <a:ext cx="306188" cy="3061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9192" tIns="109192" rIns="109192" bIns="109192" rtlCol="0" anchor="ctr"/>
            <a:lstStyle/>
            <a:p>
              <a:pPr algn="l"/>
              <a:endParaRPr lang="en-GB" sz="2999" err="1">
                <a:solidFill>
                  <a:schemeClr val="bg1"/>
                </a:solidFill>
              </a:endParaRPr>
            </a:p>
          </p:txBody>
        </p:sp>
        <p:grpSp>
          <p:nvGrpSpPr>
            <p:cNvPr id="62" name="Group 61">
              <a:extLst>
                <a:ext uri="{FF2B5EF4-FFF2-40B4-BE49-F238E27FC236}">
                  <a16:creationId xmlns:a16="http://schemas.microsoft.com/office/drawing/2014/main" id="{B09E1669-47E9-A9C7-EFBF-B16823C3FEBC}"/>
                </a:ext>
              </a:extLst>
            </p:cNvPr>
            <p:cNvGrpSpPr/>
            <p:nvPr/>
          </p:nvGrpSpPr>
          <p:grpSpPr>
            <a:xfrm>
              <a:off x="6460163" y="4701115"/>
              <a:ext cx="3526765" cy="5346058"/>
              <a:chOff x="3538538" y="2106016"/>
              <a:chExt cx="1763842" cy="2673727"/>
            </a:xfrm>
          </p:grpSpPr>
          <p:sp>
            <p:nvSpPr>
              <p:cNvPr id="63" name="Freeform: Shape 62">
                <a:extLst>
                  <a:ext uri="{FF2B5EF4-FFF2-40B4-BE49-F238E27FC236}">
                    <a16:creationId xmlns:a16="http://schemas.microsoft.com/office/drawing/2014/main" id="{0B5B4EFC-86E6-46B0-D0FF-20615CAA9430}"/>
                  </a:ext>
                </a:extLst>
              </p:cNvPr>
              <p:cNvSpPr/>
              <p:nvPr/>
            </p:nvSpPr>
            <p:spPr>
              <a:xfrm flipH="1">
                <a:off x="4187824" y="2106016"/>
                <a:ext cx="1114556" cy="197227"/>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99">
                  <a:solidFill>
                    <a:schemeClr val="tx1"/>
                  </a:solidFill>
                </a:endParaRPr>
              </a:p>
            </p:txBody>
          </p:sp>
          <p:cxnSp>
            <p:nvCxnSpPr>
              <p:cNvPr id="1408" name="Straight Connector 1407">
                <a:extLst>
                  <a:ext uri="{FF2B5EF4-FFF2-40B4-BE49-F238E27FC236}">
                    <a16:creationId xmlns:a16="http://schemas.microsoft.com/office/drawing/2014/main" id="{98E85574-51EA-EAB7-5605-8DAD2490679A}"/>
                  </a:ext>
                </a:extLst>
              </p:cNvPr>
              <p:cNvCxnSpPr/>
              <p:nvPr/>
            </p:nvCxnSpPr>
            <p:spPr>
              <a:xfrm flipH="1">
                <a:off x="3538538" y="3446996"/>
                <a:ext cx="1200150" cy="0"/>
              </a:xfrm>
              <a:prstGeom prst="lin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1409" name="Freeform: Shape 1408">
                <a:extLst>
                  <a:ext uri="{FF2B5EF4-FFF2-40B4-BE49-F238E27FC236}">
                    <a16:creationId xmlns:a16="http://schemas.microsoft.com/office/drawing/2014/main" id="{7C9096CE-1174-9CC0-6795-5A123F4731BD}"/>
                  </a:ext>
                </a:extLst>
              </p:cNvPr>
              <p:cNvSpPr/>
              <p:nvPr/>
            </p:nvSpPr>
            <p:spPr>
              <a:xfrm flipH="1" flipV="1">
                <a:off x="4187824" y="4582516"/>
                <a:ext cx="1114556" cy="197227"/>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99">
                  <a:solidFill>
                    <a:schemeClr val="tx1"/>
                  </a:solidFill>
                </a:endParaRPr>
              </a:p>
            </p:txBody>
          </p:sp>
        </p:grpSp>
        <p:grpSp>
          <p:nvGrpSpPr>
            <p:cNvPr id="1410" name="Group 1409">
              <a:extLst>
                <a:ext uri="{FF2B5EF4-FFF2-40B4-BE49-F238E27FC236}">
                  <a16:creationId xmlns:a16="http://schemas.microsoft.com/office/drawing/2014/main" id="{6F2512AF-A60B-903C-891B-BF1E32EC8882}"/>
                </a:ext>
              </a:extLst>
            </p:cNvPr>
            <p:cNvGrpSpPr/>
            <p:nvPr/>
          </p:nvGrpSpPr>
          <p:grpSpPr>
            <a:xfrm flipH="1">
              <a:off x="13179495" y="4701115"/>
              <a:ext cx="3526765" cy="5346058"/>
              <a:chOff x="3538538" y="2106016"/>
              <a:chExt cx="1763842" cy="2673727"/>
            </a:xfrm>
          </p:grpSpPr>
          <p:sp>
            <p:nvSpPr>
              <p:cNvPr id="1411" name="Freeform: Shape 1410">
                <a:extLst>
                  <a:ext uri="{FF2B5EF4-FFF2-40B4-BE49-F238E27FC236}">
                    <a16:creationId xmlns:a16="http://schemas.microsoft.com/office/drawing/2014/main" id="{0400F662-7FEF-CC9C-BAC5-DFEB9BF7288E}"/>
                  </a:ext>
                </a:extLst>
              </p:cNvPr>
              <p:cNvSpPr/>
              <p:nvPr/>
            </p:nvSpPr>
            <p:spPr>
              <a:xfrm flipH="1">
                <a:off x="4187824" y="2106016"/>
                <a:ext cx="1114556" cy="197227"/>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99">
                  <a:solidFill>
                    <a:schemeClr val="tx1"/>
                  </a:solidFill>
                </a:endParaRPr>
              </a:p>
            </p:txBody>
          </p:sp>
          <p:cxnSp>
            <p:nvCxnSpPr>
              <p:cNvPr id="1412" name="Straight Connector 1411">
                <a:extLst>
                  <a:ext uri="{FF2B5EF4-FFF2-40B4-BE49-F238E27FC236}">
                    <a16:creationId xmlns:a16="http://schemas.microsoft.com/office/drawing/2014/main" id="{E901C207-1443-C16F-82F2-5E836ED81FB3}"/>
                  </a:ext>
                </a:extLst>
              </p:cNvPr>
              <p:cNvCxnSpPr/>
              <p:nvPr/>
            </p:nvCxnSpPr>
            <p:spPr>
              <a:xfrm flipH="1">
                <a:off x="3538538" y="3446996"/>
                <a:ext cx="1200150" cy="0"/>
              </a:xfrm>
              <a:prstGeom prst="lin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1413" name="Freeform: Shape 1412">
                <a:extLst>
                  <a:ext uri="{FF2B5EF4-FFF2-40B4-BE49-F238E27FC236}">
                    <a16:creationId xmlns:a16="http://schemas.microsoft.com/office/drawing/2014/main" id="{998160D9-BF93-5558-6148-F97B703649F5}"/>
                  </a:ext>
                </a:extLst>
              </p:cNvPr>
              <p:cNvSpPr/>
              <p:nvPr/>
            </p:nvSpPr>
            <p:spPr>
              <a:xfrm flipH="1" flipV="1">
                <a:off x="4187824" y="4582516"/>
                <a:ext cx="1114556" cy="197227"/>
              </a:xfrm>
              <a:custGeom>
                <a:avLst/>
                <a:gdLst>
                  <a:gd name="connsiteX0" fmla="*/ 0 w 3197111"/>
                  <a:gd name="connsiteY0" fmla="*/ 565744 h 565744"/>
                  <a:gd name="connsiteX1" fmla="*/ 565744 w 3197111"/>
                  <a:gd name="connsiteY1" fmla="*/ 0 h 565744"/>
                  <a:gd name="connsiteX2" fmla="*/ 3197111 w 3197111"/>
                  <a:gd name="connsiteY2" fmla="*/ 0 h 565744"/>
                </a:gdLst>
                <a:ahLst/>
                <a:cxnLst>
                  <a:cxn ang="0">
                    <a:pos x="connsiteX0" y="connsiteY0"/>
                  </a:cxn>
                  <a:cxn ang="0">
                    <a:pos x="connsiteX1" y="connsiteY1"/>
                  </a:cxn>
                  <a:cxn ang="0">
                    <a:pos x="connsiteX2" y="connsiteY2"/>
                  </a:cxn>
                </a:cxnLst>
                <a:rect l="l" t="t" r="r" b="b"/>
                <a:pathLst>
                  <a:path w="3197111" h="565744">
                    <a:moveTo>
                      <a:pt x="0" y="565744"/>
                    </a:moveTo>
                    <a:lnTo>
                      <a:pt x="565744" y="0"/>
                    </a:lnTo>
                    <a:lnTo>
                      <a:pt x="3197111" y="0"/>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99">
                  <a:solidFill>
                    <a:schemeClr val="tx1"/>
                  </a:solidFill>
                </a:endParaRPr>
              </a:p>
            </p:txBody>
          </p:sp>
        </p:grpSp>
        <p:sp>
          <p:nvSpPr>
            <p:cNvPr id="1414" name="TextBox 1413">
              <a:extLst>
                <a:ext uri="{FF2B5EF4-FFF2-40B4-BE49-F238E27FC236}">
                  <a16:creationId xmlns:a16="http://schemas.microsoft.com/office/drawing/2014/main" id="{D7FEBC39-7319-60A3-3CC9-AF4356F2C1C1}"/>
                </a:ext>
              </a:extLst>
            </p:cNvPr>
            <p:cNvSpPr txBox="1"/>
            <p:nvPr/>
          </p:nvSpPr>
          <p:spPr>
            <a:xfrm>
              <a:off x="15822245" y="3803547"/>
              <a:ext cx="4021948" cy="1978490"/>
            </a:xfrm>
            <a:prstGeom prst="rect">
              <a:avLst/>
            </a:prstGeom>
            <a:noFill/>
          </p:spPr>
          <p:txBody>
            <a:bodyPr wrap="square" lIns="0" tIns="0" rIns="0" bIns="0" rtlCol="0">
              <a:spAutoFit/>
            </a:bodyPr>
            <a:lstStyle/>
            <a:p>
              <a:pPr defTabSz="1828343">
                <a:lnSpc>
                  <a:spcPct val="110000"/>
                </a:lnSpc>
                <a:spcAft>
                  <a:spcPts val="600"/>
                </a:spcAft>
                <a:buClrTx/>
                <a:defRPr/>
              </a:pPr>
              <a:r>
                <a:rPr lang="en-GB" sz="3999" b="1">
                  <a:solidFill>
                    <a:schemeClr val="tx1"/>
                  </a:solidFill>
                </a:rPr>
                <a:t>Understand what the data has captured</a:t>
              </a:r>
              <a:endParaRPr lang="en-GB" sz="3999" b="1" kern="1200">
                <a:solidFill>
                  <a:schemeClr val="tx1"/>
                </a:solidFill>
                <a:ea typeface="+mn-ea"/>
                <a:cs typeface="+mn-cs"/>
              </a:endParaRPr>
            </a:p>
          </p:txBody>
        </p:sp>
        <p:sp>
          <p:nvSpPr>
            <p:cNvPr id="1415" name="TextBox 1414">
              <a:extLst>
                <a:ext uri="{FF2B5EF4-FFF2-40B4-BE49-F238E27FC236}">
                  <a16:creationId xmlns:a16="http://schemas.microsoft.com/office/drawing/2014/main" id="{7AA977AC-F228-FC26-361A-853B682105B3}"/>
                </a:ext>
              </a:extLst>
            </p:cNvPr>
            <p:cNvSpPr txBox="1"/>
            <p:nvPr/>
          </p:nvSpPr>
          <p:spPr>
            <a:xfrm>
              <a:off x="16843811" y="6657564"/>
              <a:ext cx="2713473" cy="1978490"/>
            </a:xfrm>
            <a:prstGeom prst="rect">
              <a:avLst/>
            </a:prstGeom>
            <a:noFill/>
          </p:spPr>
          <p:txBody>
            <a:bodyPr wrap="square" lIns="0" tIns="0" rIns="0" bIns="0" rtlCol="0">
              <a:spAutoFit/>
            </a:bodyPr>
            <a:lstStyle/>
            <a:p>
              <a:pPr defTabSz="1828343">
                <a:lnSpc>
                  <a:spcPct val="110000"/>
                </a:lnSpc>
                <a:spcAft>
                  <a:spcPts val="600"/>
                </a:spcAft>
                <a:buClrTx/>
                <a:defRPr/>
              </a:pPr>
              <a:r>
                <a:rPr lang="en-GB" sz="3999" b="1">
                  <a:solidFill>
                    <a:schemeClr val="tx1"/>
                  </a:solidFill>
                </a:rPr>
                <a:t>Calculate summary statistics</a:t>
              </a:r>
              <a:endParaRPr lang="en-GB" sz="3999" b="1" kern="1200">
                <a:solidFill>
                  <a:schemeClr val="tx1"/>
                </a:solidFill>
                <a:ea typeface="+mn-ea"/>
                <a:cs typeface="+mn-cs"/>
              </a:endParaRPr>
            </a:p>
          </p:txBody>
        </p:sp>
        <p:sp>
          <p:nvSpPr>
            <p:cNvPr id="1416" name="TextBox 1415">
              <a:extLst>
                <a:ext uri="{FF2B5EF4-FFF2-40B4-BE49-F238E27FC236}">
                  <a16:creationId xmlns:a16="http://schemas.microsoft.com/office/drawing/2014/main" id="{1A70722A-3ECF-ADE7-D320-BD0F9A275760}"/>
                </a:ext>
              </a:extLst>
            </p:cNvPr>
            <p:cNvSpPr txBox="1"/>
            <p:nvPr/>
          </p:nvSpPr>
          <p:spPr>
            <a:xfrm>
              <a:off x="15858754" y="9546518"/>
              <a:ext cx="4477368" cy="3409395"/>
            </a:xfrm>
            <a:prstGeom prst="rect">
              <a:avLst/>
            </a:prstGeom>
            <a:noFill/>
          </p:spPr>
          <p:txBody>
            <a:bodyPr wrap="square" lIns="0" tIns="0" rIns="0" bIns="0" rtlCol="0">
              <a:spAutoFit/>
            </a:bodyPr>
            <a:lstStyle/>
            <a:p>
              <a:pPr defTabSz="1828343">
                <a:lnSpc>
                  <a:spcPct val="110000"/>
                </a:lnSpc>
                <a:spcAft>
                  <a:spcPts val="600"/>
                </a:spcAft>
                <a:buClrTx/>
                <a:defRPr/>
              </a:pPr>
              <a:r>
                <a:rPr lang="en-GB" sz="3999" b="1" kern="1200">
                  <a:solidFill>
                    <a:schemeClr val="tx1"/>
                  </a:solidFill>
                  <a:ea typeface="+mn-ea"/>
                  <a:cs typeface="+mn-cs"/>
                </a:rPr>
                <a:t>Look for relationships within the dataset (e.g. correlation)</a:t>
              </a:r>
            </a:p>
            <a:p>
              <a:pPr>
                <a:lnSpc>
                  <a:spcPct val="110000"/>
                </a:lnSpc>
                <a:spcAft>
                  <a:spcPts val="1200"/>
                </a:spcAft>
                <a:defRPr/>
              </a:pPr>
              <a:r>
                <a:rPr lang="en-GB" sz="3999">
                  <a:solidFill>
                    <a:schemeClr val="tx1"/>
                  </a:solidFill>
                </a:rPr>
                <a:t>.</a:t>
              </a:r>
              <a:endParaRPr lang="en-GB" sz="3999" kern="1200">
                <a:solidFill>
                  <a:schemeClr val="tx1"/>
                </a:solidFill>
                <a:ea typeface="+mn-ea"/>
                <a:cs typeface="+mn-cs"/>
              </a:endParaRPr>
            </a:p>
          </p:txBody>
        </p:sp>
        <p:pic>
          <p:nvPicPr>
            <p:cNvPr id="1417" name="Picture 4" descr="Data capture - Free computer icons">
              <a:extLst>
                <a:ext uri="{FF2B5EF4-FFF2-40B4-BE49-F238E27FC236}">
                  <a16:creationId xmlns:a16="http://schemas.microsoft.com/office/drawing/2014/main" id="{2F93633D-C68D-BE1D-BF85-CC21E7C37E8E}"/>
                </a:ext>
              </a:extLst>
            </p:cNvPr>
            <p:cNvPicPr>
              <a:picLocks noChangeAspect="1" noChangeArrowheads="1"/>
            </p:cNvPicPr>
            <p:nvPr/>
          </p:nvPicPr>
          <p:blipFill>
            <a:blip r:embed="rId4">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9316424" y="3813095"/>
              <a:ext cx="1826830" cy="1826830"/>
            </a:xfrm>
            <a:prstGeom prst="rect">
              <a:avLst/>
            </a:prstGeom>
            <a:noFill/>
            <a:extLst>
              <a:ext uri="{909E8E84-426E-40DD-AFC4-6F175D3DCCD1}">
                <a14:hiddenFill xmlns:a14="http://schemas.microsoft.com/office/drawing/2010/main">
                  <a:solidFill>
                    <a:srgbClr val="FFFFFF"/>
                  </a:solidFill>
                </a14:hiddenFill>
              </a:ext>
            </a:extLst>
          </p:spPr>
        </p:pic>
        <p:pic>
          <p:nvPicPr>
            <p:cNvPr id="1418" name="Picture 8" descr="Relationship Icons &amp; Symbols">
              <a:extLst>
                <a:ext uri="{FF2B5EF4-FFF2-40B4-BE49-F238E27FC236}">
                  <a16:creationId xmlns:a16="http://schemas.microsoft.com/office/drawing/2014/main" id="{7E8C6BB3-0D38-31D5-2568-AAF1E8CFD0C9}"/>
                </a:ext>
              </a:extLst>
            </p:cNvPr>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0491789" y="10152827"/>
              <a:ext cx="1597678" cy="1597678"/>
            </a:xfrm>
            <a:prstGeom prst="rect">
              <a:avLst/>
            </a:prstGeom>
            <a:noFill/>
            <a:extLst>
              <a:ext uri="{909E8E84-426E-40DD-AFC4-6F175D3DCCD1}">
                <a14:hiddenFill xmlns:a14="http://schemas.microsoft.com/office/drawing/2010/main">
                  <a:solidFill>
                    <a:srgbClr val="FFFFFF"/>
                  </a:solidFill>
                </a14:hiddenFill>
              </a:ext>
            </a:extLst>
          </p:spPr>
        </p:pic>
        <p:pic>
          <p:nvPicPr>
            <p:cNvPr id="1419" name="Picture 14" descr="Format, list, bulleted, type Icon in Material Design">
              <a:extLst>
                <a:ext uri="{FF2B5EF4-FFF2-40B4-BE49-F238E27FC236}">
                  <a16:creationId xmlns:a16="http://schemas.microsoft.com/office/drawing/2014/main" id="{4E21A763-419C-B6C3-B508-306BCE515983}"/>
                </a:ext>
              </a:extLst>
            </p:cNvPr>
            <p:cNvPicPr>
              <a:picLocks noChangeAspect="1" noChangeArrowheads="1"/>
            </p:cNvPicPr>
            <p:nvPr/>
          </p:nvPicPr>
          <p:blipFill>
            <a:blip r:embed="rId6">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029394" y="6499088"/>
              <a:ext cx="1553363" cy="1553363"/>
            </a:xfrm>
            <a:prstGeom prst="rect">
              <a:avLst/>
            </a:prstGeom>
            <a:noFill/>
            <a:extLst>
              <a:ext uri="{909E8E84-426E-40DD-AFC4-6F175D3DCCD1}">
                <a14:hiddenFill xmlns:a14="http://schemas.microsoft.com/office/drawing/2010/main">
                  <a:solidFill>
                    <a:srgbClr val="FFFFFF"/>
                  </a:solidFill>
                </a14:hiddenFill>
              </a:ext>
            </a:extLst>
          </p:spPr>
        </p:pic>
        <p:pic>
          <p:nvPicPr>
            <p:cNvPr id="1420" name="Picture 16" descr="complete Vector Icons free download in SVG, PNG Format">
              <a:extLst>
                <a:ext uri="{FF2B5EF4-FFF2-40B4-BE49-F238E27FC236}">
                  <a16:creationId xmlns:a16="http://schemas.microsoft.com/office/drawing/2014/main" id="{E7B14BBE-E10D-5C12-0387-65188F776CE2}"/>
                </a:ext>
              </a:extLst>
            </p:cNvPr>
            <p:cNvPicPr>
              <a:picLocks noChangeAspect="1" noChangeArrowheads="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761909" y="9582602"/>
              <a:ext cx="1706539" cy="1697512"/>
            </a:xfrm>
            <a:prstGeom prst="rect">
              <a:avLst/>
            </a:prstGeom>
            <a:noFill/>
            <a:extLst>
              <a:ext uri="{909E8E84-426E-40DD-AFC4-6F175D3DCCD1}">
                <a14:hiddenFill xmlns:a14="http://schemas.microsoft.com/office/drawing/2010/main">
                  <a:solidFill>
                    <a:srgbClr val="FFFFFF"/>
                  </a:solidFill>
                </a14:hiddenFill>
              </a:ext>
            </a:extLst>
          </p:spPr>
        </p:pic>
        <p:pic>
          <p:nvPicPr>
            <p:cNvPr id="1421" name="Graphic 1420" descr="Normal Distribution with solid fill">
              <a:extLst>
                <a:ext uri="{FF2B5EF4-FFF2-40B4-BE49-F238E27FC236}">
                  <a16:creationId xmlns:a16="http://schemas.microsoft.com/office/drawing/2014/main" id="{AB2672E8-A22A-8B11-1FA6-43225F6B01F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9648398" y="6693183"/>
              <a:ext cx="1828324" cy="1828324"/>
            </a:xfrm>
            <a:prstGeom prst="rect">
              <a:avLst/>
            </a:prstGeom>
          </p:spPr>
        </p:pic>
        <p:pic>
          <p:nvPicPr>
            <p:cNvPr id="1422" name="Graphic 1421" descr="Warning with solid fill">
              <a:extLst>
                <a:ext uri="{FF2B5EF4-FFF2-40B4-BE49-F238E27FC236}">
                  <a16:creationId xmlns:a16="http://schemas.microsoft.com/office/drawing/2014/main" id="{45E3F3B5-E9CD-C3F6-9B59-EFE06D9FC89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761909" y="3720218"/>
              <a:ext cx="1828324" cy="1828324"/>
            </a:xfrm>
            <a:prstGeom prst="rect">
              <a:avLst/>
            </a:prstGeom>
          </p:spPr>
        </p:pic>
      </p:grpSp>
    </p:spTree>
    <p:extLst>
      <p:ext uri="{BB962C8B-B14F-4D97-AF65-F5344CB8AC3E}">
        <p14:creationId xmlns:p14="http://schemas.microsoft.com/office/powerpoint/2010/main" val="18916328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3F095B-AA9B-CC7B-4C7D-0092CD044F84}"/>
              </a:ext>
            </a:extLst>
          </p:cNvPr>
          <p:cNvSpPr>
            <a:spLocks noGrp="1"/>
          </p:cNvSpPr>
          <p:nvPr>
            <p:ph type="title"/>
          </p:nvPr>
        </p:nvSpPr>
        <p:spPr>
          <a:xfrm>
            <a:off x="2388475" y="5764425"/>
            <a:ext cx="8382000" cy="3544800"/>
          </a:xfrm>
        </p:spPr>
        <p:txBody>
          <a:bodyPr/>
          <a:lstStyle/>
          <a:p>
            <a:r>
              <a:rPr lang="en-US"/>
              <a:t>Session Agenda</a:t>
            </a:r>
          </a:p>
        </p:txBody>
      </p:sp>
      <p:sp>
        <p:nvSpPr>
          <p:cNvPr id="22" name="Subtitle 21">
            <a:extLst>
              <a:ext uri="{FF2B5EF4-FFF2-40B4-BE49-F238E27FC236}">
                <a16:creationId xmlns:a16="http://schemas.microsoft.com/office/drawing/2014/main" id="{0F5CDF38-A336-53EF-2499-228095CBF804}"/>
              </a:ext>
            </a:extLst>
          </p:cNvPr>
          <p:cNvSpPr>
            <a:spLocks noGrp="1"/>
          </p:cNvSpPr>
          <p:nvPr>
            <p:ph type="subTitle" idx="1"/>
          </p:nvPr>
        </p:nvSpPr>
        <p:spPr/>
        <p:txBody>
          <a:bodyPr/>
          <a:lstStyle/>
          <a:p>
            <a:r>
              <a:rPr lang="en-US" sz="3600" b="1">
                <a:latin typeface="Aptos" panose="02110004020202020204"/>
              </a:rPr>
              <a:t>KPMG overview</a:t>
            </a:r>
          </a:p>
        </p:txBody>
      </p:sp>
      <p:sp>
        <p:nvSpPr>
          <p:cNvPr id="23" name="Subtitle 22">
            <a:extLst>
              <a:ext uri="{FF2B5EF4-FFF2-40B4-BE49-F238E27FC236}">
                <a16:creationId xmlns:a16="http://schemas.microsoft.com/office/drawing/2014/main" id="{ED68E23E-EAF8-82D7-1604-D26A5E97FB7E}"/>
              </a:ext>
            </a:extLst>
          </p:cNvPr>
          <p:cNvSpPr>
            <a:spLocks noGrp="1"/>
          </p:cNvSpPr>
          <p:nvPr>
            <p:ph type="subTitle" idx="2"/>
          </p:nvPr>
        </p:nvSpPr>
        <p:spPr/>
        <p:txBody>
          <a:bodyPr/>
          <a:lstStyle/>
          <a:p>
            <a:r>
              <a:rPr lang="en-US" sz="3000">
                <a:latin typeface="Aptos" panose="02110004020202020204"/>
              </a:rPr>
              <a:t>Who is sponsoring your AI Studio challenge</a:t>
            </a:r>
          </a:p>
        </p:txBody>
      </p:sp>
      <p:sp>
        <p:nvSpPr>
          <p:cNvPr id="24" name="Subtitle 23">
            <a:extLst>
              <a:ext uri="{FF2B5EF4-FFF2-40B4-BE49-F238E27FC236}">
                <a16:creationId xmlns:a16="http://schemas.microsoft.com/office/drawing/2014/main" id="{59CE0081-DFB1-D635-BB36-D3F25F5368E5}"/>
              </a:ext>
            </a:extLst>
          </p:cNvPr>
          <p:cNvSpPr>
            <a:spLocks noGrp="1"/>
          </p:cNvSpPr>
          <p:nvPr>
            <p:ph type="subTitle" idx="3"/>
          </p:nvPr>
        </p:nvSpPr>
        <p:spPr/>
        <p:txBody>
          <a:bodyPr/>
          <a:lstStyle/>
          <a:p>
            <a:r>
              <a:rPr lang="en-US" sz="3600" b="1">
                <a:latin typeface="Aptos" panose="02110004020202020204"/>
              </a:rPr>
              <a:t>Challenge Overview</a:t>
            </a:r>
          </a:p>
        </p:txBody>
      </p:sp>
      <p:sp>
        <p:nvSpPr>
          <p:cNvPr id="25" name="Subtitle 24">
            <a:extLst>
              <a:ext uri="{FF2B5EF4-FFF2-40B4-BE49-F238E27FC236}">
                <a16:creationId xmlns:a16="http://schemas.microsoft.com/office/drawing/2014/main" id="{416AED00-A500-63CD-1A32-D3BD9757C421}"/>
              </a:ext>
            </a:extLst>
          </p:cNvPr>
          <p:cNvSpPr>
            <a:spLocks noGrp="1"/>
          </p:cNvSpPr>
          <p:nvPr>
            <p:ph type="subTitle" idx="4"/>
          </p:nvPr>
        </p:nvSpPr>
        <p:spPr/>
        <p:txBody>
          <a:bodyPr/>
          <a:lstStyle/>
          <a:p>
            <a:r>
              <a:rPr lang="en-US" sz="3000">
                <a:latin typeface="Aptos" panose="02110004020202020204"/>
              </a:rPr>
              <a:t>Challenge statement, business problem, expectations</a:t>
            </a:r>
          </a:p>
        </p:txBody>
      </p:sp>
      <p:sp>
        <p:nvSpPr>
          <p:cNvPr id="26" name="Subtitle 25">
            <a:extLst>
              <a:ext uri="{FF2B5EF4-FFF2-40B4-BE49-F238E27FC236}">
                <a16:creationId xmlns:a16="http://schemas.microsoft.com/office/drawing/2014/main" id="{C035E694-A8C0-73FC-A12B-981AACAA7D9F}"/>
              </a:ext>
            </a:extLst>
          </p:cNvPr>
          <p:cNvSpPr>
            <a:spLocks noGrp="1"/>
          </p:cNvSpPr>
          <p:nvPr>
            <p:ph type="subTitle" idx="5"/>
          </p:nvPr>
        </p:nvSpPr>
        <p:spPr/>
        <p:txBody>
          <a:bodyPr/>
          <a:lstStyle/>
          <a:p>
            <a:r>
              <a:rPr lang="en-US" sz="3600" b="1">
                <a:latin typeface="Aptos" panose="02110004020202020204"/>
              </a:rPr>
              <a:t>Data overview</a:t>
            </a:r>
          </a:p>
        </p:txBody>
      </p:sp>
      <p:sp>
        <p:nvSpPr>
          <p:cNvPr id="27" name="Subtitle 26">
            <a:extLst>
              <a:ext uri="{FF2B5EF4-FFF2-40B4-BE49-F238E27FC236}">
                <a16:creationId xmlns:a16="http://schemas.microsoft.com/office/drawing/2014/main" id="{0A2FCB80-66DD-8FB7-B808-FB7A4A6F3077}"/>
              </a:ext>
            </a:extLst>
          </p:cNvPr>
          <p:cNvSpPr>
            <a:spLocks noGrp="1"/>
          </p:cNvSpPr>
          <p:nvPr>
            <p:ph type="subTitle" idx="6"/>
          </p:nvPr>
        </p:nvSpPr>
        <p:spPr/>
        <p:txBody>
          <a:bodyPr/>
          <a:lstStyle/>
          <a:p>
            <a:r>
              <a:rPr lang="en-US" sz="3000">
                <a:latin typeface="Aptos" panose="02110004020202020204"/>
              </a:rPr>
              <a:t>Donation data, Sociodemographic data</a:t>
            </a:r>
          </a:p>
        </p:txBody>
      </p:sp>
      <p:sp>
        <p:nvSpPr>
          <p:cNvPr id="28" name="Subtitle 27">
            <a:extLst>
              <a:ext uri="{FF2B5EF4-FFF2-40B4-BE49-F238E27FC236}">
                <a16:creationId xmlns:a16="http://schemas.microsoft.com/office/drawing/2014/main" id="{8EC6B890-94E9-6336-EEAE-BCA2F1670BD2}"/>
              </a:ext>
            </a:extLst>
          </p:cNvPr>
          <p:cNvSpPr>
            <a:spLocks noGrp="1"/>
          </p:cNvSpPr>
          <p:nvPr>
            <p:ph type="subTitle" idx="7"/>
          </p:nvPr>
        </p:nvSpPr>
        <p:spPr/>
        <p:txBody>
          <a:bodyPr/>
          <a:lstStyle/>
          <a:p>
            <a:r>
              <a:rPr lang="en-US" sz="3600" b="1">
                <a:latin typeface="Aptos" panose="02110004020202020204"/>
              </a:rPr>
              <a:t>Machine Learning Approach</a:t>
            </a:r>
          </a:p>
        </p:txBody>
      </p:sp>
      <p:sp>
        <p:nvSpPr>
          <p:cNvPr id="29" name="Subtitle 28">
            <a:extLst>
              <a:ext uri="{FF2B5EF4-FFF2-40B4-BE49-F238E27FC236}">
                <a16:creationId xmlns:a16="http://schemas.microsoft.com/office/drawing/2014/main" id="{20B1C0B4-CD21-C971-8DDD-0A9A4D0C95ED}"/>
              </a:ext>
            </a:extLst>
          </p:cNvPr>
          <p:cNvSpPr>
            <a:spLocks noGrp="1"/>
          </p:cNvSpPr>
          <p:nvPr>
            <p:ph type="subTitle" idx="8"/>
          </p:nvPr>
        </p:nvSpPr>
        <p:spPr/>
        <p:txBody>
          <a:bodyPr/>
          <a:lstStyle/>
          <a:p>
            <a:r>
              <a:rPr lang="en-US" sz="3000">
                <a:latin typeface="Aptos" panose="02110004020202020204"/>
              </a:rPr>
              <a:t>Methodology, libraries</a:t>
            </a:r>
          </a:p>
        </p:txBody>
      </p:sp>
      <p:sp>
        <p:nvSpPr>
          <p:cNvPr id="30" name="Subtitle 29">
            <a:extLst>
              <a:ext uri="{FF2B5EF4-FFF2-40B4-BE49-F238E27FC236}">
                <a16:creationId xmlns:a16="http://schemas.microsoft.com/office/drawing/2014/main" id="{A3D9881D-3F97-5ED7-89E9-DABBF84990B7}"/>
              </a:ext>
            </a:extLst>
          </p:cNvPr>
          <p:cNvSpPr>
            <a:spLocks noGrp="1"/>
          </p:cNvSpPr>
          <p:nvPr>
            <p:ph type="subTitle" idx="9"/>
          </p:nvPr>
        </p:nvSpPr>
        <p:spPr/>
        <p:txBody>
          <a:bodyPr/>
          <a:lstStyle/>
          <a:p>
            <a:r>
              <a:rPr lang="en-US" sz="3600" b="1">
                <a:latin typeface="Aptos" panose="02110004020202020204"/>
              </a:rPr>
              <a:t>Project Milestones </a:t>
            </a:r>
          </a:p>
        </p:txBody>
      </p:sp>
      <p:sp>
        <p:nvSpPr>
          <p:cNvPr id="31" name="Subtitle 30">
            <a:extLst>
              <a:ext uri="{FF2B5EF4-FFF2-40B4-BE49-F238E27FC236}">
                <a16:creationId xmlns:a16="http://schemas.microsoft.com/office/drawing/2014/main" id="{D667592B-FF05-347F-5481-16B3E110805B}"/>
              </a:ext>
            </a:extLst>
          </p:cNvPr>
          <p:cNvSpPr>
            <a:spLocks noGrp="1"/>
          </p:cNvSpPr>
          <p:nvPr>
            <p:ph type="subTitle" idx="13"/>
          </p:nvPr>
        </p:nvSpPr>
        <p:spPr/>
        <p:txBody>
          <a:bodyPr/>
          <a:lstStyle/>
          <a:p>
            <a:r>
              <a:rPr lang="en-US" sz="3000">
                <a:latin typeface="Aptos" panose="02110004020202020204"/>
              </a:rPr>
              <a:t>Process approach, milestone 1 expectations</a:t>
            </a:r>
          </a:p>
        </p:txBody>
      </p:sp>
      <p:sp>
        <p:nvSpPr>
          <p:cNvPr id="32" name="Subtitle 31">
            <a:extLst>
              <a:ext uri="{FF2B5EF4-FFF2-40B4-BE49-F238E27FC236}">
                <a16:creationId xmlns:a16="http://schemas.microsoft.com/office/drawing/2014/main" id="{DD21A345-AD4E-B19E-37E9-E533DDAB544C}"/>
              </a:ext>
            </a:extLst>
          </p:cNvPr>
          <p:cNvSpPr>
            <a:spLocks noGrp="1"/>
          </p:cNvSpPr>
          <p:nvPr>
            <p:ph type="subTitle" idx="14"/>
          </p:nvPr>
        </p:nvSpPr>
        <p:spPr/>
        <p:txBody>
          <a:bodyPr/>
          <a:lstStyle/>
          <a:p>
            <a:r>
              <a:rPr lang="en-US" sz="3600" b="1">
                <a:latin typeface="Aptos" panose="02110004020202020204"/>
              </a:rPr>
              <a:t>Next steps: what to expect</a:t>
            </a:r>
          </a:p>
        </p:txBody>
      </p:sp>
      <p:sp>
        <p:nvSpPr>
          <p:cNvPr id="33" name="Subtitle 32">
            <a:extLst>
              <a:ext uri="{FF2B5EF4-FFF2-40B4-BE49-F238E27FC236}">
                <a16:creationId xmlns:a16="http://schemas.microsoft.com/office/drawing/2014/main" id="{1765C557-72B4-70D2-6D12-EF6EAC2F6920}"/>
              </a:ext>
            </a:extLst>
          </p:cNvPr>
          <p:cNvSpPr>
            <a:spLocks noGrp="1"/>
          </p:cNvSpPr>
          <p:nvPr>
            <p:ph type="subTitle" idx="15"/>
          </p:nvPr>
        </p:nvSpPr>
        <p:spPr/>
        <p:txBody>
          <a:bodyPr/>
          <a:lstStyle/>
          <a:p>
            <a:r>
              <a:rPr lang="en-US" sz="3000">
                <a:latin typeface="Aptos" panose="02110004020202020204"/>
              </a:rPr>
              <a:t>Milestone 2-3 expectations logistics</a:t>
            </a:r>
          </a:p>
        </p:txBody>
      </p:sp>
      <p:sp>
        <p:nvSpPr>
          <p:cNvPr id="34" name="Title 33">
            <a:extLst>
              <a:ext uri="{FF2B5EF4-FFF2-40B4-BE49-F238E27FC236}">
                <a16:creationId xmlns:a16="http://schemas.microsoft.com/office/drawing/2014/main" id="{162515D7-4965-9C2A-2985-172B6081C51D}"/>
              </a:ext>
            </a:extLst>
          </p:cNvPr>
          <p:cNvSpPr>
            <a:spLocks noGrp="1"/>
          </p:cNvSpPr>
          <p:nvPr>
            <p:ph type="title" idx="16"/>
          </p:nvPr>
        </p:nvSpPr>
        <p:spPr/>
        <p:txBody>
          <a:bodyPr/>
          <a:lstStyle/>
          <a:p>
            <a:r>
              <a:rPr lang="en-US"/>
              <a:t>1</a:t>
            </a:r>
          </a:p>
        </p:txBody>
      </p:sp>
      <p:sp>
        <p:nvSpPr>
          <p:cNvPr id="35" name="Title 34">
            <a:extLst>
              <a:ext uri="{FF2B5EF4-FFF2-40B4-BE49-F238E27FC236}">
                <a16:creationId xmlns:a16="http://schemas.microsoft.com/office/drawing/2014/main" id="{B259586F-80F5-48C3-8788-F3E8E319911D}"/>
              </a:ext>
            </a:extLst>
          </p:cNvPr>
          <p:cNvSpPr>
            <a:spLocks noGrp="1"/>
          </p:cNvSpPr>
          <p:nvPr>
            <p:ph type="title" idx="17"/>
          </p:nvPr>
        </p:nvSpPr>
        <p:spPr/>
        <p:txBody>
          <a:bodyPr/>
          <a:lstStyle/>
          <a:p>
            <a:r>
              <a:rPr lang="en-US"/>
              <a:t>2</a:t>
            </a:r>
          </a:p>
        </p:txBody>
      </p:sp>
      <p:sp>
        <p:nvSpPr>
          <p:cNvPr id="36" name="Title 35">
            <a:extLst>
              <a:ext uri="{FF2B5EF4-FFF2-40B4-BE49-F238E27FC236}">
                <a16:creationId xmlns:a16="http://schemas.microsoft.com/office/drawing/2014/main" id="{5039174A-95E1-03C5-339F-EAEBE2421DF1}"/>
              </a:ext>
            </a:extLst>
          </p:cNvPr>
          <p:cNvSpPr>
            <a:spLocks noGrp="1"/>
          </p:cNvSpPr>
          <p:nvPr>
            <p:ph type="title" idx="18"/>
          </p:nvPr>
        </p:nvSpPr>
        <p:spPr/>
        <p:txBody>
          <a:bodyPr/>
          <a:lstStyle/>
          <a:p>
            <a:r>
              <a:rPr lang="en-US"/>
              <a:t>3</a:t>
            </a:r>
          </a:p>
        </p:txBody>
      </p:sp>
      <p:sp>
        <p:nvSpPr>
          <p:cNvPr id="37" name="Title 36">
            <a:extLst>
              <a:ext uri="{FF2B5EF4-FFF2-40B4-BE49-F238E27FC236}">
                <a16:creationId xmlns:a16="http://schemas.microsoft.com/office/drawing/2014/main" id="{E0CA43A4-7B59-CFBC-20C0-C15A3A90C785}"/>
              </a:ext>
            </a:extLst>
          </p:cNvPr>
          <p:cNvSpPr>
            <a:spLocks noGrp="1"/>
          </p:cNvSpPr>
          <p:nvPr>
            <p:ph type="title" idx="19"/>
          </p:nvPr>
        </p:nvSpPr>
        <p:spPr/>
        <p:txBody>
          <a:bodyPr/>
          <a:lstStyle/>
          <a:p>
            <a:r>
              <a:rPr lang="en-US"/>
              <a:t>4</a:t>
            </a:r>
          </a:p>
        </p:txBody>
      </p:sp>
      <p:sp>
        <p:nvSpPr>
          <p:cNvPr id="38" name="Title 37">
            <a:extLst>
              <a:ext uri="{FF2B5EF4-FFF2-40B4-BE49-F238E27FC236}">
                <a16:creationId xmlns:a16="http://schemas.microsoft.com/office/drawing/2014/main" id="{CAC518E5-06CC-C9F3-9855-6645CDBA2D8E}"/>
              </a:ext>
            </a:extLst>
          </p:cNvPr>
          <p:cNvSpPr>
            <a:spLocks noGrp="1"/>
          </p:cNvSpPr>
          <p:nvPr>
            <p:ph type="title" idx="20"/>
          </p:nvPr>
        </p:nvSpPr>
        <p:spPr/>
        <p:txBody>
          <a:bodyPr/>
          <a:lstStyle/>
          <a:p>
            <a:r>
              <a:rPr lang="en-US"/>
              <a:t>5</a:t>
            </a:r>
          </a:p>
        </p:txBody>
      </p:sp>
      <p:sp>
        <p:nvSpPr>
          <p:cNvPr id="39" name="Title 38">
            <a:extLst>
              <a:ext uri="{FF2B5EF4-FFF2-40B4-BE49-F238E27FC236}">
                <a16:creationId xmlns:a16="http://schemas.microsoft.com/office/drawing/2014/main" id="{2438D3CF-37C7-3E47-3190-9E5CFBFC4978}"/>
              </a:ext>
            </a:extLst>
          </p:cNvPr>
          <p:cNvSpPr>
            <a:spLocks noGrp="1"/>
          </p:cNvSpPr>
          <p:nvPr>
            <p:ph type="title" idx="21"/>
          </p:nvPr>
        </p:nvSpPr>
        <p:spPr/>
        <p:txBody>
          <a:bodyPr/>
          <a:lstStyle/>
          <a:p>
            <a:r>
              <a:rPr lang="en-US"/>
              <a:t>6</a:t>
            </a:r>
          </a:p>
        </p:txBody>
      </p:sp>
    </p:spTree>
    <p:extLst>
      <p:ext uri="{BB962C8B-B14F-4D97-AF65-F5344CB8AC3E}">
        <p14:creationId xmlns:p14="http://schemas.microsoft.com/office/powerpoint/2010/main" val="49542552"/>
      </p:ext>
    </p:extLst>
  </p:cSld>
  <p:clrMapOvr>
    <a:masterClrMapping/>
  </p:clrMapOvr>
  <p:extLst>
    <p:ext uri="{6950BFC3-D8DA-4A85-94F7-54DA5524770B}">
      <p188:commentRel xmlns:p188="http://schemas.microsoft.com/office/powerpoint/2018/8/main" r:id="rId3"/>
    </p:ext>
  </p:extLs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B99CD2-D201-B23B-284E-DB9E1D5EB97F}"/>
              </a:ext>
            </a:extLst>
          </p:cNvPr>
          <p:cNvSpPr>
            <a:spLocks noGrp="1"/>
          </p:cNvSpPr>
          <p:nvPr>
            <p:ph type="title"/>
          </p:nvPr>
        </p:nvSpPr>
        <p:spPr/>
        <p:txBody>
          <a:bodyPr/>
          <a:lstStyle/>
          <a:p>
            <a:r>
              <a:rPr lang="en-US"/>
              <a:t>What to expect:</a:t>
            </a:r>
            <a:br>
              <a:rPr lang="en-US"/>
            </a:br>
            <a:r>
              <a:rPr lang="en-US"/>
              <a:t>Next steps</a:t>
            </a:r>
          </a:p>
        </p:txBody>
      </p:sp>
      <p:sp>
        <p:nvSpPr>
          <p:cNvPr id="3" name="Subtitle 2">
            <a:extLst>
              <a:ext uri="{FF2B5EF4-FFF2-40B4-BE49-F238E27FC236}">
                <a16:creationId xmlns:a16="http://schemas.microsoft.com/office/drawing/2014/main" id="{4D025F7B-32AF-DCE5-E86C-2B0099546A4E}"/>
              </a:ext>
            </a:extLst>
          </p:cNvPr>
          <p:cNvSpPr>
            <a:spLocks noGrp="1"/>
          </p:cNvSpPr>
          <p:nvPr>
            <p:ph type="subTitle" idx="1"/>
          </p:nvPr>
        </p:nvSpPr>
        <p:spPr/>
        <p:txBody>
          <a:bodyPr/>
          <a:lstStyle/>
          <a:p>
            <a:endParaRPr lang="en-US"/>
          </a:p>
        </p:txBody>
      </p:sp>
      <p:sp>
        <p:nvSpPr>
          <p:cNvPr id="4" name="Subtitle 3">
            <a:extLst>
              <a:ext uri="{FF2B5EF4-FFF2-40B4-BE49-F238E27FC236}">
                <a16:creationId xmlns:a16="http://schemas.microsoft.com/office/drawing/2014/main" id="{7669BE05-A9CA-5F98-D55E-9A3C012B2B2E}"/>
              </a:ext>
            </a:extLst>
          </p:cNvPr>
          <p:cNvSpPr>
            <a:spLocks noGrp="1"/>
          </p:cNvSpPr>
          <p:nvPr>
            <p:ph type="subTitle" idx="2"/>
          </p:nvPr>
        </p:nvSpPr>
        <p:spPr/>
        <p:txBody>
          <a:bodyPr/>
          <a:lstStyle/>
          <a:p>
            <a:endParaRPr lang="en-US"/>
          </a:p>
        </p:txBody>
      </p:sp>
    </p:spTree>
    <p:extLst>
      <p:ext uri="{BB962C8B-B14F-4D97-AF65-F5344CB8AC3E}">
        <p14:creationId xmlns:p14="http://schemas.microsoft.com/office/powerpoint/2010/main" val="23645233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468"/>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C8EF68B-4846-366B-AC50-B31D84261EF2}"/>
              </a:ext>
            </a:extLst>
          </p:cNvPr>
          <p:cNvGraphicFramePr>
            <a:graphicFrameLocks noChangeAspect="1"/>
          </p:cNvGraphicFramePr>
          <p:nvPr>
            <p:custDataLst>
              <p:tags r:id="rId1"/>
            </p:custDataLst>
            <p:extLst>
              <p:ext uri="{D42A27DB-BD31-4B8C-83A1-F6EECF244321}">
                <p14:modId xmlns:p14="http://schemas.microsoft.com/office/powerpoint/2010/main" val="1204568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think-cell data - do not delete" hidden="1">
                        <a:extLst>
                          <a:ext uri="{FF2B5EF4-FFF2-40B4-BE49-F238E27FC236}">
                            <a16:creationId xmlns:a16="http://schemas.microsoft.com/office/drawing/2014/main" id="{4C8EF68B-4846-366B-AC50-B31D84261EF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69" name="Google Shape;1469;p112"/>
          <p:cNvSpPr txBox="1">
            <a:spLocks noGrp="1"/>
          </p:cNvSpPr>
          <p:nvPr>
            <p:ph type="subTitle" idx="1"/>
          </p:nvPr>
        </p:nvSpPr>
        <p:spPr>
          <a:xfrm>
            <a:off x="1743025" y="3731451"/>
            <a:ext cx="21804900" cy="5583600"/>
          </a:xfrm>
          <a:prstGeom prst="rect">
            <a:avLst/>
          </a:prstGeom>
        </p:spPr>
        <p:txBody>
          <a:bodyPr spcFirstLastPara="1" wrap="square" lIns="91425" tIns="91425" rIns="91425" bIns="91425" anchor="t" anchorCtr="0">
            <a:noAutofit/>
          </a:bodyPr>
          <a:lstStyle/>
          <a:p>
            <a:pPr marL="457200" lvl="0" indent="-457200" algn="l" rtl="0">
              <a:lnSpc>
                <a:spcPct val="115000"/>
              </a:lnSpc>
              <a:spcBef>
                <a:spcPts val="0"/>
              </a:spcBef>
              <a:spcAft>
                <a:spcPts val="0"/>
              </a:spcAft>
              <a:buClr>
                <a:srgbClr val="002D45"/>
              </a:buClr>
              <a:buSzPts val="3600"/>
              <a:buChar char="●"/>
            </a:pPr>
            <a:r>
              <a:rPr lang="en-US" b="1">
                <a:solidFill>
                  <a:srgbClr val="002D45"/>
                </a:solidFill>
              </a:rPr>
              <a:t>First: Define your model metrics and how you will measure “success”</a:t>
            </a:r>
          </a:p>
          <a:p>
            <a:pPr marL="457200" lvl="0" indent="-457200" algn="l" rtl="0">
              <a:lnSpc>
                <a:spcPct val="115000"/>
              </a:lnSpc>
              <a:spcBef>
                <a:spcPts val="0"/>
              </a:spcBef>
              <a:spcAft>
                <a:spcPts val="0"/>
              </a:spcAft>
              <a:buClr>
                <a:srgbClr val="002D45"/>
              </a:buClr>
              <a:buSzPts val="3600"/>
              <a:buChar char="●"/>
            </a:pPr>
            <a:r>
              <a:rPr lang="en-US" b="1">
                <a:solidFill>
                  <a:srgbClr val="002D45"/>
                </a:solidFill>
              </a:rPr>
              <a:t>Decide on appropriate model(s) to test</a:t>
            </a:r>
          </a:p>
          <a:p>
            <a:pPr marL="457200" lvl="0" indent="-457200" algn="l" rtl="0">
              <a:lnSpc>
                <a:spcPct val="115000"/>
              </a:lnSpc>
              <a:spcBef>
                <a:spcPts val="0"/>
              </a:spcBef>
              <a:spcAft>
                <a:spcPts val="0"/>
              </a:spcAft>
              <a:buClr>
                <a:srgbClr val="002D45"/>
              </a:buClr>
              <a:buSzPts val="3600"/>
              <a:buChar char="●"/>
            </a:pPr>
            <a:r>
              <a:rPr lang="en-US" b="1">
                <a:solidFill>
                  <a:srgbClr val="002D45"/>
                </a:solidFill>
              </a:rPr>
              <a:t>Set up your model testing approach e.g., cross validation or test/train split etc.</a:t>
            </a:r>
          </a:p>
          <a:p>
            <a:pPr marL="457200" lvl="0" indent="-457200" algn="l" rtl="0">
              <a:lnSpc>
                <a:spcPct val="115000"/>
              </a:lnSpc>
              <a:spcBef>
                <a:spcPts val="0"/>
              </a:spcBef>
              <a:spcAft>
                <a:spcPts val="0"/>
              </a:spcAft>
              <a:buClr>
                <a:srgbClr val="002D45"/>
              </a:buClr>
              <a:buSzPts val="3600"/>
              <a:buChar char="●"/>
            </a:pPr>
            <a:r>
              <a:rPr lang="en-US" b="1">
                <a:solidFill>
                  <a:srgbClr val="002D45"/>
                </a:solidFill>
              </a:rPr>
              <a:t>Execute your test – train your models and measure their success!</a:t>
            </a:r>
          </a:p>
          <a:p>
            <a:pPr marL="457200" lvl="0" indent="-457200" algn="l" rtl="0">
              <a:lnSpc>
                <a:spcPct val="115000"/>
              </a:lnSpc>
              <a:spcBef>
                <a:spcPts val="0"/>
              </a:spcBef>
              <a:spcAft>
                <a:spcPts val="0"/>
              </a:spcAft>
              <a:buClr>
                <a:srgbClr val="002D45"/>
              </a:buClr>
              <a:buSzPts val="3600"/>
              <a:buChar char="●"/>
            </a:pPr>
            <a:r>
              <a:rPr lang="en-US" b="1">
                <a:solidFill>
                  <a:srgbClr val="002D45"/>
                </a:solidFill>
              </a:rPr>
              <a:t>Refine parameters</a:t>
            </a:r>
          </a:p>
          <a:p>
            <a:pPr marL="457200" lvl="0" indent="-457200" algn="l" rtl="0">
              <a:lnSpc>
                <a:spcPct val="115000"/>
              </a:lnSpc>
              <a:spcBef>
                <a:spcPts val="0"/>
              </a:spcBef>
              <a:spcAft>
                <a:spcPts val="0"/>
              </a:spcAft>
              <a:buClr>
                <a:srgbClr val="002D45"/>
              </a:buClr>
              <a:buSzPts val="3600"/>
              <a:buChar char="●"/>
            </a:pPr>
            <a:r>
              <a:rPr lang="en-US" b="1">
                <a:solidFill>
                  <a:srgbClr val="002D45"/>
                </a:solidFill>
              </a:rPr>
              <a:t>Retrain / retest and iterate</a:t>
            </a:r>
          </a:p>
          <a:p>
            <a:pPr marL="457200" lvl="0" indent="-457200" algn="l" rtl="0">
              <a:lnSpc>
                <a:spcPct val="115000"/>
              </a:lnSpc>
              <a:spcBef>
                <a:spcPts val="0"/>
              </a:spcBef>
              <a:spcAft>
                <a:spcPts val="0"/>
              </a:spcAft>
              <a:buClr>
                <a:srgbClr val="002D45"/>
              </a:buClr>
              <a:buSzPts val="3600"/>
              <a:buChar char="●"/>
            </a:pPr>
            <a:r>
              <a:rPr lang="en-US" b="1">
                <a:solidFill>
                  <a:srgbClr val="002D45"/>
                </a:solidFill>
              </a:rPr>
              <a:t>Select your “best” model(s) and measure their success</a:t>
            </a:r>
          </a:p>
        </p:txBody>
      </p:sp>
      <p:sp>
        <p:nvSpPr>
          <p:cNvPr id="1470" name="Google Shape;1470;p112"/>
          <p:cNvSpPr txBox="1">
            <a:spLocks noGrp="1"/>
          </p:cNvSpPr>
          <p:nvPr>
            <p:ph type="title"/>
          </p:nvPr>
        </p:nvSpPr>
        <p:spPr>
          <a:xfrm>
            <a:off x="1568000" y="1554150"/>
            <a:ext cx="18382800" cy="26505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a:t>Iterate: Build and evaluate your model </a:t>
            </a:r>
            <a:br>
              <a:rPr lang="en-US"/>
            </a:br>
            <a:r>
              <a:rPr lang="en-US" sz="3600"/>
              <a:t>W</a:t>
            </a:r>
            <a:r>
              <a:rPr lang="en-US" sz="4000"/>
              <a:t>e will review more detail as we approach Milestone 2 after the 2</a:t>
            </a:r>
            <a:r>
              <a:rPr lang="en-US" sz="4000" baseline="30000"/>
              <a:t>nd</a:t>
            </a:r>
            <a:r>
              <a:rPr lang="en-US" sz="4000"/>
              <a:t> Maker Day</a:t>
            </a:r>
            <a:endParaRPr/>
          </a:p>
        </p:txBody>
      </p:sp>
      <p:sp>
        <p:nvSpPr>
          <p:cNvPr id="1471" name="Google Shape;1471;p112"/>
          <p:cNvSpPr/>
          <p:nvPr/>
        </p:nvSpPr>
        <p:spPr>
          <a:xfrm>
            <a:off x="1743025" y="770000"/>
            <a:ext cx="4443600" cy="646800"/>
          </a:xfrm>
          <a:prstGeom prst="rect">
            <a:avLst/>
          </a:prstGeom>
          <a:solidFill>
            <a:srgbClr val="002A44"/>
          </a:solidFill>
          <a:ln w="9525" cap="flat" cmpd="sng">
            <a:solidFill>
              <a:srgbClr val="002A44"/>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472" name="Google Shape;1472;p112"/>
          <p:cNvSpPr txBox="1">
            <a:spLocks noGrp="1"/>
          </p:cNvSpPr>
          <p:nvPr>
            <p:ph type="subTitle" idx="1"/>
          </p:nvPr>
        </p:nvSpPr>
        <p:spPr>
          <a:xfrm>
            <a:off x="1812875" y="800050"/>
            <a:ext cx="3802800" cy="6156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sz="2500" b="1">
                <a:solidFill>
                  <a:schemeClr val="lt1"/>
                </a:solidFill>
                <a:latin typeface="Montserrat"/>
                <a:ea typeface="Montserrat"/>
                <a:cs typeface="Montserrat"/>
                <a:sym typeface="Montserrat"/>
              </a:rPr>
              <a:t>MILESTONE #2 TASKS</a:t>
            </a:r>
            <a:endParaRPr sz="2500" b="1">
              <a:solidFill>
                <a:schemeClr val="lt1"/>
              </a:solidFill>
              <a:latin typeface="Montserrat"/>
              <a:ea typeface="Montserrat"/>
              <a:cs typeface="Montserrat"/>
              <a:sym typeface="Montserrat"/>
            </a:endParaRPr>
          </a:p>
        </p:txBody>
      </p:sp>
    </p:spTree>
  </p:cSld>
  <p:clrMapOvr>
    <a:masterClrMapping/>
  </p:clrMapOvr>
  <p:extLst>
    <p:ext uri="{6950BFC3-D8DA-4A85-94F7-54DA5524770B}">
      <p188:commentRel xmlns:p188="http://schemas.microsoft.com/office/powerpoint/2018/8/main" r:id="rId4"/>
    </p:ext>
  </p:extLs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468"/>
        <p:cNvGrpSpPr/>
        <p:nvPr/>
      </p:nvGrpSpPr>
      <p:grpSpPr>
        <a:xfrm>
          <a:off x="0" y="0"/>
          <a:ext cx="0" cy="0"/>
          <a:chOff x="0" y="0"/>
          <a:chExt cx="0" cy="0"/>
        </a:xfrm>
      </p:grpSpPr>
      <p:sp>
        <p:nvSpPr>
          <p:cNvPr id="1469" name="Google Shape;1469;p112"/>
          <p:cNvSpPr txBox="1">
            <a:spLocks noGrp="1"/>
          </p:cNvSpPr>
          <p:nvPr>
            <p:ph type="subTitle" idx="1"/>
          </p:nvPr>
        </p:nvSpPr>
        <p:spPr>
          <a:xfrm>
            <a:off x="1990350" y="7099525"/>
            <a:ext cx="10412239" cy="5583600"/>
          </a:xfrm>
          <a:prstGeom prst="rect">
            <a:avLst/>
          </a:prstGeom>
        </p:spPr>
        <p:txBody>
          <a:bodyPr spcFirstLastPara="1" wrap="square" lIns="91425" tIns="91425" rIns="91425" bIns="91425" anchor="t" anchorCtr="0">
            <a:noAutofit/>
          </a:bodyPr>
          <a:lstStyle/>
          <a:p>
            <a:pPr lvl="0" algn="l" rtl="0">
              <a:lnSpc>
                <a:spcPct val="115000"/>
              </a:lnSpc>
              <a:spcBef>
                <a:spcPts val="0"/>
              </a:spcBef>
              <a:spcAft>
                <a:spcPts val="0"/>
              </a:spcAft>
              <a:buClr>
                <a:srgbClr val="002D45"/>
              </a:buClr>
              <a:buSzPts val="3600"/>
            </a:pPr>
            <a:r>
              <a:rPr lang="en-US" b="1">
                <a:solidFill>
                  <a:srgbClr val="002D45"/>
                </a:solidFill>
              </a:rPr>
              <a:t>Presentation</a:t>
            </a:r>
          </a:p>
          <a:p>
            <a:pPr marL="457200" lvl="0" indent="-457200" algn="l" rtl="0">
              <a:lnSpc>
                <a:spcPct val="115000"/>
              </a:lnSpc>
              <a:spcBef>
                <a:spcPts val="0"/>
              </a:spcBef>
              <a:spcAft>
                <a:spcPts val="0"/>
              </a:spcAft>
              <a:buClr>
                <a:srgbClr val="002D45"/>
              </a:buClr>
              <a:buSzPts val="3600"/>
              <a:buChar char="●"/>
            </a:pPr>
            <a:r>
              <a:rPr lang="en-US">
                <a:solidFill>
                  <a:srgbClr val="002D45"/>
                </a:solidFill>
              </a:rPr>
              <a:t>Executive Summary / Problem Statement</a:t>
            </a:r>
          </a:p>
          <a:p>
            <a:pPr marL="457200" lvl="0" indent="-457200" algn="l" rtl="0">
              <a:lnSpc>
                <a:spcPct val="115000"/>
              </a:lnSpc>
              <a:spcBef>
                <a:spcPts val="0"/>
              </a:spcBef>
              <a:spcAft>
                <a:spcPts val="0"/>
              </a:spcAft>
              <a:buClr>
                <a:srgbClr val="002D45"/>
              </a:buClr>
              <a:buSzPts val="3600"/>
              <a:buChar char="●"/>
            </a:pPr>
            <a:r>
              <a:rPr lang="en-US">
                <a:solidFill>
                  <a:srgbClr val="002D45"/>
                </a:solidFill>
              </a:rPr>
              <a:t>Donor profiles &amp; important donor features </a:t>
            </a:r>
          </a:p>
          <a:p>
            <a:pPr marL="457200" lvl="0" indent="-457200" algn="l" rtl="0">
              <a:lnSpc>
                <a:spcPct val="115000"/>
              </a:lnSpc>
              <a:spcBef>
                <a:spcPts val="0"/>
              </a:spcBef>
              <a:spcAft>
                <a:spcPts val="0"/>
              </a:spcAft>
              <a:buClr>
                <a:srgbClr val="002D45"/>
              </a:buClr>
              <a:buSzPts val="3600"/>
              <a:buChar char="●"/>
            </a:pPr>
            <a:r>
              <a:rPr lang="en-US">
                <a:solidFill>
                  <a:srgbClr val="002D45"/>
                </a:solidFill>
              </a:rPr>
              <a:t>ML selection and methodology</a:t>
            </a:r>
          </a:p>
          <a:p>
            <a:pPr marL="457200" lvl="0" indent="-457200" algn="l" rtl="0">
              <a:lnSpc>
                <a:spcPct val="115000"/>
              </a:lnSpc>
              <a:spcBef>
                <a:spcPts val="0"/>
              </a:spcBef>
              <a:spcAft>
                <a:spcPts val="0"/>
              </a:spcAft>
              <a:buClr>
                <a:srgbClr val="002D45"/>
              </a:buClr>
              <a:buSzPts val="3600"/>
              <a:buChar char="●"/>
            </a:pPr>
            <a:r>
              <a:rPr lang="en-US">
                <a:solidFill>
                  <a:srgbClr val="002D45"/>
                </a:solidFill>
              </a:rPr>
              <a:t>Model metrics and measures of success</a:t>
            </a:r>
          </a:p>
          <a:p>
            <a:pPr marL="457200" lvl="0" indent="-457200" algn="l" rtl="0">
              <a:lnSpc>
                <a:spcPct val="115000"/>
              </a:lnSpc>
              <a:spcBef>
                <a:spcPts val="0"/>
              </a:spcBef>
              <a:spcAft>
                <a:spcPts val="0"/>
              </a:spcAft>
              <a:buClr>
                <a:srgbClr val="002D45"/>
              </a:buClr>
              <a:buSzPts val="3600"/>
              <a:buChar char="●"/>
            </a:pPr>
            <a:r>
              <a:rPr lang="en-US" b="1">
                <a:solidFill>
                  <a:srgbClr val="002D45"/>
                </a:solidFill>
              </a:rPr>
              <a:t>Translate the above into actionable recommendations for targeting donors and driving value for C5LA</a:t>
            </a:r>
          </a:p>
        </p:txBody>
      </p:sp>
      <p:sp>
        <p:nvSpPr>
          <p:cNvPr id="1470" name="Google Shape;1470;p112"/>
          <p:cNvSpPr txBox="1">
            <a:spLocks noGrp="1"/>
          </p:cNvSpPr>
          <p:nvPr>
            <p:ph type="title"/>
          </p:nvPr>
        </p:nvSpPr>
        <p:spPr>
          <a:xfrm>
            <a:off x="1567999" y="1554149"/>
            <a:ext cx="20224733" cy="1804193"/>
          </a:xfrm>
          <a:prstGeom prst="rect">
            <a:avLst/>
          </a:prstGeom>
        </p:spPr>
        <p:txBody>
          <a:bodyPr spcFirstLastPara="1" wrap="square" lIns="91425" tIns="91425" rIns="91425" bIns="91425" anchor="t" anchorCtr="0">
            <a:noAutofit/>
          </a:bodyPr>
          <a:lstStyle/>
          <a:p>
            <a:r>
              <a:rPr lang="en-US"/>
              <a:t>Put it all together in a final presentation</a:t>
            </a:r>
            <a:br>
              <a:rPr lang="en-US"/>
            </a:br>
            <a:r>
              <a:rPr lang="en-US" sz="4000">
                <a:solidFill>
                  <a:schemeClr val="tx1"/>
                </a:solidFill>
                <a:latin typeface="+mj-lt"/>
              </a:rPr>
              <a:t> </a:t>
            </a:r>
          </a:p>
        </p:txBody>
      </p:sp>
      <p:sp>
        <p:nvSpPr>
          <p:cNvPr id="1471" name="Google Shape;1471;p112"/>
          <p:cNvSpPr/>
          <p:nvPr/>
        </p:nvSpPr>
        <p:spPr>
          <a:xfrm>
            <a:off x="1743025" y="770000"/>
            <a:ext cx="4443600" cy="646800"/>
          </a:xfrm>
          <a:prstGeom prst="rect">
            <a:avLst/>
          </a:prstGeom>
          <a:solidFill>
            <a:srgbClr val="002A44"/>
          </a:solidFill>
          <a:ln w="9525" cap="flat" cmpd="sng">
            <a:solidFill>
              <a:srgbClr val="002A44"/>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472" name="Google Shape;1472;p112"/>
          <p:cNvSpPr txBox="1">
            <a:spLocks noGrp="1"/>
          </p:cNvSpPr>
          <p:nvPr>
            <p:ph type="subTitle" idx="1"/>
          </p:nvPr>
        </p:nvSpPr>
        <p:spPr>
          <a:xfrm>
            <a:off x="1812875" y="800050"/>
            <a:ext cx="3802800" cy="6156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sz="2500" b="1">
                <a:solidFill>
                  <a:schemeClr val="lt1"/>
                </a:solidFill>
                <a:latin typeface="Montserrat"/>
                <a:ea typeface="Montserrat"/>
                <a:cs typeface="Montserrat"/>
                <a:sym typeface="Montserrat"/>
              </a:rPr>
              <a:t>MILESTONE #3 TASKS</a:t>
            </a:r>
            <a:endParaRPr sz="2500" b="1">
              <a:solidFill>
                <a:schemeClr val="lt1"/>
              </a:solidFill>
              <a:latin typeface="Montserrat"/>
              <a:ea typeface="Montserrat"/>
              <a:cs typeface="Montserrat"/>
              <a:sym typeface="Montserrat"/>
            </a:endParaRPr>
          </a:p>
        </p:txBody>
      </p:sp>
      <p:sp>
        <p:nvSpPr>
          <p:cNvPr id="4" name="TextBox 3">
            <a:extLst>
              <a:ext uri="{FF2B5EF4-FFF2-40B4-BE49-F238E27FC236}">
                <a16:creationId xmlns:a16="http://schemas.microsoft.com/office/drawing/2014/main" id="{BC67DD65-3656-ACF7-9A90-D73F356B5503}"/>
              </a:ext>
            </a:extLst>
          </p:cNvPr>
          <p:cNvSpPr txBox="1"/>
          <p:nvPr/>
        </p:nvSpPr>
        <p:spPr>
          <a:xfrm>
            <a:off x="1567998" y="2672239"/>
            <a:ext cx="22622038" cy="4185761"/>
          </a:xfrm>
          <a:prstGeom prst="rect">
            <a:avLst/>
          </a:prstGeom>
          <a:noFill/>
        </p:spPr>
        <p:txBody>
          <a:bodyPr wrap="square">
            <a:spAutoFit/>
          </a:bodyPr>
          <a:lstStyle/>
          <a:p>
            <a:r>
              <a:rPr lang="en-US" sz="3800">
                <a:solidFill>
                  <a:schemeClr val="tx1"/>
                </a:solidFill>
                <a:latin typeface="Aptos"/>
                <a:ea typeface="Open Sans"/>
                <a:cs typeface="Open Sans"/>
                <a:sym typeface="Open Sans"/>
              </a:rPr>
              <a:t>The final presentation should demonstrate your ability to:</a:t>
            </a:r>
          </a:p>
          <a:p>
            <a:endParaRPr lang="en-US" sz="3800">
              <a:solidFill>
                <a:schemeClr val="tx1"/>
              </a:solidFill>
              <a:latin typeface="Aptos"/>
              <a:ea typeface="Open Sans"/>
              <a:cs typeface="Open Sans"/>
              <a:sym typeface="Open Sans"/>
            </a:endParaRPr>
          </a:p>
          <a:p>
            <a:pPr marL="571500" indent="-571500">
              <a:buFont typeface="Arial" panose="020B0604020202020204" pitchFamily="34" charset="0"/>
              <a:buChar char="•"/>
            </a:pPr>
            <a:r>
              <a:rPr lang="en-US" sz="3800">
                <a:solidFill>
                  <a:schemeClr val="tx1"/>
                </a:solidFill>
                <a:latin typeface="Aptos"/>
                <a:ea typeface="Open Sans"/>
                <a:cs typeface="Open Sans"/>
                <a:sym typeface="Open Sans"/>
              </a:rPr>
              <a:t>Apply data science techniques</a:t>
            </a:r>
          </a:p>
          <a:p>
            <a:pPr marL="571500" indent="-571500">
              <a:buFont typeface="Arial" panose="020B0604020202020204" pitchFamily="34" charset="0"/>
              <a:buChar char="•"/>
            </a:pPr>
            <a:r>
              <a:rPr lang="en-US" sz="3800">
                <a:solidFill>
                  <a:schemeClr val="tx1"/>
                </a:solidFill>
                <a:latin typeface="Aptos"/>
                <a:ea typeface="Open Sans"/>
                <a:cs typeface="Open Sans"/>
                <a:sym typeface="Open Sans"/>
              </a:rPr>
              <a:t>Derive meaningful insights from data</a:t>
            </a:r>
          </a:p>
          <a:p>
            <a:pPr marL="571500" indent="-571500">
              <a:buFont typeface="Arial" panose="020B0604020202020204" pitchFamily="34" charset="0"/>
              <a:buChar char="•"/>
            </a:pPr>
            <a:r>
              <a:rPr lang="en-US" sz="3800">
                <a:solidFill>
                  <a:schemeClr val="tx1"/>
                </a:solidFill>
                <a:latin typeface="Aptos"/>
                <a:ea typeface="Open Sans"/>
                <a:cs typeface="Open Sans"/>
                <a:sym typeface="Open Sans"/>
              </a:rPr>
              <a:t>Provide practical, actionable recommendations to drive business value for the client organization, C5LA. </a:t>
            </a:r>
          </a:p>
          <a:p>
            <a:pPr marL="571500" indent="-571500">
              <a:buFont typeface="Arial" panose="020B0604020202020204" pitchFamily="34" charset="0"/>
              <a:buChar char="•"/>
            </a:pPr>
            <a:endParaRPr lang="en-US" sz="3800">
              <a:solidFill>
                <a:schemeClr val="tx1"/>
              </a:solidFill>
              <a:latin typeface="Aptos"/>
              <a:ea typeface="Open Sans"/>
              <a:cs typeface="Open Sans"/>
              <a:sym typeface="Open Sans"/>
            </a:endParaRPr>
          </a:p>
          <a:p>
            <a:r>
              <a:rPr lang="en-US" sz="3800" b="1">
                <a:solidFill>
                  <a:schemeClr val="tx1"/>
                </a:solidFill>
                <a:latin typeface="Aptos"/>
                <a:ea typeface="Open Sans"/>
                <a:cs typeface="Open Sans"/>
                <a:sym typeface="Open Sans"/>
              </a:rPr>
              <a:t>The relevant data, code, presentation, and additional supporting materials should be posted to GitHub.</a:t>
            </a:r>
            <a:endParaRPr lang="en-US" sz="3800" b="1"/>
          </a:p>
        </p:txBody>
      </p:sp>
      <p:sp>
        <p:nvSpPr>
          <p:cNvPr id="5" name="Google Shape;1469;p112">
            <a:extLst>
              <a:ext uri="{FF2B5EF4-FFF2-40B4-BE49-F238E27FC236}">
                <a16:creationId xmlns:a16="http://schemas.microsoft.com/office/drawing/2014/main" id="{E864E1B8-7FE8-DDDA-4F9D-23BCFEBE77CD}"/>
              </a:ext>
            </a:extLst>
          </p:cNvPr>
          <p:cNvSpPr txBox="1">
            <a:spLocks/>
          </p:cNvSpPr>
          <p:nvPr/>
        </p:nvSpPr>
        <p:spPr>
          <a:xfrm>
            <a:off x="13777797" y="7102752"/>
            <a:ext cx="10412239" cy="5583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2A44"/>
              </a:buClr>
              <a:buSzPts val="3600"/>
              <a:buFont typeface="Montserrat"/>
              <a:buNone/>
              <a:defRPr sz="3600" b="0" i="0" u="none" strike="noStrike" cap="none">
                <a:solidFill>
                  <a:srgbClr val="002A44"/>
                </a:solidFill>
                <a:latin typeface="Montserrat"/>
                <a:ea typeface="Montserrat"/>
                <a:cs typeface="Montserrat"/>
                <a:sym typeface="Montserrat"/>
              </a:defRPr>
            </a:lvl1pPr>
            <a:lvl2pPr marR="0" lvl="1" algn="l" rtl="0">
              <a:lnSpc>
                <a:spcPct val="100000"/>
              </a:lnSpc>
              <a:spcBef>
                <a:spcPts val="0"/>
              </a:spcBef>
              <a:spcAft>
                <a:spcPts val="0"/>
              </a:spcAft>
              <a:buClr>
                <a:srgbClr val="000000"/>
              </a:buClr>
              <a:buSzPts val="3600"/>
              <a:buFont typeface="Arial"/>
              <a:buNone/>
              <a:defRPr sz="36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3600"/>
              <a:buFont typeface="Arial"/>
              <a:buNone/>
              <a:defRPr sz="36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3600"/>
              <a:buFont typeface="Arial"/>
              <a:buNone/>
              <a:defRPr sz="36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3600"/>
              <a:buFont typeface="Arial"/>
              <a:buNone/>
              <a:defRPr sz="36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3600"/>
              <a:buFont typeface="Arial"/>
              <a:buNone/>
              <a:defRPr sz="36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3600"/>
              <a:buFont typeface="Arial"/>
              <a:buNone/>
              <a:defRPr sz="36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3600"/>
              <a:buFont typeface="Arial"/>
              <a:buNone/>
              <a:defRPr sz="36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3600"/>
              <a:buFont typeface="Arial"/>
              <a:buNone/>
              <a:defRPr sz="3600" b="0" i="0" u="none" strike="noStrike" cap="none">
                <a:solidFill>
                  <a:srgbClr val="000000"/>
                </a:solidFill>
                <a:latin typeface="Arial"/>
                <a:ea typeface="Arial"/>
                <a:cs typeface="Arial"/>
                <a:sym typeface="Arial"/>
              </a:defRPr>
            </a:lvl9pPr>
          </a:lstStyle>
          <a:p>
            <a:pPr>
              <a:lnSpc>
                <a:spcPct val="115000"/>
              </a:lnSpc>
              <a:buClr>
                <a:srgbClr val="002D45"/>
              </a:buClr>
            </a:pPr>
            <a:r>
              <a:rPr lang="en-US" b="1">
                <a:solidFill>
                  <a:srgbClr val="002D45"/>
                </a:solidFill>
              </a:rPr>
              <a:t>Data model</a:t>
            </a:r>
          </a:p>
          <a:p>
            <a:pPr marL="457200" indent="-457200">
              <a:lnSpc>
                <a:spcPct val="115000"/>
              </a:lnSpc>
              <a:buClr>
                <a:srgbClr val="002D45"/>
              </a:buClr>
              <a:buFont typeface="Montserrat"/>
              <a:buChar char="●"/>
            </a:pPr>
            <a:r>
              <a:rPr lang="en-US">
                <a:solidFill>
                  <a:srgbClr val="002D45"/>
                </a:solidFill>
              </a:rPr>
              <a:t>Working code repository</a:t>
            </a:r>
          </a:p>
          <a:p>
            <a:pPr marL="457200" indent="-457200">
              <a:lnSpc>
                <a:spcPct val="115000"/>
              </a:lnSpc>
              <a:buClr>
                <a:srgbClr val="002D45"/>
              </a:buClr>
              <a:buFont typeface="Montserrat"/>
              <a:buChar char="●"/>
            </a:pPr>
            <a:r>
              <a:rPr lang="en-US">
                <a:solidFill>
                  <a:srgbClr val="002D45"/>
                </a:solidFill>
              </a:rPr>
              <a:t>Explanation of methodology</a:t>
            </a:r>
          </a:p>
          <a:p>
            <a:pPr marL="457200" indent="-457200">
              <a:lnSpc>
                <a:spcPct val="115000"/>
              </a:lnSpc>
              <a:buClr>
                <a:srgbClr val="002D45"/>
              </a:buClr>
              <a:buFont typeface="Montserrat"/>
              <a:buChar char="●"/>
            </a:pPr>
            <a:r>
              <a:rPr lang="en-US">
                <a:solidFill>
                  <a:srgbClr val="002D45"/>
                </a:solidFill>
              </a:rPr>
              <a:t>Explanation of model metrics and evaluation criteria</a:t>
            </a:r>
          </a:p>
        </p:txBody>
      </p:sp>
    </p:spTree>
    <p:extLst>
      <p:ext uri="{BB962C8B-B14F-4D97-AF65-F5344CB8AC3E}">
        <p14:creationId xmlns:p14="http://schemas.microsoft.com/office/powerpoint/2010/main" val="2572070125"/>
      </p:ext>
    </p:extLst>
  </p:cSld>
  <p:clrMapOvr>
    <a:masterClrMapping/>
  </p:clrMapOvr>
  <p:extLst>
    <p:ext uri="{6950BFC3-D8DA-4A85-94F7-54DA5524770B}">
      <p188:commentRel xmlns:p188="http://schemas.microsoft.com/office/powerpoint/2018/8/main" r:id="rId3"/>
    </p:ext>
  </p:extLs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1476"/>
        <p:cNvGrpSpPr/>
        <p:nvPr/>
      </p:nvGrpSpPr>
      <p:grpSpPr>
        <a:xfrm>
          <a:off x="0" y="0"/>
          <a:ext cx="0" cy="0"/>
          <a:chOff x="0" y="0"/>
          <a:chExt cx="0" cy="0"/>
        </a:xfrm>
      </p:grpSpPr>
      <p:sp>
        <p:nvSpPr>
          <p:cNvPr id="1477" name="Google Shape;1477;p113"/>
          <p:cNvSpPr txBox="1">
            <a:spLocks noGrp="1"/>
          </p:cNvSpPr>
          <p:nvPr>
            <p:ph type="title"/>
          </p:nvPr>
        </p:nvSpPr>
        <p:spPr>
          <a:xfrm>
            <a:off x="696050" y="1679775"/>
            <a:ext cx="16494300" cy="1399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6000">
                <a:solidFill>
                  <a:srgbClr val="002A44"/>
                </a:solidFill>
              </a:rPr>
              <a:t>How we’ll work together this semester</a:t>
            </a:r>
            <a:endParaRPr sz="6000">
              <a:solidFill>
                <a:srgbClr val="002A44"/>
              </a:solidFill>
            </a:endParaRPr>
          </a:p>
        </p:txBody>
      </p:sp>
      <p:graphicFrame>
        <p:nvGraphicFramePr>
          <p:cNvPr id="1478" name="Google Shape;1478;p113"/>
          <p:cNvGraphicFramePr/>
          <p:nvPr>
            <p:extLst>
              <p:ext uri="{D42A27DB-BD31-4B8C-83A1-F6EECF244321}">
                <p14:modId xmlns:p14="http://schemas.microsoft.com/office/powerpoint/2010/main" val="313725160"/>
              </p:ext>
            </p:extLst>
          </p:nvPr>
        </p:nvGraphicFramePr>
        <p:xfrm>
          <a:off x="952500" y="5039828"/>
          <a:ext cx="22472650" cy="5491965"/>
        </p:xfrm>
        <a:graphic>
          <a:graphicData uri="http://schemas.openxmlformats.org/drawingml/2006/table">
            <a:tbl>
              <a:tblPr>
                <a:noFill/>
                <a:tableStyleId>{808865FD-88DD-49D3-9B5D-C45A42B467EB}</a:tableStyleId>
              </a:tblPr>
              <a:tblGrid>
                <a:gridCol w="3888441">
                  <a:extLst>
                    <a:ext uri="{9D8B030D-6E8A-4147-A177-3AD203B41FA5}">
                      <a16:colId xmlns:a16="http://schemas.microsoft.com/office/drawing/2014/main" val="20000"/>
                    </a:ext>
                  </a:extLst>
                </a:gridCol>
                <a:gridCol w="18584209">
                  <a:extLst>
                    <a:ext uri="{9D8B030D-6E8A-4147-A177-3AD203B41FA5}">
                      <a16:colId xmlns:a16="http://schemas.microsoft.com/office/drawing/2014/main" val="20001"/>
                    </a:ext>
                  </a:extLst>
                </a:gridCol>
              </a:tblGrid>
              <a:tr h="381000">
                <a:tc>
                  <a:txBody>
                    <a:bodyPr/>
                    <a:lstStyle/>
                    <a:p>
                      <a:pPr marL="0" lvl="0" indent="0" algn="l" rtl="0">
                        <a:spcBef>
                          <a:spcPts val="0"/>
                        </a:spcBef>
                        <a:spcAft>
                          <a:spcPts val="0"/>
                        </a:spcAft>
                        <a:buNone/>
                      </a:pPr>
                      <a:r>
                        <a:rPr lang="en-US" sz="3000" b="1">
                          <a:solidFill>
                            <a:srgbClr val="002A44"/>
                          </a:solidFill>
                          <a:latin typeface="Montserrat"/>
                          <a:ea typeface="Montserrat"/>
                          <a:cs typeface="Montserrat"/>
                          <a:sym typeface="Montserrat"/>
                        </a:rPr>
                        <a:t>Check-in meetings</a:t>
                      </a:r>
                      <a:endParaRPr sz="3000" b="1">
                        <a:solidFill>
                          <a:srgbClr val="002A44"/>
                        </a:solidFill>
                        <a:latin typeface="Montserrat"/>
                        <a:ea typeface="Montserrat"/>
                        <a:cs typeface="Montserrat"/>
                        <a:sym typeface="Montserrat"/>
                      </a:endParaRPr>
                    </a:p>
                  </a:txBody>
                  <a:tcPr marL="91425" marR="91425" marT="91425" marB="91425">
                    <a:solidFill>
                      <a:srgbClr val="E7FF8F"/>
                    </a:solidFill>
                  </a:tcPr>
                </a:tc>
                <a:tc>
                  <a:txBody>
                    <a:bodyPr/>
                    <a:lstStyle/>
                    <a:p>
                      <a:pPr marL="457200" lvl="0" indent="-419100" algn="l" rtl="0">
                        <a:lnSpc>
                          <a:spcPct val="115000"/>
                        </a:lnSpc>
                        <a:spcBef>
                          <a:spcPts val="0"/>
                        </a:spcBef>
                        <a:spcAft>
                          <a:spcPts val="0"/>
                        </a:spcAft>
                        <a:buClr>
                          <a:srgbClr val="002A44"/>
                        </a:buClr>
                        <a:buSzPts val="3000"/>
                        <a:buFont typeface="Montserrat"/>
                        <a:buChar char="●"/>
                      </a:pPr>
                      <a:r>
                        <a:rPr lang="en-US" sz="3000" b="1">
                          <a:solidFill>
                            <a:srgbClr val="002A44"/>
                          </a:solidFill>
                          <a:latin typeface="Montserrat"/>
                          <a:ea typeface="Montserrat"/>
                          <a:cs typeface="Montserrat"/>
                          <a:sym typeface="Montserrat"/>
                        </a:rPr>
                        <a:t>Fortnightly+ (e.g. may do extras later in the project)</a:t>
                      </a:r>
                    </a:p>
                    <a:p>
                      <a:pPr marL="457200" lvl="0" indent="-419100" algn="l" rtl="0">
                        <a:lnSpc>
                          <a:spcPct val="115000"/>
                        </a:lnSpc>
                        <a:spcBef>
                          <a:spcPts val="0"/>
                        </a:spcBef>
                        <a:spcAft>
                          <a:spcPts val="0"/>
                        </a:spcAft>
                        <a:buClr>
                          <a:srgbClr val="002A44"/>
                        </a:buClr>
                        <a:buSzPts val="3000"/>
                        <a:buFont typeface="Montserrat"/>
                        <a:buChar char="●"/>
                      </a:pPr>
                      <a:r>
                        <a:rPr lang="en-US" sz="3000" b="1">
                          <a:solidFill>
                            <a:srgbClr val="002A44"/>
                          </a:solidFill>
                          <a:latin typeface="Montserrat"/>
                          <a:ea typeface="Montserrat"/>
                          <a:cs typeface="Montserrat"/>
                          <a:sym typeface="Montserrat"/>
                        </a:rPr>
                        <a:t>Team to provide agenda or priority discussion items as needed</a:t>
                      </a:r>
                    </a:p>
                  </a:txBody>
                  <a:tcPr marL="91425" marR="91425" marT="91425" marB="91425">
                    <a:solidFill>
                      <a:srgbClr val="E7FF8F"/>
                    </a:solidFill>
                  </a:tcPr>
                </a:tc>
                <a:extLst>
                  <a:ext uri="{0D108BD9-81ED-4DB2-BD59-A6C34878D82A}">
                    <a16:rowId xmlns:a16="http://schemas.microsoft.com/office/drawing/2014/main" val="10000"/>
                  </a:ext>
                </a:extLst>
              </a:tr>
              <a:tr h="381000">
                <a:tc>
                  <a:txBody>
                    <a:bodyPr/>
                    <a:lstStyle/>
                    <a:p>
                      <a:pPr marL="0" lvl="0" indent="0" algn="l" rtl="0">
                        <a:spcBef>
                          <a:spcPts val="0"/>
                        </a:spcBef>
                        <a:spcAft>
                          <a:spcPts val="0"/>
                        </a:spcAft>
                        <a:buNone/>
                      </a:pPr>
                      <a:r>
                        <a:rPr lang="en-US" sz="3000" b="1">
                          <a:solidFill>
                            <a:srgbClr val="002A44"/>
                          </a:solidFill>
                          <a:latin typeface="Montserrat"/>
                          <a:ea typeface="Montserrat"/>
                          <a:cs typeface="Montserrat"/>
                          <a:sym typeface="Montserrat"/>
                        </a:rPr>
                        <a:t>Reporting</a:t>
                      </a:r>
                      <a:endParaRPr sz="3000" b="1">
                        <a:solidFill>
                          <a:srgbClr val="002A44"/>
                        </a:solidFill>
                        <a:latin typeface="Montserrat"/>
                        <a:ea typeface="Montserrat"/>
                        <a:cs typeface="Montserrat"/>
                        <a:sym typeface="Montserrat"/>
                      </a:endParaRPr>
                    </a:p>
                  </a:txBody>
                  <a:tcPr marL="91425" marR="91425" marT="91425" marB="91425">
                    <a:solidFill>
                      <a:srgbClr val="E7FF8F"/>
                    </a:solidFill>
                  </a:tcPr>
                </a:tc>
                <a:tc>
                  <a:txBody>
                    <a:bodyPr/>
                    <a:lstStyle/>
                    <a:p>
                      <a:pPr marL="457200" lvl="0" indent="-419100" algn="l" rtl="0">
                        <a:lnSpc>
                          <a:spcPct val="115000"/>
                        </a:lnSpc>
                        <a:spcBef>
                          <a:spcPts val="0"/>
                        </a:spcBef>
                        <a:spcAft>
                          <a:spcPts val="0"/>
                        </a:spcAft>
                        <a:buClr>
                          <a:srgbClr val="002A44"/>
                        </a:buClr>
                        <a:buSzPts val="3000"/>
                        <a:buFont typeface="Montserrat"/>
                        <a:buChar char="●"/>
                      </a:pPr>
                      <a:r>
                        <a:rPr lang="en-US" sz="3000" b="1">
                          <a:solidFill>
                            <a:srgbClr val="002A44"/>
                          </a:solidFill>
                          <a:latin typeface="Montserrat"/>
                          <a:ea typeface="Montserrat"/>
                          <a:cs typeface="Montserrat"/>
                          <a:sym typeface="Montserrat"/>
                        </a:rPr>
                        <a:t>Report during each check-in meeting including accomplishments, planned activities, and blockers/items that need to be discussed as a team</a:t>
                      </a:r>
                    </a:p>
                  </a:txBody>
                  <a:tcPr marL="91425" marR="91425" marT="91425" marB="91425">
                    <a:solidFill>
                      <a:srgbClr val="E7FF8F"/>
                    </a:solidFill>
                  </a:tcPr>
                </a:tc>
                <a:extLst>
                  <a:ext uri="{0D108BD9-81ED-4DB2-BD59-A6C34878D82A}">
                    <a16:rowId xmlns:a16="http://schemas.microsoft.com/office/drawing/2014/main" val="10001"/>
                  </a:ext>
                </a:extLst>
              </a:tr>
              <a:tr h="381000">
                <a:tc>
                  <a:txBody>
                    <a:bodyPr/>
                    <a:lstStyle/>
                    <a:p>
                      <a:pPr marL="0" lvl="0" indent="0" algn="l" rtl="0">
                        <a:spcBef>
                          <a:spcPts val="0"/>
                        </a:spcBef>
                        <a:spcAft>
                          <a:spcPts val="0"/>
                        </a:spcAft>
                        <a:buNone/>
                      </a:pPr>
                      <a:r>
                        <a:rPr lang="en-US" sz="3000" b="1">
                          <a:solidFill>
                            <a:srgbClr val="002A44"/>
                          </a:solidFill>
                          <a:latin typeface="Montserrat"/>
                          <a:ea typeface="Montserrat"/>
                          <a:cs typeface="Montserrat"/>
                          <a:sym typeface="Montserrat"/>
                        </a:rPr>
                        <a:t>Communication</a:t>
                      </a:r>
                      <a:endParaRPr sz="3000" b="1">
                        <a:solidFill>
                          <a:srgbClr val="002A44"/>
                        </a:solidFill>
                        <a:latin typeface="Montserrat"/>
                        <a:ea typeface="Montserrat"/>
                        <a:cs typeface="Montserrat"/>
                        <a:sym typeface="Montserrat"/>
                      </a:endParaRPr>
                    </a:p>
                  </a:txBody>
                  <a:tcPr marL="91425" marR="91425" marT="91425" marB="91425">
                    <a:solidFill>
                      <a:srgbClr val="E7FF8F"/>
                    </a:solidFill>
                  </a:tcPr>
                </a:tc>
                <a:tc>
                  <a:txBody>
                    <a:bodyPr/>
                    <a:lstStyle/>
                    <a:p>
                      <a:pPr marL="457200" lvl="0" indent="-419100" algn="l" rtl="0">
                        <a:lnSpc>
                          <a:spcPct val="115000"/>
                        </a:lnSpc>
                        <a:spcBef>
                          <a:spcPts val="0"/>
                        </a:spcBef>
                        <a:spcAft>
                          <a:spcPts val="0"/>
                        </a:spcAft>
                        <a:buClr>
                          <a:srgbClr val="002A44"/>
                        </a:buClr>
                        <a:buSzPts val="3000"/>
                        <a:buFont typeface="Montserrat"/>
                        <a:buChar char="●"/>
                      </a:pPr>
                      <a:r>
                        <a:rPr lang="en-US" sz="3000" b="1">
                          <a:solidFill>
                            <a:srgbClr val="002A44"/>
                          </a:solidFill>
                          <a:latin typeface="Montserrat"/>
                          <a:ea typeface="Montserrat"/>
                          <a:cs typeface="Montserrat"/>
                          <a:sym typeface="Montserrat"/>
                        </a:rPr>
                        <a:t>Likely a mixture of Slack, email, or through GitHub.</a:t>
                      </a:r>
                    </a:p>
                    <a:p>
                      <a:pPr marL="457200" lvl="0" indent="-419100" algn="l" rtl="0">
                        <a:lnSpc>
                          <a:spcPct val="115000"/>
                        </a:lnSpc>
                        <a:spcBef>
                          <a:spcPts val="0"/>
                        </a:spcBef>
                        <a:spcAft>
                          <a:spcPts val="0"/>
                        </a:spcAft>
                        <a:buClr>
                          <a:srgbClr val="002A44"/>
                        </a:buClr>
                        <a:buSzPts val="3000"/>
                        <a:buFont typeface="Montserrat"/>
                        <a:buChar char="●"/>
                      </a:pPr>
                      <a:r>
                        <a:rPr lang="en-US" sz="3000" b="1">
                          <a:solidFill>
                            <a:srgbClr val="002A44"/>
                          </a:solidFill>
                          <a:latin typeface="Montserrat"/>
                          <a:ea typeface="Montserrat"/>
                          <a:cs typeface="Montserrat"/>
                          <a:sym typeface="Montserrat"/>
                        </a:rPr>
                        <a:t>Please work out directly with your challenge advisor(s)</a:t>
                      </a:r>
                    </a:p>
                  </a:txBody>
                  <a:tcPr marL="91425" marR="91425" marT="91425" marB="91425">
                    <a:solidFill>
                      <a:srgbClr val="E7FF8F"/>
                    </a:solidFill>
                  </a:tcPr>
                </a:tc>
                <a:extLst>
                  <a:ext uri="{0D108BD9-81ED-4DB2-BD59-A6C34878D82A}">
                    <a16:rowId xmlns:a16="http://schemas.microsoft.com/office/drawing/2014/main" val="10002"/>
                  </a:ext>
                </a:extLst>
              </a:tr>
              <a:tr h="381000">
                <a:tc>
                  <a:txBody>
                    <a:bodyPr/>
                    <a:lstStyle/>
                    <a:p>
                      <a:pPr marL="0" lvl="0" indent="0" algn="l" rtl="0">
                        <a:spcBef>
                          <a:spcPts val="0"/>
                        </a:spcBef>
                        <a:spcAft>
                          <a:spcPts val="0"/>
                        </a:spcAft>
                        <a:buNone/>
                      </a:pPr>
                      <a:r>
                        <a:rPr lang="en-US" sz="3000" b="1">
                          <a:solidFill>
                            <a:srgbClr val="002A44"/>
                          </a:solidFill>
                          <a:latin typeface="Montserrat"/>
                          <a:ea typeface="Montserrat"/>
                          <a:cs typeface="Montserrat"/>
                          <a:sym typeface="Montserrat"/>
                        </a:rPr>
                        <a:t>Tools and platforms</a:t>
                      </a:r>
                      <a:endParaRPr sz="3000" b="1">
                        <a:solidFill>
                          <a:srgbClr val="002A44"/>
                        </a:solidFill>
                        <a:latin typeface="Montserrat"/>
                        <a:ea typeface="Montserrat"/>
                        <a:cs typeface="Montserrat"/>
                        <a:sym typeface="Montserrat"/>
                      </a:endParaRPr>
                    </a:p>
                  </a:txBody>
                  <a:tcPr marL="91425" marR="91425" marT="91425" marB="91425">
                    <a:solidFill>
                      <a:srgbClr val="E7FF8F"/>
                    </a:solidFill>
                  </a:tcPr>
                </a:tc>
                <a:tc>
                  <a:txBody>
                    <a:bodyPr/>
                    <a:lstStyle/>
                    <a:p>
                      <a:pPr marL="457200" lvl="0" indent="-419100" algn="l" rtl="0">
                        <a:lnSpc>
                          <a:spcPct val="115000"/>
                        </a:lnSpc>
                        <a:spcBef>
                          <a:spcPts val="0"/>
                        </a:spcBef>
                        <a:spcAft>
                          <a:spcPts val="0"/>
                        </a:spcAft>
                        <a:buClr>
                          <a:srgbClr val="002A44"/>
                        </a:buClr>
                        <a:buSzPts val="3000"/>
                        <a:buFont typeface="Montserrat"/>
                        <a:buChar char="●"/>
                      </a:pPr>
                      <a:r>
                        <a:rPr lang="en-US" sz="3000" b="1">
                          <a:solidFill>
                            <a:srgbClr val="002A44"/>
                          </a:solidFill>
                          <a:latin typeface="Montserrat"/>
                          <a:ea typeface="Montserrat"/>
                          <a:cs typeface="Montserrat"/>
                          <a:sym typeface="Montserrat"/>
                        </a:rPr>
                        <a:t>VS Code, Google Colab, Git, and GitHub; Teams/Zoom!</a:t>
                      </a:r>
                    </a:p>
                  </a:txBody>
                  <a:tcPr marL="91425" marR="91425" marT="91425" marB="91425">
                    <a:solidFill>
                      <a:srgbClr val="E7FF8F"/>
                    </a:solidFill>
                  </a:tcPr>
                </a:tc>
                <a:extLst>
                  <a:ext uri="{0D108BD9-81ED-4DB2-BD59-A6C34878D82A}">
                    <a16:rowId xmlns:a16="http://schemas.microsoft.com/office/drawing/2014/main" val="10003"/>
                  </a:ext>
                </a:extLst>
              </a:tr>
              <a:tr h="381000">
                <a:tc>
                  <a:txBody>
                    <a:bodyPr/>
                    <a:lstStyle/>
                    <a:p>
                      <a:pPr marL="0" lvl="0" indent="0" algn="l" rtl="0">
                        <a:spcBef>
                          <a:spcPts val="0"/>
                        </a:spcBef>
                        <a:spcAft>
                          <a:spcPts val="0"/>
                        </a:spcAft>
                        <a:buNone/>
                      </a:pPr>
                      <a:r>
                        <a:rPr lang="en-US" sz="3000" b="1">
                          <a:solidFill>
                            <a:srgbClr val="002A44"/>
                          </a:solidFill>
                          <a:latin typeface="Montserrat"/>
                          <a:ea typeface="Montserrat"/>
                          <a:cs typeface="Montserrat"/>
                          <a:sym typeface="Montserrat"/>
                        </a:rPr>
                        <a:t>Other project norms </a:t>
                      </a:r>
                      <a:endParaRPr sz="3000" b="1">
                        <a:solidFill>
                          <a:srgbClr val="002A44"/>
                        </a:solidFill>
                        <a:latin typeface="Montserrat"/>
                        <a:ea typeface="Montserrat"/>
                        <a:cs typeface="Montserrat"/>
                        <a:sym typeface="Montserrat"/>
                      </a:endParaRPr>
                    </a:p>
                  </a:txBody>
                  <a:tcPr marL="91425" marR="91425" marT="91425" marB="91425">
                    <a:solidFill>
                      <a:srgbClr val="E7FF8F"/>
                    </a:solidFill>
                  </a:tcPr>
                </a:tc>
                <a:tc>
                  <a:txBody>
                    <a:bodyPr/>
                    <a:lstStyle/>
                    <a:p>
                      <a:pPr marL="457200" lvl="0" indent="-419100" algn="l" rtl="0">
                        <a:lnSpc>
                          <a:spcPct val="115000"/>
                        </a:lnSpc>
                        <a:spcBef>
                          <a:spcPts val="0"/>
                        </a:spcBef>
                        <a:spcAft>
                          <a:spcPts val="0"/>
                        </a:spcAft>
                        <a:buClr>
                          <a:srgbClr val="002A44"/>
                        </a:buClr>
                        <a:buSzPts val="3000"/>
                        <a:buFont typeface="Montserrat"/>
                        <a:buChar char="●"/>
                      </a:pPr>
                      <a:r>
                        <a:rPr lang="en-US" sz="3000" b="1">
                          <a:solidFill>
                            <a:srgbClr val="002A44"/>
                          </a:solidFill>
                          <a:latin typeface="Montserrat"/>
                          <a:ea typeface="Montserrat"/>
                          <a:cs typeface="Montserrat"/>
                          <a:sym typeface="Montserrat"/>
                        </a:rPr>
                        <a:t>Can vary a lot(!)</a:t>
                      </a:r>
                    </a:p>
                    <a:p>
                      <a:pPr marL="457200" lvl="0" indent="-419100" algn="l" rtl="0">
                        <a:lnSpc>
                          <a:spcPct val="115000"/>
                        </a:lnSpc>
                        <a:spcBef>
                          <a:spcPts val="0"/>
                        </a:spcBef>
                        <a:spcAft>
                          <a:spcPts val="0"/>
                        </a:spcAft>
                        <a:buClr>
                          <a:srgbClr val="002A44"/>
                        </a:buClr>
                        <a:buSzPts val="3000"/>
                        <a:buFont typeface="Montserrat"/>
                        <a:buChar char="●"/>
                      </a:pPr>
                      <a:r>
                        <a:rPr lang="en-US" sz="3000" b="1">
                          <a:solidFill>
                            <a:srgbClr val="002A44"/>
                          </a:solidFill>
                          <a:latin typeface="Montserrat"/>
                          <a:ea typeface="Montserrat"/>
                          <a:cs typeface="Montserrat"/>
                          <a:sym typeface="Montserrat"/>
                        </a:rPr>
                        <a:t>Scrum or Kanban good to adopt, but discuss as a team and with your advisors to find what feels best for you</a:t>
                      </a:r>
                    </a:p>
                  </a:txBody>
                  <a:tcPr marL="91425" marR="91425" marT="91425" marB="91425">
                    <a:solidFill>
                      <a:srgbClr val="E7FF8F"/>
                    </a:solidFill>
                  </a:tcPr>
                </a:tc>
                <a:extLst>
                  <a:ext uri="{0D108BD9-81ED-4DB2-BD59-A6C34878D82A}">
                    <a16:rowId xmlns:a16="http://schemas.microsoft.com/office/drawing/2014/main" val="10004"/>
                  </a:ext>
                </a:extLst>
              </a:tr>
            </a:tbl>
          </a:graphicData>
        </a:graphic>
      </p:graphicFrame>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1483"/>
        <p:cNvGrpSpPr/>
        <p:nvPr/>
      </p:nvGrpSpPr>
      <p:grpSpPr>
        <a:xfrm>
          <a:off x="0" y="0"/>
          <a:ext cx="0" cy="0"/>
          <a:chOff x="0" y="0"/>
          <a:chExt cx="0" cy="0"/>
        </a:xfrm>
      </p:grpSpPr>
      <p:sp>
        <p:nvSpPr>
          <p:cNvPr id="1484" name="Google Shape;1484;p114"/>
          <p:cNvSpPr/>
          <p:nvPr/>
        </p:nvSpPr>
        <p:spPr>
          <a:xfrm>
            <a:off x="1990350" y="5588801"/>
            <a:ext cx="6466500" cy="6186671"/>
          </a:xfrm>
          <a:prstGeom prst="roundRect">
            <a:avLst>
              <a:gd name="adj" fmla="val 16667"/>
            </a:avLst>
          </a:prstGeom>
          <a:solidFill>
            <a:srgbClr val="002D45"/>
          </a:solidFill>
          <a:ln w="9525" cap="flat" cmpd="sng">
            <a:solidFill>
              <a:schemeClr val="dk2"/>
            </a:solidFill>
            <a:prstDash val="solid"/>
            <a:round/>
            <a:headEnd type="none" w="sm" len="sm"/>
            <a:tailEnd type="none" w="sm" len="sm"/>
          </a:ln>
        </p:spPr>
        <p:txBody>
          <a:bodyPr spcFirstLastPara="1" wrap="square" lIns="243750" tIns="121850" rIns="243750" bIns="243750" anchor="t" anchorCtr="0">
            <a:noAutofit/>
          </a:bodyPr>
          <a:lstStyle/>
          <a:p>
            <a:pPr marL="0" lvl="0" indent="0" algn="ctr" rtl="0">
              <a:spcBef>
                <a:spcPts val="0"/>
              </a:spcBef>
              <a:spcAft>
                <a:spcPts val="0"/>
              </a:spcAft>
              <a:buNone/>
            </a:pPr>
            <a:r>
              <a:rPr lang="en-US" sz="3600" b="1">
                <a:solidFill>
                  <a:srgbClr val="C1F400"/>
                </a:solidFill>
                <a:latin typeface="Montserrat"/>
                <a:ea typeface="Montserrat Black"/>
                <a:cs typeface="Montserrat Black"/>
                <a:sym typeface="Montserrat Black"/>
              </a:rPr>
              <a:t>Review &amp; ask</a:t>
            </a:r>
          </a:p>
          <a:p>
            <a:pPr marL="0" lvl="0" indent="0" algn="ctr" rtl="0">
              <a:spcBef>
                <a:spcPts val="0"/>
              </a:spcBef>
              <a:spcAft>
                <a:spcPts val="0"/>
              </a:spcAft>
              <a:buNone/>
            </a:pPr>
            <a:br>
              <a:rPr lang="en-US" sz="3600">
                <a:solidFill>
                  <a:schemeClr val="lt1"/>
                </a:solidFill>
                <a:latin typeface="Montserrat"/>
                <a:ea typeface="Montserrat"/>
                <a:cs typeface="Montserrat"/>
                <a:sym typeface="Montserrat"/>
              </a:rPr>
            </a:br>
            <a:r>
              <a:rPr lang="en-US" sz="3600">
                <a:solidFill>
                  <a:schemeClr val="lt1"/>
                </a:solidFill>
                <a:latin typeface="Montserrat"/>
                <a:ea typeface="Montserrat"/>
                <a:cs typeface="Montserrat"/>
                <a:sym typeface="Montserrat"/>
              </a:rPr>
              <a:t>We’ll email you a copy of this deck to store in your Google Drive project folder. Review it as a team and note down any questions you’d like to discuss in our next meeting.</a:t>
            </a:r>
          </a:p>
        </p:txBody>
      </p:sp>
      <p:sp>
        <p:nvSpPr>
          <p:cNvPr id="1485" name="Google Shape;1485;p114"/>
          <p:cNvSpPr/>
          <p:nvPr/>
        </p:nvSpPr>
        <p:spPr>
          <a:xfrm>
            <a:off x="8891006" y="5589016"/>
            <a:ext cx="6294600" cy="6186671"/>
          </a:xfrm>
          <a:prstGeom prst="roundRect">
            <a:avLst>
              <a:gd name="adj" fmla="val 16667"/>
            </a:avLst>
          </a:prstGeom>
          <a:solidFill>
            <a:srgbClr val="002D45"/>
          </a:solidFill>
          <a:ln w="9525" cap="flat" cmpd="sng">
            <a:solidFill>
              <a:schemeClr val="dk2"/>
            </a:solidFill>
            <a:prstDash val="solid"/>
            <a:round/>
            <a:headEnd type="none" w="sm" len="sm"/>
            <a:tailEnd type="none" w="sm" len="sm"/>
          </a:ln>
        </p:spPr>
        <p:txBody>
          <a:bodyPr spcFirstLastPara="1" wrap="square" lIns="243750" tIns="121850" rIns="243750" bIns="243750" anchor="t" anchorCtr="0">
            <a:noAutofit/>
          </a:bodyPr>
          <a:lstStyle/>
          <a:p>
            <a:pPr marL="0" lvl="0" indent="0" algn="ctr" rtl="0">
              <a:spcBef>
                <a:spcPts val="0"/>
              </a:spcBef>
              <a:spcAft>
                <a:spcPts val="0"/>
              </a:spcAft>
              <a:buClr>
                <a:schemeClr val="dk1"/>
              </a:buClr>
              <a:buSzPts val="1100"/>
              <a:buFont typeface="Arial"/>
              <a:buNone/>
            </a:pPr>
            <a:r>
              <a:rPr lang="en-US" sz="3600" b="1">
                <a:solidFill>
                  <a:srgbClr val="C1F400"/>
                </a:solidFill>
                <a:latin typeface="Montserrat Black"/>
                <a:ea typeface="Montserrat Black"/>
                <a:cs typeface="Montserrat Black"/>
                <a:sym typeface="Montserrat Black"/>
              </a:rPr>
              <a:t>“Scope and Deliverables”</a:t>
            </a:r>
            <a:br>
              <a:rPr lang="en-US" sz="3600">
                <a:solidFill>
                  <a:schemeClr val="lt1"/>
                </a:solidFill>
                <a:latin typeface="Montserrat"/>
                <a:ea typeface="Montserrat"/>
                <a:cs typeface="Montserrat"/>
                <a:sym typeface="Montserrat"/>
              </a:rPr>
            </a:br>
            <a:endParaRPr lang="en-US" sz="3600">
              <a:solidFill>
                <a:schemeClr val="lt1"/>
              </a:solidFill>
              <a:latin typeface="Montserrat"/>
              <a:ea typeface="Montserrat"/>
              <a:cs typeface="Montserrat"/>
              <a:sym typeface="Montserrat"/>
            </a:endParaRPr>
          </a:p>
          <a:p>
            <a:pPr marL="0" lvl="0" indent="0" algn="ctr" rtl="0">
              <a:spcBef>
                <a:spcPts val="0"/>
              </a:spcBef>
              <a:spcAft>
                <a:spcPts val="0"/>
              </a:spcAft>
              <a:buClr>
                <a:schemeClr val="dk1"/>
              </a:buClr>
              <a:buSzPts val="1100"/>
              <a:buFont typeface="Arial"/>
              <a:buNone/>
            </a:pPr>
            <a:r>
              <a:rPr lang="en-US" sz="3600">
                <a:solidFill>
                  <a:schemeClr val="lt1"/>
                </a:solidFill>
                <a:latin typeface="Montserrat"/>
                <a:ea typeface="Montserrat"/>
                <a:cs typeface="Montserrat"/>
                <a:sym typeface="Montserrat"/>
              </a:rPr>
              <a:t>As a team, work on this required Break Through Tech assignment before and during your Sept 7th Maker Day. You’ll review it in your next meeting with your Challenge Advisor</a:t>
            </a:r>
            <a:endParaRPr lang="en-US" sz="3600">
              <a:solidFill>
                <a:srgbClr val="C1F400"/>
              </a:solidFill>
              <a:latin typeface="Montserrat Black"/>
              <a:ea typeface="Montserrat Black"/>
              <a:cs typeface="Montserrat Black"/>
              <a:sym typeface="Montserrat Black"/>
            </a:endParaRPr>
          </a:p>
          <a:p>
            <a:pPr marL="0" lvl="0" indent="0" algn="l" rtl="0">
              <a:spcBef>
                <a:spcPts val="0"/>
              </a:spcBef>
              <a:spcAft>
                <a:spcPts val="0"/>
              </a:spcAft>
              <a:buClr>
                <a:schemeClr val="dk1"/>
              </a:buClr>
              <a:buSzPts val="1100"/>
              <a:buFont typeface="Arial"/>
              <a:buNone/>
            </a:pPr>
            <a:endParaRPr sz="3600">
              <a:solidFill>
                <a:schemeClr val="lt1"/>
              </a:solidFill>
              <a:latin typeface="Montserrat"/>
              <a:ea typeface="Montserrat"/>
              <a:cs typeface="Montserrat"/>
              <a:sym typeface="Montserrat"/>
            </a:endParaRPr>
          </a:p>
        </p:txBody>
      </p:sp>
      <p:sp>
        <p:nvSpPr>
          <p:cNvPr id="1486" name="Google Shape;1486;p114"/>
          <p:cNvSpPr/>
          <p:nvPr/>
        </p:nvSpPr>
        <p:spPr>
          <a:xfrm>
            <a:off x="15791650" y="5588798"/>
            <a:ext cx="6294600" cy="6186890"/>
          </a:xfrm>
          <a:prstGeom prst="roundRect">
            <a:avLst>
              <a:gd name="adj" fmla="val 16667"/>
            </a:avLst>
          </a:prstGeom>
          <a:solidFill>
            <a:srgbClr val="002D45"/>
          </a:solidFill>
          <a:ln w="9525" cap="flat" cmpd="sng">
            <a:solidFill>
              <a:schemeClr val="dk2"/>
            </a:solidFill>
            <a:prstDash val="solid"/>
            <a:round/>
            <a:headEnd type="none" w="sm" len="sm"/>
            <a:tailEnd type="none" w="sm" len="sm"/>
          </a:ln>
        </p:spPr>
        <p:txBody>
          <a:bodyPr spcFirstLastPara="1" wrap="square" lIns="243750" tIns="121850" rIns="243750" bIns="243750" anchor="t" anchorCtr="0">
            <a:noAutofit/>
          </a:bodyPr>
          <a:lstStyle/>
          <a:p>
            <a:pPr marL="0" lvl="0" indent="0" algn="ctr" rtl="0">
              <a:spcBef>
                <a:spcPts val="0"/>
              </a:spcBef>
              <a:spcAft>
                <a:spcPts val="0"/>
              </a:spcAft>
              <a:buClr>
                <a:schemeClr val="dk1"/>
              </a:buClr>
              <a:buSzPts val="1100"/>
              <a:buFont typeface="Arial"/>
              <a:buNone/>
            </a:pPr>
            <a:r>
              <a:rPr lang="en-US" sz="3600" b="1">
                <a:solidFill>
                  <a:srgbClr val="C1F400"/>
                </a:solidFill>
                <a:latin typeface="Montserrat Black"/>
                <a:ea typeface="Montserrat Black"/>
                <a:cs typeface="Montserrat Black"/>
                <a:sym typeface="Montserrat Black"/>
              </a:rPr>
              <a:t>Next Steps</a:t>
            </a:r>
          </a:p>
          <a:p>
            <a:pPr marL="0" lvl="0" indent="0" algn="ctr" rtl="0">
              <a:spcBef>
                <a:spcPts val="0"/>
              </a:spcBef>
              <a:spcAft>
                <a:spcPts val="0"/>
              </a:spcAft>
              <a:buClr>
                <a:schemeClr val="dk1"/>
              </a:buClr>
              <a:buSzPts val="1100"/>
              <a:buFont typeface="Arial"/>
              <a:buNone/>
            </a:pPr>
            <a:endParaRPr lang="en-US" sz="3600">
              <a:solidFill>
                <a:schemeClr val="lt1"/>
              </a:solidFill>
              <a:latin typeface="Montserrat"/>
              <a:ea typeface="Montserrat"/>
              <a:cs typeface="Montserrat"/>
              <a:sym typeface="Montserrat"/>
            </a:endParaRPr>
          </a:p>
          <a:p>
            <a:pPr marL="571500" lvl="0" indent="-571500" algn="l" rtl="0">
              <a:spcBef>
                <a:spcPts val="0"/>
              </a:spcBef>
              <a:spcAft>
                <a:spcPts val="0"/>
              </a:spcAft>
              <a:buClr>
                <a:schemeClr val="bg1"/>
              </a:buClr>
              <a:buSzPts val="1100"/>
              <a:buFont typeface="Courier New" panose="02070309020205020404" pitchFamily="49" charset="0"/>
              <a:buChar char="o"/>
            </a:pPr>
            <a:r>
              <a:rPr lang="en-US" sz="3600">
                <a:solidFill>
                  <a:schemeClr val="lt1"/>
                </a:solidFill>
                <a:latin typeface="Montserrat"/>
                <a:ea typeface="Montserrat"/>
                <a:cs typeface="Montserrat"/>
                <a:sym typeface="Montserrat"/>
              </a:rPr>
              <a:t>Check your access to the datasets in the SFTP</a:t>
            </a:r>
          </a:p>
          <a:p>
            <a:pPr marL="571500" lvl="0" indent="-571500" algn="l" rtl="0">
              <a:spcBef>
                <a:spcPts val="0"/>
              </a:spcBef>
              <a:spcAft>
                <a:spcPts val="0"/>
              </a:spcAft>
              <a:buClr>
                <a:schemeClr val="bg1"/>
              </a:buClr>
              <a:buSzPts val="1100"/>
              <a:buFont typeface="Courier New" panose="02070309020205020404" pitchFamily="49" charset="0"/>
              <a:buChar char="o"/>
            </a:pPr>
            <a:r>
              <a:rPr lang="en-US" sz="3600">
                <a:solidFill>
                  <a:schemeClr val="lt1"/>
                </a:solidFill>
                <a:latin typeface="Montserrat"/>
                <a:ea typeface="Montserrat"/>
                <a:cs typeface="Montserrat"/>
                <a:sym typeface="Montserrat"/>
              </a:rPr>
              <a:t>Set up the Dev/PM tools</a:t>
            </a:r>
          </a:p>
          <a:p>
            <a:pPr marL="571500" lvl="0" indent="-571500" algn="l" rtl="0">
              <a:spcBef>
                <a:spcPts val="0"/>
              </a:spcBef>
              <a:spcAft>
                <a:spcPts val="0"/>
              </a:spcAft>
              <a:buClr>
                <a:schemeClr val="bg1"/>
              </a:buClr>
              <a:buSzPts val="1100"/>
              <a:buFont typeface="Courier New" panose="02070309020205020404" pitchFamily="49" charset="0"/>
              <a:buChar char="o"/>
            </a:pPr>
            <a:r>
              <a:rPr lang="en-US" sz="3600">
                <a:solidFill>
                  <a:schemeClr val="lt1"/>
                </a:solidFill>
                <a:latin typeface="Montserrat"/>
                <a:ea typeface="Montserrat"/>
                <a:cs typeface="Montserrat"/>
                <a:sym typeface="Montserrat"/>
              </a:rPr>
              <a:t>Get familiar with the datasets</a:t>
            </a:r>
          </a:p>
          <a:p>
            <a:pPr marL="571500" lvl="0" indent="-571500" algn="l" rtl="0">
              <a:spcBef>
                <a:spcPts val="0"/>
              </a:spcBef>
              <a:spcAft>
                <a:spcPts val="0"/>
              </a:spcAft>
              <a:buClr>
                <a:schemeClr val="bg1"/>
              </a:buClr>
              <a:buSzPts val="1100"/>
              <a:buFont typeface="Courier New" panose="02070309020205020404" pitchFamily="49" charset="0"/>
              <a:buChar char="o"/>
            </a:pPr>
            <a:r>
              <a:rPr lang="en-US" sz="3600">
                <a:solidFill>
                  <a:schemeClr val="bg1"/>
                </a:solidFill>
                <a:latin typeface="Montserrat Black"/>
                <a:ea typeface="Montserrat Black"/>
                <a:cs typeface="Montserrat Black"/>
                <a:sym typeface="Montserrat Black"/>
              </a:rPr>
              <a:t>Do research on the problem &amp; C5LA</a:t>
            </a:r>
          </a:p>
          <a:p>
            <a:pPr marL="571500" lvl="0" indent="-571500" algn="l" rtl="0">
              <a:spcBef>
                <a:spcPts val="0"/>
              </a:spcBef>
              <a:spcAft>
                <a:spcPts val="0"/>
              </a:spcAft>
              <a:buClr>
                <a:schemeClr val="bg1"/>
              </a:buClr>
              <a:buSzPts val="1100"/>
              <a:buFont typeface="Courier New" panose="02070309020205020404" pitchFamily="49" charset="0"/>
              <a:buChar char="o"/>
            </a:pPr>
            <a:r>
              <a:rPr lang="en-US" sz="3600">
                <a:solidFill>
                  <a:schemeClr val="bg1"/>
                </a:solidFill>
                <a:latin typeface="Montserrat Black"/>
                <a:ea typeface="Montserrat Black"/>
                <a:cs typeface="Montserrat Black"/>
                <a:sym typeface="Montserrat Black"/>
              </a:rPr>
              <a:t>Meet your advisor(s)!</a:t>
            </a:r>
          </a:p>
          <a:p>
            <a:pPr marL="571500" lvl="0" indent="-571500" algn="l" rtl="0">
              <a:spcBef>
                <a:spcPts val="0"/>
              </a:spcBef>
              <a:spcAft>
                <a:spcPts val="0"/>
              </a:spcAft>
              <a:buClr>
                <a:schemeClr val="bg1"/>
              </a:buClr>
              <a:buSzPts val="1100"/>
              <a:buFont typeface="Courier New" panose="02070309020205020404" pitchFamily="49" charset="0"/>
              <a:buChar char="o"/>
            </a:pPr>
            <a:endParaRPr lang="en-US" sz="3600">
              <a:solidFill>
                <a:schemeClr val="bg1"/>
              </a:solidFill>
              <a:latin typeface="Montserrat Black"/>
              <a:ea typeface="Montserrat Black"/>
              <a:cs typeface="Montserrat Black"/>
              <a:sym typeface="Montserrat Black"/>
            </a:endParaRPr>
          </a:p>
        </p:txBody>
      </p:sp>
      <p:sp>
        <p:nvSpPr>
          <p:cNvPr id="1487" name="Google Shape;1487;p114"/>
          <p:cNvSpPr txBox="1"/>
          <p:nvPr/>
        </p:nvSpPr>
        <p:spPr>
          <a:xfrm>
            <a:off x="1990350" y="2201850"/>
            <a:ext cx="20267400" cy="13704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US" sz="7200">
                <a:solidFill>
                  <a:srgbClr val="002A44"/>
                </a:solidFill>
                <a:latin typeface="Montserrat Black"/>
                <a:ea typeface="Montserrat Black"/>
                <a:cs typeface="Montserrat Black"/>
                <a:sym typeface="Montserrat Black"/>
              </a:rPr>
              <a:t>How to get started</a:t>
            </a:r>
            <a:endParaRPr sz="7200">
              <a:solidFill>
                <a:srgbClr val="002A44"/>
              </a:solidFill>
              <a:latin typeface="Montserrat Black"/>
              <a:ea typeface="Montserrat Black"/>
              <a:cs typeface="Montserrat Black"/>
              <a:sym typeface="Montserrat Black"/>
            </a:endParaRPr>
          </a:p>
        </p:txBody>
      </p:sp>
      <p:sp>
        <p:nvSpPr>
          <p:cNvPr id="1488" name="Google Shape;1488;p114"/>
          <p:cNvSpPr txBox="1"/>
          <p:nvPr/>
        </p:nvSpPr>
        <p:spPr>
          <a:xfrm>
            <a:off x="1990350" y="3850250"/>
            <a:ext cx="19818300" cy="1538853"/>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4400">
                <a:solidFill>
                  <a:srgbClr val="002A44"/>
                </a:solidFill>
                <a:latin typeface="Montserrat"/>
                <a:ea typeface="Montserrat"/>
                <a:cs typeface="Montserrat"/>
                <a:sym typeface="Montserrat"/>
              </a:rPr>
              <a:t>Here’s what we suggest for your immediate next steps. We’ll follow up on your progress and help address any challenges in our next check-in meeting: </a:t>
            </a:r>
            <a:endParaRPr sz="4400">
              <a:latin typeface="Montserrat"/>
              <a:ea typeface="Montserrat"/>
              <a:cs typeface="Montserrat"/>
              <a:sym typeface="Montserrat"/>
            </a:endParaRPr>
          </a:p>
        </p:txBody>
      </p:sp>
    </p:spTree>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492"/>
        <p:cNvGrpSpPr/>
        <p:nvPr/>
      </p:nvGrpSpPr>
      <p:grpSpPr>
        <a:xfrm>
          <a:off x="0" y="0"/>
          <a:ext cx="0" cy="0"/>
          <a:chOff x="0" y="0"/>
          <a:chExt cx="0" cy="0"/>
        </a:xfrm>
      </p:grpSpPr>
      <p:sp>
        <p:nvSpPr>
          <p:cNvPr id="1493" name="Google Shape;1493;p115"/>
          <p:cNvSpPr txBox="1"/>
          <p:nvPr/>
        </p:nvSpPr>
        <p:spPr>
          <a:xfrm>
            <a:off x="830984" y="3311200"/>
            <a:ext cx="23546700" cy="8878500"/>
          </a:xfrm>
          <a:prstGeom prst="rect">
            <a:avLst/>
          </a:prstGeom>
          <a:noFill/>
          <a:ln>
            <a:noFill/>
          </a:ln>
        </p:spPr>
        <p:txBody>
          <a:bodyPr spcFirstLastPara="1" wrap="square" lIns="243750" tIns="243750" rIns="243750" bIns="243750" anchor="t" anchorCtr="0">
            <a:noAutofit/>
          </a:bodyPr>
          <a:lstStyle/>
          <a:p>
            <a:pPr marL="0" lvl="0" indent="0" algn="l" rtl="0">
              <a:spcBef>
                <a:spcPts val="0"/>
              </a:spcBef>
              <a:spcAft>
                <a:spcPts val="0"/>
              </a:spcAft>
              <a:buNone/>
            </a:pPr>
            <a:endParaRPr sz="4800">
              <a:solidFill>
                <a:schemeClr val="dk1"/>
              </a:solidFill>
              <a:latin typeface="Open Sans"/>
              <a:ea typeface="Open Sans"/>
              <a:cs typeface="Open Sans"/>
              <a:sym typeface="Open Sans"/>
            </a:endParaRPr>
          </a:p>
        </p:txBody>
      </p:sp>
      <p:sp>
        <p:nvSpPr>
          <p:cNvPr id="1494" name="Google Shape;1494;p115"/>
          <p:cNvSpPr txBox="1"/>
          <p:nvPr/>
        </p:nvSpPr>
        <p:spPr>
          <a:xfrm>
            <a:off x="9202735" y="4134175"/>
            <a:ext cx="12801600" cy="7578300"/>
          </a:xfrm>
          <a:prstGeom prst="rect">
            <a:avLst/>
          </a:prstGeom>
          <a:noFill/>
          <a:ln>
            <a:noFill/>
          </a:ln>
        </p:spPr>
        <p:txBody>
          <a:bodyPr spcFirstLastPara="1" wrap="square" lIns="243750" tIns="243750" rIns="243750" bIns="243750" anchor="t" anchorCtr="0">
            <a:noAutofit/>
          </a:bodyPr>
          <a:lstStyle/>
          <a:p>
            <a:pPr marL="0" lvl="0" indent="0" algn="l" rtl="0">
              <a:lnSpc>
                <a:spcPct val="150000"/>
              </a:lnSpc>
              <a:spcBef>
                <a:spcPts val="0"/>
              </a:spcBef>
              <a:spcAft>
                <a:spcPts val="0"/>
              </a:spcAft>
              <a:buClr>
                <a:schemeClr val="dk1"/>
              </a:buClr>
              <a:buSzPts val="1100"/>
              <a:buFont typeface="Arial"/>
              <a:buNone/>
            </a:pPr>
            <a:r>
              <a:rPr lang="en-US" sz="4800">
                <a:solidFill>
                  <a:schemeClr val="dk1"/>
                </a:solidFill>
                <a:latin typeface="Montserrat"/>
                <a:ea typeface="Montserrat"/>
                <a:cs typeface="Montserrat"/>
                <a:sym typeface="Montserrat"/>
              </a:rPr>
              <a:t>What questions do you have?</a:t>
            </a:r>
            <a:endParaRPr sz="4800">
              <a:solidFill>
                <a:schemeClr val="dk1"/>
              </a:solidFill>
              <a:latin typeface="Montserrat"/>
              <a:ea typeface="Montserrat"/>
              <a:cs typeface="Montserrat"/>
              <a:sym typeface="Montserrat"/>
            </a:endParaRPr>
          </a:p>
          <a:p>
            <a:pPr marL="0" lvl="0" indent="0" algn="l" rtl="0">
              <a:lnSpc>
                <a:spcPct val="150000"/>
              </a:lnSpc>
              <a:spcBef>
                <a:spcPts val="0"/>
              </a:spcBef>
              <a:spcAft>
                <a:spcPts val="0"/>
              </a:spcAft>
              <a:buClr>
                <a:schemeClr val="dk1"/>
              </a:buClr>
              <a:buSzPts val="1100"/>
              <a:buFont typeface="Arial"/>
              <a:buNone/>
            </a:pPr>
            <a:r>
              <a:rPr lang="en-US" sz="4800">
                <a:solidFill>
                  <a:schemeClr val="dk1"/>
                </a:solidFill>
                <a:latin typeface="Montserrat"/>
                <a:ea typeface="Montserrat"/>
                <a:cs typeface="Montserrat"/>
                <a:sym typeface="Montserrat"/>
              </a:rPr>
              <a:t>Anything I can help clarify?</a:t>
            </a:r>
            <a:endParaRPr sz="4800">
              <a:solidFill>
                <a:schemeClr val="dk1"/>
              </a:solidFill>
              <a:latin typeface="Montserrat"/>
              <a:ea typeface="Montserrat"/>
              <a:cs typeface="Montserrat"/>
              <a:sym typeface="Montserrat"/>
            </a:endParaRPr>
          </a:p>
          <a:p>
            <a:pPr marL="0" lvl="0" indent="0" algn="l" rtl="0">
              <a:lnSpc>
                <a:spcPct val="150000"/>
              </a:lnSpc>
              <a:spcBef>
                <a:spcPts val="0"/>
              </a:spcBef>
              <a:spcAft>
                <a:spcPts val="0"/>
              </a:spcAft>
              <a:buClr>
                <a:schemeClr val="dk1"/>
              </a:buClr>
              <a:buSzPts val="1100"/>
              <a:buFont typeface="Arial"/>
              <a:buNone/>
            </a:pPr>
            <a:r>
              <a:rPr lang="en-US" sz="4800">
                <a:solidFill>
                  <a:schemeClr val="dk1"/>
                </a:solidFill>
                <a:latin typeface="Montserrat"/>
                <a:ea typeface="Montserrat"/>
                <a:cs typeface="Montserrat"/>
                <a:sym typeface="Montserrat"/>
              </a:rPr>
              <a:t>What are you most excited about?</a:t>
            </a:r>
            <a:endParaRPr sz="4800">
              <a:solidFill>
                <a:schemeClr val="dk1"/>
              </a:solidFill>
              <a:latin typeface="Montserrat"/>
              <a:ea typeface="Montserrat"/>
              <a:cs typeface="Montserrat"/>
              <a:sym typeface="Montserrat"/>
            </a:endParaRPr>
          </a:p>
          <a:p>
            <a:pPr marL="0" lvl="0" indent="0" algn="l" rtl="0">
              <a:lnSpc>
                <a:spcPct val="150000"/>
              </a:lnSpc>
              <a:spcBef>
                <a:spcPts val="0"/>
              </a:spcBef>
              <a:spcAft>
                <a:spcPts val="0"/>
              </a:spcAft>
              <a:buClr>
                <a:schemeClr val="dk1"/>
              </a:buClr>
              <a:buSzPts val="1100"/>
              <a:buFont typeface="Arial"/>
              <a:buNone/>
            </a:pPr>
            <a:r>
              <a:rPr lang="en-US" sz="4800">
                <a:solidFill>
                  <a:schemeClr val="dk1"/>
                </a:solidFill>
                <a:latin typeface="Montserrat"/>
                <a:ea typeface="Montserrat"/>
                <a:cs typeface="Montserrat"/>
                <a:sym typeface="Montserrat"/>
              </a:rPr>
              <a:t>Anything you’re unsure about?</a:t>
            </a:r>
            <a:endParaRPr sz="4800">
              <a:solidFill>
                <a:schemeClr val="dk1"/>
              </a:solidFill>
              <a:latin typeface="Montserrat"/>
              <a:ea typeface="Montserrat"/>
              <a:cs typeface="Montserrat"/>
              <a:sym typeface="Montserrat"/>
            </a:endParaRPr>
          </a:p>
          <a:p>
            <a:pPr marL="0" marR="0" lvl="0" indent="0" algn="l" rtl="0">
              <a:lnSpc>
                <a:spcPct val="115000"/>
              </a:lnSpc>
              <a:spcBef>
                <a:spcPts val="0"/>
              </a:spcBef>
              <a:spcAft>
                <a:spcPts val="0"/>
              </a:spcAft>
              <a:buNone/>
            </a:pPr>
            <a:endParaRPr sz="4800">
              <a:solidFill>
                <a:schemeClr val="dk1"/>
              </a:solidFill>
              <a:latin typeface="Open Sans Light"/>
              <a:ea typeface="Open Sans Light"/>
              <a:cs typeface="Open Sans Light"/>
              <a:sym typeface="Open Sans Light"/>
            </a:endParaRPr>
          </a:p>
          <a:p>
            <a:pPr marL="0" lvl="0" indent="0" algn="l" rtl="0">
              <a:lnSpc>
                <a:spcPct val="115000"/>
              </a:lnSpc>
              <a:spcBef>
                <a:spcPts val="0"/>
              </a:spcBef>
              <a:spcAft>
                <a:spcPts val="0"/>
              </a:spcAft>
              <a:buNone/>
            </a:pPr>
            <a:endParaRPr sz="4800">
              <a:solidFill>
                <a:schemeClr val="dk1"/>
              </a:solidFill>
              <a:latin typeface="Open Sans Light"/>
              <a:ea typeface="Open Sans Light"/>
              <a:cs typeface="Open Sans Light"/>
              <a:sym typeface="Open Sans Light"/>
            </a:endParaRPr>
          </a:p>
          <a:p>
            <a:pPr marL="0" lvl="0" indent="0" algn="l" rtl="0">
              <a:lnSpc>
                <a:spcPct val="115000"/>
              </a:lnSpc>
              <a:spcBef>
                <a:spcPts val="0"/>
              </a:spcBef>
              <a:spcAft>
                <a:spcPts val="0"/>
              </a:spcAft>
              <a:buNone/>
            </a:pPr>
            <a:endParaRPr sz="4800">
              <a:solidFill>
                <a:schemeClr val="dk1"/>
              </a:solidFill>
              <a:latin typeface="Open Sans Light"/>
              <a:ea typeface="Open Sans Light"/>
              <a:cs typeface="Open Sans Light"/>
              <a:sym typeface="Open Sans Light"/>
            </a:endParaRPr>
          </a:p>
        </p:txBody>
      </p:sp>
      <p:pic>
        <p:nvPicPr>
          <p:cNvPr id="1495" name="Google Shape;1495;p115"/>
          <p:cNvPicPr preferRelativeResize="0"/>
          <p:nvPr/>
        </p:nvPicPr>
        <p:blipFill>
          <a:blip r:embed="rId3">
            <a:alphaModFix amt="75000"/>
          </a:blip>
          <a:stretch>
            <a:fillRect/>
          </a:stretch>
        </p:blipFill>
        <p:spPr>
          <a:xfrm>
            <a:off x="2995113" y="4375946"/>
            <a:ext cx="4964106" cy="4964106"/>
          </a:xfrm>
          <a:prstGeom prst="rect">
            <a:avLst/>
          </a:prstGeom>
          <a:noFill/>
          <a:ln>
            <a:noFill/>
          </a:ln>
        </p:spPr>
      </p:pic>
      <p:sp>
        <p:nvSpPr>
          <p:cNvPr id="1496" name="Google Shape;1496;p115"/>
          <p:cNvSpPr txBox="1"/>
          <p:nvPr/>
        </p:nvSpPr>
        <p:spPr>
          <a:xfrm>
            <a:off x="1990350" y="2201850"/>
            <a:ext cx="19257600" cy="13704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US" sz="7200">
                <a:solidFill>
                  <a:srgbClr val="002A44"/>
                </a:solidFill>
                <a:latin typeface="Montserrat Black"/>
                <a:ea typeface="Montserrat Black"/>
                <a:cs typeface="Montserrat Black"/>
                <a:sym typeface="Montserrat Black"/>
              </a:rPr>
              <a:t>Questions?</a:t>
            </a:r>
            <a:endParaRPr sz="7200">
              <a:solidFill>
                <a:srgbClr val="002A44"/>
              </a:solidFill>
              <a:latin typeface="Montserrat Black"/>
              <a:ea typeface="Montserrat Black"/>
              <a:cs typeface="Montserrat Black"/>
              <a:sym typeface="Montserrat Black"/>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B99CD2-D201-B23B-284E-DB9E1D5EB97F}"/>
              </a:ext>
            </a:extLst>
          </p:cNvPr>
          <p:cNvSpPr>
            <a:spLocks noGrp="1"/>
          </p:cNvSpPr>
          <p:nvPr>
            <p:ph type="title"/>
          </p:nvPr>
        </p:nvSpPr>
        <p:spPr/>
        <p:txBody>
          <a:bodyPr/>
          <a:lstStyle/>
          <a:p>
            <a:r>
              <a:rPr lang="en-US"/>
              <a:t>KPMG Overview</a:t>
            </a:r>
          </a:p>
        </p:txBody>
      </p:sp>
      <p:sp>
        <p:nvSpPr>
          <p:cNvPr id="4" name="Subtitle 3">
            <a:extLst>
              <a:ext uri="{FF2B5EF4-FFF2-40B4-BE49-F238E27FC236}">
                <a16:creationId xmlns:a16="http://schemas.microsoft.com/office/drawing/2014/main" id="{7669BE05-A9CA-5F98-D55E-9A3C012B2B2E}"/>
              </a:ext>
            </a:extLst>
          </p:cNvPr>
          <p:cNvSpPr>
            <a:spLocks noGrp="1"/>
          </p:cNvSpPr>
          <p:nvPr>
            <p:ph type="subTitle" idx="2"/>
          </p:nvPr>
        </p:nvSpPr>
        <p:spPr/>
        <p:txBody>
          <a:bodyPr/>
          <a:lstStyle/>
          <a:p>
            <a:endParaRPr lang="en-US"/>
          </a:p>
        </p:txBody>
      </p:sp>
      <p:pic>
        <p:nvPicPr>
          <p:cNvPr id="5" name="Picture 14">
            <a:extLst>
              <a:ext uri="{FF2B5EF4-FFF2-40B4-BE49-F238E27FC236}">
                <a16:creationId xmlns:a16="http://schemas.microsoft.com/office/drawing/2014/main" id="{70492C1F-83CC-5CB4-D9BC-E40BFE50C3E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70575" y="7260117"/>
            <a:ext cx="2644629" cy="195542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7774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D23A87-536F-50F1-446E-2FF6CC897E5F}"/>
            </a:ext>
          </a:extLst>
        </p:cNvPr>
        <p:cNvGrpSpPr/>
        <p:nvPr/>
      </p:nvGrpSpPr>
      <p:grpSpPr>
        <a:xfrm>
          <a:off x="0" y="0"/>
          <a:ext cx="0" cy="0"/>
          <a:chOff x="0" y="0"/>
          <a:chExt cx="0" cy="0"/>
        </a:xfrm>
      </p:grpSpPr>
      <p:pic>
        <p:nvPicPr>
          <p:cNvPr id="4" name="Picture 3" descr="A person talking to a person&#10;&#10;Description automatically generated">
            <a:extLst>
              <a:ext uri="{FF2B5EF4-FFF2-40B4-BE49-F238E27FC236}">
                <a16:creationId xmlns:a16="http://schemas.microsoft.com/office/drawing/2014/main" id="{E946178C-40CF-D5B0-445B-4F1D2ECCEA5A}"/>
              </a:ext>
            </a:extLst>
          </p:cNvPr>
          <p:cNvPicPr>
            <a:picLocks noChangeAspect="1"/>
          </p:cNvPicPr>
          <p:nvPr/>
        </p:nvPicPr>
        <p:blipFill>
          <a:blip r:embed="rId4"/>
          <a:stretch>
            <a:fillRect/>
          </a:stretch>
        </p:blipFill>
        <p:spPr>
          <a:xfrm>
            <a:off x="0" y="0"/>
            <a:ext cx="24384000" cy="13716000"/>
          </a:xfrm>
          <a:prstGeom prst="rect">
            <a:avLst/>
          </a:prstGeom>
        </p:spPr>
      </p:pic>
      <p:graphicFrame>
        <p:nvGraphicFramePr>
          <p:cNvPr id="24" name="Object 23" hidden="1">
            <a:extLst>
              <a:ext uri="{FF2B5EF4-FFF2-40B4-BE49-F238E27FC236}">
                <a16:creationId xmlns:a16="http://schemas.microsoft.com/office/drawing/2014/main" id="{6B9EE644-87D8-E8D5-2FAE-0C00374CFE88}"/>
              </a:ext>
            </a:extLst>
          </p:cNvPr>
          <p:cNvGraphicFramePr>
            <a:graphicFrameLocks noChangeAspect="1"/>
          </p:cNvGraphicFramePr>
          <p:nvPr>
            <p:custDataLst>
              <p:tags r:id="rId1"/>
            </p:custDataLst>
            <p:extLst>
              <p:ext uri="{D42A27DB-BD31-4B8C-83A1-F6EECF244321}">
                <p14:modId xmlns:p14="http://schemas.microsoft.com/office/powerpoint/2010/main" val="3471184548"/>
              </p:ext>
            </p:extLst>
          </p:nvPr>
        </p:nvGraphicFramePr>
        <p:xfrm>
          <a:off x="3175" y="4961"/>
          <a:ext cx="3175" cy="3175"/>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24" name="Object 23" hidden="1">
                        <a:extLst>
                          <a:ext uri="{FF2B5EF4-FFF2-40B4-BE49-F238E27FC236}">
                            <a16:creationId xmlns:a16="http://schemas.microsoft.com/office/drawing/2014/main" id="{6B9EE644-87D8-E8D5-2FAE-0C00374CFE88}"/>
                          </a:ext>
                        </a:extLst>
                      </p:cNvPr>
                      <p:cNvPicPr/>
                      <p:nvPr/>
                    </p:nvPicPr>
                    <p:blipFill>
                      <a:blip r:embed="rId6"/>
                      <a:stretch>
                        <a:fillRect/>
                      </a:stretch>
                    </p:blipFill>
                    <p:spPr>
                      <a:xfrm>
                        <a:off x="3175" y="4961"/>
                        <a:ext cx="3175" cy="3175"/>
                      </a:xfrm>
                      <a:prstGeom prst="rect">
                        <a:avLst/>
                      </a:prstGeom>
                    </p:spPr>
                  </p:pic>
                </p:oleObj>
              </mc:Fallback>
            </mc:AlternateContent>
          </a:graphicData>
        </a:graphic>
      </p:graphicFrame>
      <p:sp>
        <p:nvSpPr>
          <p:cNvPr id="1311" name="Google Shape;1311;p99"/>
          <p:cNvSpPr txBox="1"/>
          <p:nvPr/>
        </p:nvSpPr>
        <p:spPr>
          <a:xfrm>
            <a:off x="1990210" y="578136"/>
            <a:ext cx="22907100" cy="136865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0" indent="0">
              <a:buClr>
                <a:schemeClr val="lt1"/>
              </a:buClr>
              <a:buSzPts val="7200"/>
              <a:buFont typeface="Montserrat Black"/>
              <a:buNone/>
              <a:defRPr sz="7200">
                <a:solidFill>
                  <a:schemeClr val="lt1"/>
                </a:solidFill>
                <a:latin typeface="Montserrat Black"/>
                <a:ea typeface="Montserrat Black"/>
                <a:cs typeface="Montserrat Black"/>
                <a:sym typeface="Montserrat Black"/>
              </a:defRPr>
            </a:lvl1pPr>
            <a:lvl2pPr>
              <a:buClr>
                <a:schemeClr val="lt1"/>
              </a:buClr>
              <a:buSzPts val="7200"/>
              <a:buNone/>
              <a:defRPr sz="7200">
                <a:solidFill>
                  <a:schemeClr val="lt1"/>
                </a:solidFill>
              </a:defRPr>
            </a:lvl2pPr>
            <a:lvl3pPr>
              <a:buClr>
                <a:schemeClr val="lt1"/>
              </a:buClr>
              <a:buSzPts val="7200"/>
              <a:buNone/>
              <a:defRPr sz="7200">
                <a:solidFill>
                  <a:schemeClr val="lt1"/>
                </a:solidFill>
              </a:defRPr>
            </a:lvl3pPr>
            <a:lvl4pPr>
              <a:buClr>
                <a:schemeClr val="lt1"/>
              </a:buClr>
              <a:buSzPts val="7200"/>
              <a:buNone/>
              <a:defRPr sz="7200">
                <a:solidFill>
                  <a:schemeClr val="lt1"/>
                </a:solidFill>
              </a:defRPr>
            </a:lvl4pPr>
            <a:lvl5pPr>
              <a:buClr>
                <a:schemeClr val="lt1"/>
              </a:buClr>
              <a:buSzPts val="7200"/>
              <a:buNone/>
              <a:defRPr sz="7200">
                <a:solidFill>
                  <a:schemeClr val="lt1"/>
                </a:solidFill>
              </a:defRPr>
            </a:lvl5pPr>
            <a:lvl6pPr>
              <a:buClr>
                <a:schemeClr val="lt1"/>
              </a:buClr>
              <a:buSzPts val="7200"/>
              <a:buNone/>
              <a:defRPr sz="7200">
                <a:solidFill>
                  <a:schemeClr val="lt1"/>
                </a:solidFill>
              </a:defRPr>
            </a:lvl6pPr>
            <a:lvl7pPr>
              <a:buClr>
                <a:schemeClr val="lt1"/>
              </a:buClr>
              <a:buSzPts val="7200"/>
              <a:buNone/>
              <a:defRPr sz="7200">
                <a:solidFill>
                  <a:schemeClr val="lt1"/>
                </a:solidFill>
              </a:defRPr>
            </a:lvl7pPr>
            <a:lvl8pPr>
              <a:buClr>
                <a:schemeClr val="lt1"/>
              </a:buClr>
              <a:buSzPts val="7200"/>
              <a:buNone/>
              <a:defRPr sz="7200">
                <a:solidFill>
                  <a:schemeClr val="lt1"/>
                </a:solidFill>
              </a:defRPr>
            </a:lvl8pPr>
            <a:lvl9pPr>
              <a:buClr>
                <a:schemeClr val="lt1"/>
              </a:buClr>
              <a:buSzPts val="7200"/>
              <a:buNone/>
              <a:defRPr sz="7200">
                <a:solidFill>
                  <a:schemeClr val="lt1"/>
                </a:solidFill>
              </a:defRPr>
            </a:lvl9pPr>
          </a:lstStyle>
          <a:p>
            <a:r>
              <a:rPr lang="en-US" b="1">
                <a:solidFill>
                  <a:schemeClr val="accent2"/>
                </a:solidFill>
                <a:latin typeface="KPMG Bold" panose="020B0803030202040204" pitchFamily="34" charset="0"/>
              </a:rPr>
              <a:t>KPMG Company Overview</a:t>
            </a:r>
          </a:p>
        </p:txBody>
      </p:sp>
      <p:sp>
        <p:nvSpPr>
          <p:cNvPr id="1322" name="Google Shape;1322;p100"/>
          <p:cNvSpPr txBox="1">
            <a:spLocks/>
          </p:cNvSpPr>
          <p:nvPr/>
        </p:nvSpPr>
        <p:spPr>
          <a:xfrm>
            <a:off x="2127733" y="2311863"/>
            <a:ext cx="14242592" cy="2695288"/>
          </a:xfrm>
          <a:prstGeom prst="rect">
            <a:avLst/>
          </a:prstGeom>
          <a:noFill/>
        </p:spPr>
        <p:txBody>
          <a:bodyPr spcFirstLastPara="1" wrap="square" lIns="91425" tIns="91425" rIns="91425" bIns="91425" anchor="ctr" anchorCtr="0">
            <a:noAutofit/>
          </a:bodyPr>
          <a:lst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tx1"/>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tx1"/>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a:spcAft>
                <a:spcPts val="0"/>
              </a:spcAft>
              <a:buClr>
                <a:schemeClr val="dk1"/>
              </a:buClr>
              <a:buSzPts val="1100"/>
              <a:buFont typeface="Arial"/>
              <a:buNone/>
            </a:pPr>
            <a:r>
              <a:rPr lang="en-US" sz="2800"/>
              <a:t>KPMG is one of the world’s leading professional services firms and the fastest growing Big Four accounting firm in the United States. With 75+ offices and more than 40,000 employees and partners throughout the US, we’re leading the industry in new and exciting ways. Our size and strength make us much more agile and responsive to changing trends.</a:t>
            </a:r>
          </a:p>
        </p:txBody>
      </p:sp>
      <p:sp>
        <p:nvSpPr>
          <p:cNvPr id="2" name="Google Shape;1323;p100">
            <a:extLst>
              <a:ext uri="{FF2B5EF4-FFF2-40B4-BE49-F238E27FC236}">
                <a16:creationId xmlns:a16="http://schemas.microsoft.com/office/drawing/2014/main" id="{133DD46C-D74A-96E3-41D2-0FD1102C3BC6}"/>
              </a:ext>
            </a:extLst>
          </p:cNvPr>
          <p:cNvSpPr txBox="1">
            <a:spLocks/>
          </p:cNvSpPr>
          <p:nvPr/>
        </p:nvSpPr>
        <p:spPr>
          <a:xfrm>
            <a:off x="1734443" y="8067514"/>
            <a:ext cx="14734589" cy="2695288"/>
          </a:xfrm>
          <a:prstGeom prst="rect">
            <a:avLst/>
          </a:prstGeom>
          <a:noFill/>
          <a:ln>
            <a:noFill/>
          </a:ln>
        </p:spPr>
        <p:txBody>
          <a:bodyPr spcFirstLastPara="1" wrap="square" lIns="91425" tIns="91425" rIns="91425" bIns="91425" anchor="ctr" anchorCtr="0">
            <a:noAutofit/>
          </a:bodyPr>
          <a:lst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tx1"/>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tx1"/>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marL="571500" indent="-571500">
              <a:lnSpc>
                <a:spcPct val="150000"/>
              </a:lnSpc>
              <a:spcAft>
                <a:spcPts val="0"/>
              </a:spcAft>
              <a:buClrTx/>
              <a:buSzPct val="100000"/>
              <a:buFont typeface="Wingdings" panose="05000000000000000000" pitchFamily="2" charset="2"/>
              <a:buChar char="Ø"/>
            </a:pPr>
            <a:r>
              <a:rPr lang="en-US" sz="2800">
                <a:solidFill>
                  <a:schemeClr val="tx2"/>
                </a:solidFill>
              </a:rPr>
              <a:t>KPMG's core values are Integrity, Excellence, Courage, Together, and For Better.</a:t>
            </a:r>
          </a:p>
          <a:p>
            <a:pPr marL="571500" indent="-571500">
              <a:lnSpc>
                <a:spcPct val="150000"/>
              </a:lnSpc>
              <a:spcAft>
                <a:spcPts val="0"/>
              </a:spcAft>
              <a:buClrTx/>
              <a:buSzPct val="100000"/>
              <a:buFont typeface="Wingdings" panose="05000000000000000000" pitchFamily="2" charset="2"/>
              <a:buChar char="Ø"/>
            </a:pPr>
            <a:r>
              <a:rPr lang="en-US" sz="2800">
                <a:solidFill>
                  <a:schemeClr val="tx2"/>
                </a:solidFill>
              </a:rPr>
              <a:t>KPMG’s mission statement: "To inspire confidence and empower change“.</a:t>
            </a:r>
          </a:p>
          <a:p>
            <a:pPr marL="571500" indent="-571500">
              <a:lnSpc>
                <a:spcPct val="150000"/>
              </a:lnSpc>
              <a:spcAft>
                <a:spcPts val="0"/>
              </a:spcAft>
              <a:buClrTx/>
              <a:buSzPct val="100000"/>
              <a:buFont typeface="Wingdings" panose="05000000000000000000" pitchFamily="2" charset="2"/>
              <a:buChar char="Ø"/>
            </a:pPr>
            <a:r>
              <a:rPr lang="en-US" sz="2800">
                <a:solidFill>
                  <a:schemeClr val="tx2"/>
                </a:solidFill>
              </a:rPr>
              <a:t>KPMG aims to build trust and provide insightful advice to its clients</a:t>
            </a:r>
          </a:p>
        </p:txBody>
      </p:sp>
      <p:pic>
        <p:nvPicPr>
          <p:cNvPr id="1038" name="Picture 14">
            <a:extLst>
              <a:ext uri="{FF2B5EF4-FFF2-40B4-BE49-F238E27FC236}">
                <a16:creationId xmlns:a16="http://schemas.microsoft.com/office/drawing/2014/main" id="{14001741-49E0-C588-B40F-56FC2CE39DB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132416" y="5155306"/>
            <a:ext cx="3938642" cy="291220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0451401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D23A87-536F-50F1-446E-2FF6CC897E5F}"/>
            </a:ext>
          </a:extLst>
        </p:cNvPr>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6B9EE644-87D8-E8D5-2FAE-0C00374CFE88}"/>
              </a:ext>
            </a:extLst>
          </p:cNvPr>
          <p:cNvGraphicFramePr>
            <a:graphicFrameLocks noChangeAspect="1"/>
          </p:cNvGraphicFramePr>
          <p:nvPr>
            <p:custDataLst>
              <p:tags r:id="rId1"/>
            </p:custDataLst>
            <p:extLst>
              <p:ext uri="{D42A27DB-BD31-4B8C-83A1-F6EECF244321}">
                <p14:modId xmlns:p14="http://schemas.microsoft.com/office/powerpoint/2010/main" val="1489345758"/>
              </p:ext>
            </p:extLst>
          </p:nvPr>
        </p:nvGraphicFramePr>
        <p:xfrm>
          <a:off x="3175" y="4961"/>
          <a:ext cx="3175" cy="3175"/>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24" name="Object 23" hidden="1">
                        <a:extLst>
                          <a:ext uri="{FF2B5EF4-FFF2-40B4-BE49-F238E27FC236}">
                            <a16:creationId xmlns:a16="http://schemas.microsoft.com/office/drawing/2014/main" id="{6B9EE644-87D8-E8D5-2FAE-0C00374CFE88}"/>
                          </a:ext>
                        </a:extLst>
                      </p:cNvPr>
                      <p:cNvPicPr/>
                      <p:nvPr/>
                    </p:nvPicPr>
                    <p:blipFill>
                      <a:blip r:embed="rId6"/>
                      <a:stretch>
                        <a:fillRect/>
                      </a:stretch>
                    </p:blipFill>
                    <p:spPr>
                      <a:xfrm>
                        <a:off x="3175" y="4961"/>
                        <a:ext cx="3175" cy="3175"/>
                      </a:xfrm>
                      <a:prstGeom prst="rect">
                        <a:avLst/>
                      </a:prstGeom>
                    </p:spPr>
                  </p:pic>
                </p:oleObj>
              </mc:Fallback>
            </mc:AlternateContent>
          </a:graphicData>
        </a:graphic>
      </p:graphicFrame>
      <p:sp>
        <p:nvSpPr>
          <p:cNvPr id="1311" name="Google Shape;1311;p99"/>
          <p:cNvSpPr txBox="1"/>
          <p:nvPr/>
        </p:nvSpPr>
        <p:spPr>
          <a:xfrm>
            <a:off x="514827" y="497529"/>
            <a:ext cx="22907100" cy="222281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0" indent="0">
              <a:buClr>
                <a:schemeClr val="lt1"/>
              </a:buClr>
              <a:buSzPts val="7200"/>
              <a:buFont typeface="Montserrat Black"/>
              <a:buNone/>
              <a:defRPr sz="7200">
                <a:solidFill>
                  <a:schemeClr val="lt1"/>
                </a:solidFill>
                <a:latin typeface="Montserrat Black"/>
                <a:ea typeface="Montserrat Black"/>
                <a:cs typeface="Montserrat Black"/>
                <a:sym typeface="Montserrat Black"/>
              </a:defRPr>
            </a:lvl1pPr>
            <a:lvl2pPr>
              <a:buClr>
                <a:schemeClr val="lt1"/>
              </a:buClr>
              <a:buSzPts val="7200"/>
              <a:buNone/>
              <a:defRPr sz="7200">
                <a:solidFill>
                  <a:schemeClr val="lt1"/>
                </a:solidFill>
              </a:defRPr>
            </a:lvl2pPr>
            <a:lvl3pPr>
              <a:buClr>
                <a:schemeClr val="lt1"/>
              </a:buClr>
              <a:buSzPts val="7200"/>
              <a:buNone/>
              <a:defRPr sz="7200">
                <a:solidFill>
                  <a:schemeClr val="lt1"/>
                </a:solidFill>
              </a:defRPr>
            </a:lvl3pPr>
            <a:lvl4pPr>
              <a:buClr>
                <a:schemeClr val="lt1"/>
              </a:buClr>
              <a:buSzPts val="7200"/>
              <a:buNone/>
              <a:defRPr sz="7200">
                <a:solidFill>
                  <a:schemeClr val="lt1"/>
                </a:solidFill>
              </a:defRPr>
            </a:lvl4pPr>
            <a:lvl5pPr>
              <a:buClr>
                <a:schemeClr val="lt1"/>
              </a:buClr>
              <a:buSzPts val="7200"/>
              <a:buNone/>
              <a:defRPr sz="7200">
                <a:solidFill>
                  <a:schemeClr val="lt1"/>
                </a:solidFill>
              </a:defRPr>
            </a:lvl5pPr>
            <a:lvl6pPr>
              <a:buClr>
                <a:schemeClr val="lt1"/>
              </a:buClr>
              <a:buSzPts val="7200"/>
              <a:buNone/>
              <a:defRPr sz="7200">
                <a:solidFill>
                  <a:schemeClr val="lt1"/>
                </a:solidFill>
              </a:defRPr>
            </a:lvl6pPr>
            <a:lvl7pPr>
              <a:buClr>
                <a:schemeClr val="lt1"/>
              </a:buClr>
              <a:buSzPts val="7200"/>
              <a:buNone/>
              <a:defRPr sz="7200">
                <a:solidFill>
                  <a:schemeClr val="lt1"/>
                </a:solidFill>
              </a:defRPr>
            </a:lvl7pPr>
            <a:lvl8pPr>
              <a:buClr>
                <a:schemeClr val="lt1"/>
              </a:buClr>
              <a:buSzPts val="7200"/>
              <a:buNone/>
              <a:defRPr sz="7200">
                <a:solidFill>
                  <a:schemeClr val="lt1"/>
                </a:solidFill>
              </a:defRPr>
            </a:lvl8pPr>
            <a:lvl9pPr>
              <a:buClr>
                <a:schemeClr val="lt1"/>
              </a:buClr>
              <a:buSzPts val="7200"/>
              <a:buNone/>
              <a:defRPr sz="7200">
                <a:solidFill>
                  <a:schemeClr val="lt1"/>
                </a:solidFill>
              </a:defRPr>
            </a:lvl9pPr>
          </a:lstStyle>
          <a:p>
            <a:r>
              <a:rPr lang="en-US" b="1">
                <a:solidFill>
                  <a:schemeClr val="tx2"/>
                </a:solidFill>
                <a:latin typeface="+mj-lt"/>
              </a:rPr>
              <a:t>Your project was developed by University Innovation Programs (UIP) and Lighthouse</a:t>
            </a:r>
          </a:p>
        </p:txBody>
      </p:sp>
      <p:sp>
        <p:nvSpPr>
          <p:cNvPr id="16" name="Google Shape;1284;p96">
            <a:extLst>
              <a:ext uri="{FF2B5EF4-FFF2-40B4-BE49-F238E27FC236}">
                <a16:creationId xmlns:a16="http://schemas.microsoft.com/office/drawing/2014/main" id="{2FAC527B-41A8-E1B0-0D74-90E9D8AEFEE0}"/>
              </a:ext>
            </a:extLst>
          </p:cNvPr>
          <p:cNvSpPr/>
          <p:nvPr/>
        </p:nvSpPr>
        <p:spPr>
          <a:xfrm>
            <a:off x="3408219" y="3533051"/>
            <a:ext cx="8754192" cy="2639962"/>
          </a:xfrm>
          <a:prstGeom prst="rect">
            <a:avLst/>
          </a:prstGeom>
          <a:solidFill>
            <a:schemeClr val="tx2"/>
          </a:solidFill>
          <a:ln w="9525" cap="flat" cmpd="sng">
            <a:solidFill>
              <a:srgbClr val="002A44"/>
            </a:solidFill>
            <a:prstDash val="solid"/>
            <a:round/>
            <a:headEnd type="none" w="sm" len="sm"/>
            <a:tailEnd type="none" w="sm" len="sm"/>
          </a:ln>
        </p:spPr>
        <p:txBody>
          <a:bodyPr spcFirstLastPara="1" wrap="square" lIns="91425" tIns="91425" rIns="91425" bIns="91425" anchor="ctr" anchorCtr="0">
            <a:noAutofit/>
          </a:bodyPr>
          <a:lstStyle/>
          <a:p>
            <a:pPr marL="0" lvl="0" indent="0" rtl="0">
              <a:spcBef>
                <a:spcPts val="0"/>
              </a:spcBef>
              <a:spcAft>
                <a:spcPts val="0"/>
              </a:spcAft>
              <a:buNone/>
            </a:pPr>
            <a:r>
              <a:rPr lang="en-US" sz="4000"/>
              <a:t> </a:t>
            </a:r>
            <a:endParaRPr sz="4000"/>
          </a:p>
        </p:txBody>
      </p:sp>
      <p:sp>
        <p:nvSpPr>
          <p:cNvPr id="18" name="Google Shape;1284;p96">
            <a:extLst>
              <a:ext uri="{FF2B5EF4-FFF2-40B4-BE49-F238E27FC236}">
                <a16:creationId xmlns:a16="http://schemas.microsoft.com/office/drawing/2014/main" id="{A9B86DB0-DE63-E2BA-8CD5-3AE49301ECD4}"/>
              </a:ext>
            </a:extLst>
          </p:cNvPr>
          <p:cNvSpPr/>
          <p:nvPr/>
        </p:nvSpPr>
        <p:spPr>
          <a:xfrm>
            <a:off x="3408219" y="6348847"/>
            <a:ext cx="8754192" cy="5065251"/>
          </a:xfrm>
          <a:prstGeom prst="rect">
            <a:avLst/>
          </a:prstGeom>
          <a:solidFill>
            <a:schemeClr val="accent4">
              <a:lumMod val="20000"/>
              <a:lumOff val="80000"/>
            </a:schemeClr>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a:lnSpc>
                <a:spcPct val="150000"/>
              </a:lnSpc>
            </a:pPr>
            <a:endParaRPr sz="2800"/>
          </a:p>
        </p:txBody>
      </p:sp>
      <p:sp>
        <p:nvSpPr>
          <p:cNvPr id="28" name="TextBox 27">
            <a:extLst>
              <a:ext uri="{FF2B5EF4-FFF2-40B4-BE49-F238E27FC236}">
                <a16:creationId xmlns:a16="http://schemas.microsoft.com/office/drawing/2014/main" id="{CCC0F365-5D82-0909-5895-8A60DE27C24F}"/>
              </a:ext>
            </a:extLst>
          </p:cNvPr>
          <p:cNvSpPr txBox="1"/>
          <p:nvPr/>
        </p:nvSpPr>
        <p:spPr>
          <a:xfrm>
            <a:off x="3408218" y="2397759"/>
            <a:ext cx="10122488" cy="854914"/>
          </a:xfrm>
          <a:prstGeom prst="rect">
            <a:avLst/>
          </a:prstGeom>
          <a:noFill/>
        </p:spPr>
        <p:txBody>
          <a:bodyPr wrap="square">
            <a:spAutoFit/>
          </a:bodyPr>
          <a:lstStyle/>
          <a:p>
            <a:pPr>
              <a:lnSpc>
                <a:spcPct val="150000"/>
              </a:lnSpc>
            </a:pPr>
            <a:r>
              <a:rPr lang="en-US" sz="4000" b="1">
                <a:solidFill>
                  <a:schemeClr val="tx2"/>
                </a:solidFill>
                <a:latin typeface="+mj-lt"/>
              </a:rPr>
              <a:t>UIP </a:t>
            </a:r>
            <a:r>
              <a:rPr lang="en-US" sz="4000">
                <a:solidFill>
                  <a:schemeClr val="tx2"/>
                </a:solidFill>
                <a:latin typeface="+mj-lt"/>
              </a:rPr>
              <a:t>is a part of </a:t>
            </a:r>
            <a:r>
              <a:rPr lang="en-US" sz="4000" b="1">
                <a:solidFill>
                  <a:srgbClr val="00B0F0"/>
                </a:solidFill>
                <a:latin typeface="+mj-lt"/>
                <a:hlinkClick r:id="rId7">
                  <a:extLst>
                    <a:ext uri="{A12FA001-AC4F-418D-AE19-62706E023703}">
                      <ahyp:hlinkClr xmlns:ahyp="http://schemas.microsoft.com/office/drawing/2018/hyperlinkcolor" val="tx"/>
                    </a:ext>
                  </a:extLst>
                </a:hlinkClick>
              </a:rPr>
              <a:t>Data Citizens with Purpose</a:t>
            </a:r>
            <a:endParaRPr lang="en-US" sz="4000" b="1">
              <a:solidFill>
                <a:srgbClr val="00B0F0"/>
              </a:solidFill>
              <a:latin typeface="+mj-lt"/>
            </a:endParaRPr>
          </a:p>
        </p:txBody>
      </p:sp>
      <p:sp>
        <p:nvSpPr>
          <p:cNvPr id="34" name="TextBox 33">
            <a:extLst>
              <a:ext uri="{FF2B5EF4-FFF2-40B4-BE49-F238E27FC236}">
                <a16:creationId xmlns:a16="http://schemas.microsoft.com/office/drawing/2014/main" id="{2BB57484-F514-9B53-98F3-E76D85F9569F}"/>
              </a:ext>
            </a:extLst>
          </p:cNvPr>
          <p:cNvSpPr txBox="1"/>
          <p:nvPr/>
        </p:nvSpPr>
        <p:spPr>
          <a:xfrm>
            <a:off x="3903407" y="3830318"/>
            <a:ext cx="6774426" cy="2045427"/>
          </a:xfrm>
          <a:prstGeom prst="rect">
            <a:avLst/>
          </a:prstGeom>
        </p:spPr>
        <p:txBody>
          <a:bodyPr vert="horz" wrap="square" lIns="0" tIns="0" rIns="0" bIns="0" rtlCol="0" anchor="t" anchorCtr="0">
            <a:noAutofit/>
          </a:bodyPr>
          <a:lstStyle/>
          <a:p>
            <a:pPr>
              <a:spcAft>
                <a:spcPts val="600"/>
              </a:spcAft>
            </a:pPr>
            <a:r>
              <a:rPr lang="en-US" sz="2800" b="1">
                <a:solidFill>
                  <a:schemeClr val="bg1"/>
                </a:solidFill>
              </a:rPr>
              <a:t>Mission</a:t>
            </a:r>
          </a:p>
          <a:p>
            <a:pPr>
              <a:spcAft>
                <a:spcPts val="600"/>
              </a:spcAft>
            </a:pPr>
            <a:r>
              <a:rPr lang="en-US" sz="2800">
                <a:solidFill>
                  <a:schemeClr val="bg1"/>
                </a:solidFill>
              </a:rPr>
              <a:t>Provide university students with experiential learning opportunities that will enhance their digital literacy, as they explore future careers.</a:t>
            </a:r>
            <a:endParaRPr lang="en-US" sz="2800" b="1">
              <a:solidFill>
                <a:schemeClr val="tx2"/>
              </a:solidFill>
            </a:endParaRPr>
          </a:p>
        </p:txBody>
      </p:sp>
      <p:sp>
        <p:nvSpPr>
          <p:cNvPr id="35" name="TextBox 34">
            <a:extLst>
              <a:ext uri="{FF2B5EF4-FFF2-40B4-BE49-F238E27FC236}">
                <a16:creationId xmlns:a16="http://schemas.microsoft.com/office/drawing/2014/main" id="{7A4F65F7-7FEB-560E-CAFE-70552DB57EAC}"/>
              </a:ext>
            </a:extLst>
          </p:cNvPr>
          <p:cNvSpPr txBox="1"/>
          <p:nvPr/>
        </p:nvSpPr>
        <p:spPr>
          <a:xfrm>
            <a:off x="3859893" y="6525533"/>
            <a:ext cx="8108484" cy="4426506"/>
          </a:xfrm>
          <a:prstGeom prst="rect">
            <a:avLst/>
          </a:prstGeom>
        </p:spPr>
        <p:txBody>
          <a:bodyPr vert="horz" wrap="square" lIns="0" tIns="0" rIns="0" bIns="0" rtlCol="0" anchor="t" anchorCtr="0">
            <a:noAutofit/>
          </a:bodyPr>
          <a:lstStyle/>
          <a:p>
            <a:pPr>
              <a:lnSpc>
                <a:spcPct val="150000"/>
              </a:lnSpc>
            </a:pPr>
            <a:r>
              <a:rPr lang="en-US" sz="2800" b="1">
                <a:solidFill>
                  <a:schemeClr val="tx2"/>
                </a:solidFill>
              </a:rPr>
              <a:t>Objectives</a:t>
            </a:r>
          </a:p>
          <a:p>
            <a:pPr marL="457200" indent="-457200">
              <a:spcAft>
                <a:spcPts val="600"/>
              </a:spcAft>
              <a:buClr>
                <a:schemeClr val="tx2"/>
              </a:buClr>
              <a:buFont typeface="Arial" panose="020B0604020202020204" pitchFamily="34" charset="0"/>
              <a:buChar char="•"/>
            </a:pPr>
            <a:r>
              <a:rPr lang="en-US" sz="2800">
                <a:solidFill>
                  <a:schemeClr val="tx2"/>
                </a:solidFill>
              </a:rPr>
              <a:t>Improve the quality, quantity and diversity of university candidates applying to KPMG </a:t>
            </a:r>
          </a:p>
          <a:p>
            <a:pPr marL="457200" indent="-457200">
              <a:spcAft>
                <a:spcPts val="600"/>
              </a:spcAft>
              <a:buClr>
                <a:schemeClr val="tx2"/>
              </a:buClr>
              <a:buFont typeface="Arial" panose="020B0604020202020204" pitchFamily="34" charset="0"/>
              <a:buChar char="•"/>
            </a:pPr>
            <a:r>
              <a:rPr lang="en-US" sz="2800">
                <a:solidFill>
                  <a:schemeClr val="tx2"/>
                </a:solidFill>
              </a:rPr>
              <a:t>Prompt students to solve real-world, sustainability themed problems using leading practice data and analytic concepts and technology</a:t>
            </a:r>
          </a:p>
          <a:p>
            <a:pPr marL="457200" indent="-457200">
              <a:spcAft>
                <a:spcPts val="600"/>
              </a:spcAft>
              <a:buClr>
                <a:schemeClr val="tx2"/>
              </a:buClr>
              <a:buFont typeface="Arial" panose="020B0604020202020204" pitchFamily="34" charset="0"/>
              <a:buChar char="•"/>
            </a:pPr>
            <a:r>
              <a:rPr lang="en-US" sz="2800">
                <a:solidFill>
                  <a:schemeClr val="tx2"/>
                </a:solidFill>
              </a:rPr>
              <a:t>Prepare students to convey their analytic findings through storytelling instruction </a:t>
            </a:r>
          </a:p>
          <a:p>
            <a:pPr algn="l">
              <a:spcAft>
                <a:spcPts val="600"/>
              </a:spcAft>
            </a:pPr>
            <a:endParaRPr lang="en-US" sz="1500" b="1">
              <a:solidFill>
                <a:schemeClr val="tx2"/>
              </a:solidFill>
            </a:endParaRPr>
          </a:p>
        </p:txBody>
      </p:sp>
      <p:sp>
        <p:nvSpPr>
          <p:cNvPr id="53" name="Google Shape;1284;p96">
            <a:extLst>
              <a:ext uri="{FF2B5EF4-FFF2-40B4-BE49-F238E27FC236}">
                <a16:creationId xmlns:a16="http://schemas.microsoft.com/office/drawing/2014/main" id="{B9504E7E-398A-250F-2162-8144159A6AE8}"/>
              </a:ext>
            </a:extLst>
          </p:cNvPr>
          <p:cNvSpPr/>
          <p:nvPr/>
        </p:nvSpPr>
        <p:spPr>
          <a:xfrm>
            <a:off x="12657598" y="3577781"/>
            <a:ext cx="10122488" cy="2639962"/>
          </a:xfrm>
          <a:prstGeom prst="rect">
            <a:avLst/>
          </a:prstGeom>
          <a:solidFill>
            <a:schemeClr val="accent3"/>
          </a:solidFill>
          <a:ln w="9525" cap="flat" cmpd="sng">
            <a:solidFill>
              <a:srgbClr val="002A44"/>
            </a:solidFill>
            <a:prstDash val="solid"/>
            <a:round/>
            <a:headEnd type="none" w="sm" len="sm"/>
            <a:tailEnd type="none" w="sm" len="sm"/>
          </a:ln>
        </p:spPr>
        <p:txBody>
          <a:bodyPr spcFirstLastPara="1" wrap="square" lIns="91425" tIns="91425" rIns="91425" bIns="91425" anchor="ctr" anchorCtr="0">
            <a:noAutofit/>
          </a:bodyPr>
          <a:lstStyle/>
          <a:p>
            <a:pPr marL="0" lvl="0" indent="0" rtl="0">
              <a:spcBef>
                <a:spcPts val="0"/>
              </a:spcBef>
              <a:spcAft>
                <a:spcPts val="0"/>
              </a:spcAft>
              <a:buNone/>
            </a:pPr>
            <a:r>
              <a:rPr lang="en-US" sz="4000"/>
              <a:t> </a:t>
            </a:r>
            <a:endParaRPr sz="4000"/>
          </a:p>
        </p:txBody>
      </p:sp>
      <p:sp>
        <p:nvSpPr>
          <p:cNvPr id="54" name="Google Shape;1284;p96">
            <a:extLst>
              <a:ext uri="{FF2B5EF4-FFF2-40B4-BE49-F238E27FC236}">
                <a16:creationId xmlns:a16="http://schemas.microsoft.com/office/drawing/2014/main" id="{B105D755-0B19-611F-18C0-40A297849BAD}"/>
              </a:ext>
            </a:extLst>
          </p:cNvPr>
          <p:cNvSpPr/>
          <p:nvPr/>
        </p:nvSpPr>
        <p:spPr>
          <a:xfrm>
            <a:off x="12657598" y="6333578"/>
            <a:ext cx="10122488" cy="5065251"/>
          </a:xfrm>
          <a:prstGeom prst="rect">
            <a:avLst/>
          </a:prstGeom>
          <a:solidFill>
            <a:schemeClr val="accent1"/>
          </a:solidFill>
          <a:ln w="9525" cap="flat" cmpd="sng">
            <a:solidFill>
              <a:srgbClr val="002A44"/>
            </a:solidFill>
            <a:prstDash val="solid"/>
            <a:round/>
            <a:headEnd type="none" w="sm" len="sm"/>
            <a:tailEnd type="none" w="sm" len="sm"/>
          </a:ln>
        </p:spPr>
        <p:txBody>
          <a:bodyPr spcFirstLastPara="1" wrap="square" lIns="91425" tIns="91425" rIns="91425" bIns="91425" anchor="ctr" anchorCtr="0">
            <a:noAutofit/>
          </a:bodyPr>
          <a:lstStyle/>
          <a:p>
            <a:pPr>
              <a:lnSpc>
                <a:spcPct val="150000"/>
              </a:lnSpc>
            </a:pPr>
            <a:endParaRPr sz="2800"/>
          </a:p>
        </p:txBody>
      </p:sp>
      <p:sp>
        <p:nvSpPr>
          <p:cNvPr id="55" name="TextBox 54">
            <a:extLst>
              <a:ext uri="{FF2B5EF4-FFF2-40B4-BE49-F238E27FC236}">
                <a16:creationId xmlns:a16="http://schemas.microsoft.com/office/drawing/2014/main" id="{847D8222-23D3-089E-DC25-8E5E62257777}"/>
              </a:ext>
            </a:extLst>
          </p:cNvPr>
          <p:cNvSpPr txBox="1"/>
          <p:nvPr/>
        </p:nvSpPr>
        <p:spPr>
          <a:xfrm>
            <a:off x="12983673" y="3935397"/>
            <a:ext cx="9688257" cy="2045427"/>
          </a:xfrm>
          <a:prstGeom prst="rect">
            <a:avLst/>
          </a:prstGeom>
        </p:spPr>
        <p:txBody>
          <a:bodyPr vert="horz" wrap="square" lIns="0" tIns="0" rIns="0" bIns="0" rtlCol="0" anchor="t" anchorCtr="0">
            <a:noAutofit/>
          </a:bodyPr>
          <a:lstStyle/>
          <a:p>
            <a:pPr>
              <a:spcAft>
                <a:spcPts val="600"/>
              </a:spcAft>
            </a:pPr>
            <a:r>
              <a:rPr lang="en-US" sz="2800" b="1">
                <a:solidFill>
                  <a:schemeClr val="bg1"/>
                </a:solidFill>
              </a:rPr>
              <a:t>Mission</a:t>
            </a:r>
          </a:p>
          <a:p>
            <a:pPr>
              <a:spcAft>
                <a:spcPts val="600"/>
              </a:spcAft>
            </a:pPr>
            <a:r>
              <a:rPr lang="en-US" sz="2800">
                <a:solidFill>
                  <a:schemeClr val="bg1"/>
                </a:solidFill>
              </a:rPr>
              <a:t>To drive innovation and digital transformation by leveraging data, analytics, and artificial intelligence, enhancing client services and outcomes.</a:t>
            </a:r>
          </a:p>
        </p:txBody>
      </p:sp>
      <p:sp>
        <p:nvSpPr>
          <p:cNvPr id="56" name="TextBox 55">
            <a:extLst>
              <a:ext uri="{FF2B5EF4-FFF2-40B4-BE49-F238E27FC236}">
                <a16:creationId xmlns:a16="http://schemas.microsoft.com/office/drawing/2014/main" id="{58C1CEB3-5C7E-0071-188D-013B9186BE13}"/>
              </a:ext>
            </a:extLst>
          </p:cNvPr>
          <p:cNvSpPr txBox="1"/>
          <p:nvPr/>
        </p:nvSpPr>
        <p:spPr>
          <a:xfrm>
            <a:off x="12983674" y="6525511"/>
            <a:ext cx="9688257" cy="4792729"/>
          </a:xfrm>
          <a:prstGeom prst="rect">
            <a:avLst/>
          </a:prstGeom>
          <a:ln>
            <a:noFill/>
          </a:ln>
        </p:spPr>
        <p:txBody>
          <a:bodyPr vert="horz" wrap="square" lIns="0" tIns="0" rIns="0" bIns="0" rtlCol="0" anchor="t" anchorCtr="0">
            <a:noAutofit/>
          </a:bodyPr>
          <a:lstStyle/>
          <a:p>
            <a:pPr>
              <a:lnSpc>
                <a:spcPct val="150000"/>
              </a:lnSpc>
            </a:pPr>
            <a:r>
              <a:rPr lang="en-US" sz="2800" b="1">
                <a:solidFill>
                  <a:schemeClr val="bg1"/>
                </a:solidFill>
              </a:rPr>
              <a:t>Objectives</a:t>
            </a:r>
          </a:p>
          <a:p>
            <a:pPr marL="457200" indent="-457200">
              <a:spcAft>
                <a:spcPts val="600"/>
              </a:spcAft>
              <a:buClr>
                <a:schemeClr val="bg1"/>
              </a:buClr>
              <a:buFont typeface="Arial" panose="020B0604020202020204" pitchFamily="34" charset="0"/>
              <a:buChar char="•"/>
            </a:pPr>
            <a:r>
              <a:rPr lang="en-US" sz="2800">
                <a:solidFill>
                  <a:schemeClr val="bg1"/>
                </a:solidFill>
              </a:rPr>
              <a:t>Integrate advanced analytics, AI, and machine learning capabilities across KPMG's service lines, aiming to provide clients with innovative, data-driven insights and solutions that address complex business challenges.</a:t>
            </a:r>
          </a:p>
          <a:p>
            <a:pPr marL="457200" indent="-457200">
              <a:spcAft>
                <a:spcPts val="600"/>
              </a:spcAft>
              <a:buClr>
                <a:schemeClr val="bg1"/>
              </a:buClr>
              <a:buFont typeface="Arial" panose="020B0604020202020204" pitchFamily="34" charset="0"/>
              <a:buChar char="•"/>
            </a:pPr>
            <a:r>
              <a:rPr lang="en-US" sz="2800">
                <a:solidFill>
                  <a:schemeClr val="bg1"/>
                </a:solidFill>
              </a:rPr>
              <a:t>To establish and maintain a leadership position in the digital and technological space by continuously evolving and expanding expertise in data science and engineering, ensuring KPMG remains at the forefront of industry innovation and client service excellence.</a:t>
            </a:r>
            <a:endParaRPr lang="en-US" sz="1500" b="1">
              <a:solidFill>
                <a:schemeClr val="tx2"/>
              </a:solidFill>
            </a:endParaRPr>
          </a:p>
        </p:txBody>
      </p:sp>
      <p:pic>
        <p:nvPicPr>
          <p:cNvPr id="58" name="Graphic 57" descr="Idea with solid fill">
            <a:extLst>
              <a:ext uri="{FF2B5EF4-FFF2-40B4-BE49-F238E27FC236}">
                <a16:creationId xmlns:a16="http://schemas.microsoft.com/office/drawing/2014/main" id="{4EDB4D31-078E-7D6D-6C2D-7F526311C8B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10647" y="7951803"/>
            <a:ext cx="1828800" cy="1828800"/>
          </a:xfrm>
          <a:prstGeom prst="rect">
            <a:avLst/>
          </a:prstGeom>
        </p:spPr>
      </p:pic>
      <p:sp>
        <p:nvSpPr>
          <p:cNvPr id="2" name="TextBox 1">
            <a:extLst>
              <a:ext uri="{FF2B5EF4-FFF2-40B4-BE49-F238E27FC236}">
                <a16:creationId xmlns:a16="http://schemas.microsoft.com/office/drawing/2014/main" id="{CB0733ED-9E27-E3C1-6BA7-E9CC456B91F0}"/>
              </a:ext>
            </a:extLst>
          </p:cNvPr>
          <p:cNvSpPr txBox="1"/>
          <p:nvPr/>
        </p:nvSpPr>
        <p:spPr>
          <a:xfrm>
            <a:off x="12657598" y="2485676"/>
            <a:ext cx="10122488" cy="854914"/>
          </a:xfrm>
          <a:prstGeom prst="rect">
            <a:avLst/>
          </a:prstGeom>
          <a:noFill/>
        </p:spPr>
        <p:txBody>
          <a:bodyPr wrap="square">
            <a:spAutoFit/>
          </a:bodyPr>
          <a:lstStyle/>
          <a:p>
            <a:pPr>
              <a:lnSpc>
                <a:spcPct val="150000"/>
              </a:lnSpc>
            </a:pPr>
            <a:r>
              <a:rPr lang="en-US" sz="4000" b="1">
                <a:solidFill>
                  <a:schemeClr val="tx2"/>
                </a:solidFill>
                <a:latin typeface="+mj-lt"/>
              </a:rPr>
              <a:t>Lighthouse</a:t>
            </a:r>
            <a:endParaRPr lang="en-US" sz="4000" b="1">
              <a:solidFill>
                <a:srgbClr val="00B0F0"/>
              </a:solidFill>
              <a:latin typeface="+mj-lt"/>
            </a:endParaRPr>
          </a:p>
        </p:txBody>
      </p:sp>
      <p:pic>
        <p:nvPicPr>
          <p:cNvPr id="3" name="Graphic 2" descr="Business Growth with solid fill">
            <a:extLst>
              <a:ext uri="{FF2B5EF4-FFF2-40B4-BE49-F238E27FC236}">
                <a16:creationId xmlns:a16="http://schemas.microsoft.com/office/drawing/2014/main" id="{AFCDDC6E-66C5-50F2-68FE-159C1022BAA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87229" y="3935397"/>
            <a:ext cx="1828800" cy="1828800"/>
          </a:xfrm>
          <a:prstGeom prst="rect">
            <a:avLst/>
          </a:prstGeom>
        </p:spPr>
      </p:pic>
    </p:spTree>
    <p:extLst>
      <p:ext uri="{BB962C8B-B14F-4D97-AF65-F5344CB8AC3E}">
        <p14:creationId xmlns:p14="http://schemas.microsoft.com/office/powerpoint/2010/main" val="1323328111"/>
      </p:ext>
    </p:extLst>
  </p:cSld>
  <p:clrMapOvr>
    <a:masterClrMapping/>
  </p:clrMapOvr>
  <p:extLst>
    <p:ext uri="{6950BFC3-D8DA-4A85-94F7-54DA5524770B}">
      <p188:commentRel xmlns:p188="http://schemas.microsoft.com/office/powerpoint/2018/8/main" r:id="rId4"/>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B99CD2-D201-B23B-284E-DB9E1D5EB97F}"/>
              </a:ext>
            </a:extLst>
          </p:cNvPr>
          <p:cNvSpPr>
            <a:spLocks noGrp="1"/>
          </p:cNvSpPr>
          <p:nvPr>
            <p:ph type="title"/>
          </p:nvPr>
        </p:nvSpPr>
        <p:spPr/>
        <p:txBody>
          <a:bodyPr/>
          <a:lstStyle/>
          <a:p>
            <a:r>
              <a:rPr lang="en-US"/>
              <a:t>Challenge Overview</a:t>
            </a:r>
          </a:p>
        </p:txBody>
      </p:sp>
      <p:sp>
        <p:nvSpPr>
          <p:cNvPr id="3" name="Subtitle 2">
            <a:extLst>
              <a:ext uri="{FF2B5EF4-FFF2-40B4-BE49-F238E27FC236}">
                <a16:creationId xmlns:a16="http://schemas.microsoft.com/office/drawing/2014/main" id="{4D025F7B-32AF-DCE5-E86C-2B0099546A4E}"/>
              </a:ext>
            </a:extLst>
          </p:cNvPr>
          <p:cNvSpPr>
            <a:spLocks noGrp="1"/>
          </p:cNvSpPr>
          <p:nvPr>
            <p:ph type="subTitle" idx="1"/>
          </p:nvPr>
        </p:nvSpPr>
        <p:spPr/>
        <p:txBody>
          <a:bodyPr/>
          <a:lstStyle/>
          <a:p>
            <a:endParaRPr lang="en-US"/>
          </a:p>
        </p:txBody>
      </p:sp>
      <p:sp>
        <p:nvSpPr>
          <p:cNvPr id="4" name="Subtitle 3">
            <a:extLst>
              <a:ext uri="{FF2B5EF4-FFF2-40B4-BE49-F238E27FC236}">
                <a16:creationId xmlns:a16="http://schemas.microsoft.com/office/drawing/2014/main" id="{7669BE05-A9CA-5F98-D55E-9A3C012B2B2E}"/>
              </a:ext>
            </a:extLst>
          </p:cNvPr>
          <p:cNvSpPr>
            <a:spLocks noGrp="1"/>
          </p:cNvSpPr>
          <p:nvPr>
            <p:ph type="subTitle" idx="2"/>
          </p:nvPr>
        </p:nvSpPr>
        <p:spPr/>
        <p:txBody>
          <a:bodyPr/>
          <a:lstStyle/>
          <a:p>
            <a:endParaRPr lang="en-US"/>
          </a:p>
        </p:txBody>
      </p:sp>
    </p:spTree>
    <p:extLst>
      <p:ext uri="{BB962C8B-B14F-4D97-AF65-F5344CB8AC3E}">
        <p14:creationId xmlns:p14="http://schemas.microsoft.com/office/powerpoint/2010/main" val="38862381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02A44"/>
        </a:solidFill>
        <a:effectLst/>
      </p:bgPr>
    </p:bg>
    <p:spTree>
      <p:nvGrpSpPr>
        <p:cNvPr id="1" name="Shape 1346"/>
        <p:cNvGrpSpPr/>
        <p:nvPr/>
      </p:nvGrpSpPr>
      <p:grpSpPr>
        <a:xfrm>
          <a:off x="0" y="0"/>
          <a:ext cx="0" cy="0"/>
          <a:chOff x="0" y="0"/>
          <a:chExt cx="0" cy="0"/>
        </a:xfrm>
      </p:grpSpPr>
      <p:sp>
        <p:nvSpPr>
          <p:cNvPr id="1347" name="Google Shape;1347;p102"/>
          <p:cNvSpPr txBox="1">
            <a:spLocks noGrp="1"/>
          </p:cNvSpPr>
          <p:nvPr>
            <p:ph type="title"/>
          </p:nvPr>
        </p:nvSpPr>
        <p:spPr>
          <a:xfrm>
            <a:off x="1908375" y="1231950"/>
            <a:ext cx="21437400" cy="15564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en-US"/>
              <a:t>AI Studio Challenge Project Overview</a:t>
            </a:r>
            <a:endParaRPr lang="en-US" sz="6000"/>
          </a:p>
        </p:txBody>
      </p:sp>
      <p:sp>
        <p:nvSpPr>
          <p:cNvPr id="1348" name="Google Shape;1348;p102"/>
          <p:cNvSpPr txBox="1"/>
          <p:nvPr/>
        </p:nvSpPr>
        <p:spPr>
          <a:xfrm>
            <a:off x="1908375" y="2514029"/>
            <a:ext cx="20560900" cy="7652525"/>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Clr>
                <a:schemeClr val="dk1"/>
              </a:buClr>
              <a:buSzPts val="1100"/>
              <a:buFont typeface="Arial"/>
              <a:buNone/>
            </a:pPr>
            <a:r>
              <a:rPr lang="en-US" sz="3600" b="1">
                <a:solidFill>
                  <a:srgbClr val="C1F400"/>
                </a:solidFill>
                <a:latin typeface="Open Sans"/>
                <a:ea typeface="Open Sans"/>
                <a:cs typeface="Open Sans"/>
                <a:sym typeface="Open Sans"/>
              </a:rPr>
              <a:t>CHALLENGE SUMMARY</a:t>
            </a:r>
          </a:p>
          <a:p>
            <a:pPr marL="0" lvl="0" indent="0" algn="l" rtl="0">
              <a:lnSpc>
                <a:spcPct val="115000"/>
              </a:lnSpc>
              <a:spcBef>
                <a:spcPts val="0"/>
              </a:spcBef>
              <a:spcAft>
                <a:spcPts val="0"/>
              </a:spcAft>
              <a:buClr>
                <a:schemeClr val="dk1"/>
              </a:buClr>
              <a:buSzPts val="1100"/>
              <a:buFont typeface="Arial"/>
              <a:buNone/>
            </a:pPr>
            <a:r>
              <a:rPr lang="en-US" sz="3600">
                <a:solidFill>
                  <a:schemeClr val="lt1"/>
                </a:solidFill>
                <a:latin typeface="Open Sans"/>
                <a:ea typeface="Open Sans"/>
                <a:cs typeface="Open Sans"/>
                <a:sym typeface="Open Sans"/>
              </a:rPr>
              <a:t>Given the donation history of individual households and corporations to a non-profit organization, use machine learning to predict the likelihood of future donations. This will help the client gain insights into their donor base, better understand donor behavior, and effectively target future outreach efforts.</a:t>
            </a:r>
            <a:endParaRPr lang="en-US" sz="3600" b="1">
              <a:solidFill>
                <a:srgbClr val="C1F400"/>
              </a:solidFill>
              <a:latin typeface="Open Sans"/>
              <a:ea typeface="Open Sans"/>
              <a:cs typeface="Open Sans"/>
              <a:sym typeface="Open Sans"/>
            </a:endParaRPr>
          </a:p>
          <a:p>
            <a:pPr marL="0" lvl="0" indent="0" algn="l" rtl="0">
              <a:lnSpc>
                <a:spcPct val="115000"/>
              </a:lnSpc>
              <a:spcBef>
                <a:spcPts val="0"/>
              </a:spcBef>
              <a:spcAft>
                <a:spcPts val="0"/>
              </a:spcAft>
              <a:buClr>
                <a:schemeClr val="dk1"/>
              </a:buClr>
              <a:buSzPts val="1100"/>
              <a:buFont typeface="Arial"/>
              <a:buNone/>
            </a:pPr>
            <a:r>
              <a:rPr lang="en-US" sz="3600" b="1">
                <a:solidFill>
                  <a:srgbClr val="C1F400"/>
                </a:solidFill>
                <a:latin typeface="Open Sans"/>
                <a:ea typeface="Open Sans"/>
                <a:cs typeface="Open Sans"/>
                <a:sym typeface="Open Sans"/>
              </a:rPr>
              <a:t>YOUR TEAM’S OBJECTIVE</a:t>
            </a:r>
            <a:endParaRPr lang="en-US" sz="3600">
              <a:solidFill>
                <a:srgbClr val="00B0F0"/>
              </a:solidFill>
              <a:latin typeface="Open Sans"/>
              <a:ea typeface="Open Sans"/>
              <a:cs typeface="Open Sans"/>
              <a:sym typeface="Open Sans"/>
            </a:endParaRPr>
          </a:p>
          <a:p>
            <a:pPr marL="914400" lvl="0" indent="-457200" algn="l" rtl="0">
              <a:lnSpc>
                <a:spcPct val="115000"/>
              </a:lnSpc>
              <a:spcBef>
                <a:spcPts val="0"/>
              </a:spcBef>
              <a:spcAft>
                <a:spcPts val="0"/>
              </a:spcAft>
              <a:buClr>
                <a:schemeClr val="lt1"/>
              </a:buClr>
              <a:buSzPts val="3600"/>
              <a:buFont typeface="Open Sans"/>
              <a:buChar char="●"/>
            </a:pPr>
            <a:r>
              <a:rPr lang="en-US" sz="3600">
                <a:solidFill>
                  <a:schemeClr val="lt1"/>
                </a:solidFill>
                <a:latin typeface="Open Sans"/>
                <a:ea typeface="Open Sans"/>
                <a:cs typeface="Open Sans"/>
                <a:sym typeface="Open Sans"/>
              </a:rPr>
              <a:t>Develop a machine learning model that can accurately predict the likelihood of future donations from individual donors or corporations.</a:t>
            </a:r>
          </a:p>
          <a:p>
            <a:pPr marL="914400" lvl="0" indent="-457200" algn="l" rtl="0">
              <a:lnSpc>
                <a:spcPct val="115000"/>
              </a:lnSpc>
              <a:spcBef>
                <a:spcPts val="0"/>
              </a:spcBef>
              <a:spcAft>
                <a:spcPts val="0"/>
              </a:spcAft>
              <a:buClr>
                <a:schemeClr val="lt1"/>
              </a:buClr>
              <a:buSzPts val="3600"/>
              <a:buFont typeface="Open Sans"/>
              <a:buChar char="●"/>
            </a:pPr>
            <a:r>
              <a:rPr lang="en-US" sz="3600">
                <a:solidFill>
                  <a:schemeClr val="lt1"/>
                </a:solidFill>
                <a:latin typeface="Open Sans"/>
                <a:ea typeface="Open Sans"/>
                <a:cs typeface="Open Sans"/>
                <a:sym typeface="Open Sans"/>
              </a:rPr>
              <a:t>Perform comprehensive exploratory data analysis (EDA) to uncover insights and trends in the donor data.</a:t>
            </a:r>
          </a:p>
          <a:p>
            <a:pPr marL="914400" lvl="0" indent="-457200" algn="l" rtl="0">
              <a:lnSpc>
                <a:spcPct val="115000"/>
              </a:lnSpc>
              <a:spcBef>
                <a:spcPts val="0"/>
              </a:spcBef>
              <a:spcAft>
                <a:spcPts val="0"/>
              </a:spcAft>
              <a:buClr>
                <a:schemeClr val="lt1"/>
              </a:buClr>
              <a:buSzPts val="3600"/>
              <a:buFont typeface="Open Sans"/>
              <a:buChar char="●"/>
            </a:pPr>
            <a:r>
              <a:rPr lang="en-US" sz="3600">
                <a:solidFill>
                  <a:schemeClr val="lt1"/>
                </a:solidFill>
                <a:latin typeface="Open Sans"/>
                <a:ea typeface="Open Sans"/>
                <a:cs typeface="Open Sans"/>
                <a:sym typeface="Open Sans"/>
              </a:rPr>
              <a:t>Engineer relevant features and create donor profiles by joining and transforming the donor data and ACS sociodemographic data and uncovering important features for your model.</a:t>
            </a:r>
          </a:p>
          <a:p>
            <a:pPr marL="0" lvl="0" indent="0" algn="l" rtl="0">
              <a:lnSpc>
                <a:spcPct val="115000"/>
              </a:lnSpc>
              <a:spcBef>
                <a:spcPts val="0"/>
              </a:spcBef>
              <a:spcAft>
                <a:spcPts val="0"/>
              </a:spcAft>
              <a:buNone/>
            </a:pPr>
            <a:r>
              <a:rPr lang="en-US" sz="3600" b="1">
                <a:solidFill>
                  <a:srgbClr val="C1F400"/>
                </a:solidFill>
                <a:latin typeface="Open Sans"/>
                <a:ea typeface="Open Sans"/>
                <a:cs typeface="Open Sans"/>
                <a:sym typeface="Open Sans"/>
              </a:rPr>
              <a:t>DESIRED OUTCOMES</a:t>
            </a:r>
            <a:endParaRPr lang="en-US" sz="3600">
              <a:solidFill>
                <a:srgbClr val="C1F400"/>
              </a:solidFill>
              <a:latin typeface="Open Sans"/>
              <a:ea typeface="Open Sans"/>
              <a:cs typeface="Open Sans"/>
              <a:sym typeface="Open Sans"/>
            </a:endParaRPr>
          </a:p>
          <a:p>
            <a:pPr marL="0" lvl="0" indent="0" algn="l" rtl="0">
              <a:lnSpc>
                <a:spcPct val="115000"/>
              </a:lnSpc>
              <a:spcBef>
                <a:spcPts val="0"/>
              </a:spcBef>
              <a:spcAft>
                <a:spcPts val="0"/>
              </a:spcAft>
              <a:buClr>
                <a:schemeClr val="dk1"/>
              </a:buClr>
              <a:buSzPts val="1100"/>
              <a:buFont typeface="Arial"/>
              <a:buNone/>
            </a:pPr>
            <a:r>
              <a:rPr lang="en-US" sz="3600">
                <a:solidFill>
                  <a:schemeClr val="lt1"/>
                </a:solidFill>
                <a:latin typeface="Open Sans"/>
                <a:ea typeface="Open Sans"/>
                <a:cs typeface="Open Sans"/>
                <a:sym typeface="Open Sans"/>
              </a:rPr>
              <a:t>The final presentation should demonstrate your ability to apply data science techniques, derive meaningful insights from data, and provide practical, actionable recommendations to drive business value for the client organization, C5LA. The relevant data, code, presentation, and additional supporting materials should be posted to GitHub.</a:t>
            </a:r>
            <a:endParaRPr lang="en-US" sz="3600">
              <a:solidFill>
                <a:srgbClr val="C1F400"/>
              </a:solidFill>
              <a:latin typeface="Open Sans"/>
              <a:ea typeface="Open Sans"/>
              <a:cs typeface="Open Sans"/>
              <a:sym typeface="Open Sans"/>
            </a:endParaRPr>
          </a:p>
        </p:txBody>
      </p:sp>
    </p:spTree>
  </p:cSld>
  <p:clrMapOvr>
    <a:masterClrMapping/>
  </p:clrMapOvr>
  <p:extLst>
    <p:ext uri="{6950BFC3-D8DA-4A85-94F7-54DA5524770B}">
      <p188:commentRel xmlns:p188="http://schemas.microsoft.com/office/powerpoint/2018/8/main" r:id="rId3"/>
    </p:ext>
  </p:extLst>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1353"/>
        <p:cNvGrpSpPr/>
        <p:nvPr/>
      </p:nvGrpSpPr>
      <p:grpSpPr>
        <a:xfrm>
          <a:off x="0" y="0"/>
          <a:ext cx="0" cy="0"/>
          <a:chOff x="0" y="0"/>
          <a:chExt cx="0" cy="0"/>
        </a:xfrm>
      </p:grpSpPr>
      <p:sp>
        <p:nvSpPr>
          <p:cNvPr id="1354" name="Google Shape;1354;p103"/>
          <p:cNvSpPr txBox="1"/>
          <p:nvPr/>
        </p:nvSpPr>
        <p:spPr>
          <a:xfrm>
            <a:off x="1563479" y="1755935"/>
            <a:ext cx="21250692" cy="1292631"/>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Clr>
                <a:schemeClr val="dk1"/>
              </a:buClr>
              <a:buSzPts val="1100"/>
              <a:buFont typeface="Arial"/>
              <a:buNone/>
            </a:pPr>
            <a:r>
              <a:rPr lang="en-US" sz="7200">
                <a:solidFill>
                  <a:srgbClr val="002A44"/>
                </a:solidFill>
                <a:latin typeface="Montserrat Black"/>
                <a:ea typeface="Montserrat Black"/>
                <a:cs typeface="Montserrat Black"/>
                <a:sym typeface="Montserrat Black"/>
              </a:rPr>
              <a:t>Business context on the background of your capstone</a:t>
            </a:r>
            <a:endParaRPr lang="en-US" sz="1100">
              <a:solidFill>
                <a:schemeClr val="dk1"/>
              </a:solidFill>
            </a:endParaRPr>
          </a:p>
        </p:txBody>
      </p:sp>
      <p:sp>
        <p:nvSpPr>
          <p:cNvPr id="1355" name="Google Shape;1355;p103"/>
          <p:cNvSpPr txBox="1"/>
          <p:nvPr/>
        </p:nvSpPr>
        <p:spPr>
          <a:xfrm>
            <a:off x="2071424" y="5070814"/>
            <a:ext cx="20234802" cy="7140386"/>
          </a:xfrm>
          <a:prstGeom prst="rect">
            <a:avLst/>
          </a:prstGeom>
          <a:noFill/>
          <a:ln>
            <a:noFill/>
          </a:ln>
        </p:spPr>
        <p:txBody>
          <a:bodyPr spcFirstLastPara="1" wrap="square" lIns="91425" tIns="91425" rIns="91425" bIns="91425" anchor="t" anchorCtr="0">
            <a:spAutoFit/>
          </a:bodyPr>
          <a:lstStyle/>
          <a:p>
            <a:pPr marL="457200" lvl="0" indent="-457200" algn="l" rtl="0">
              <a:spcBef>
                <a:spcPts val="0"/>
              </a:spcBef>
              <a:spcAft>
                <a:spcPts val="600"/>
              </a:spcAft>
              <a:buClr>
                <a:srgbClr val="002A44"/>
              </a:buClr>
              <a:buSzPts val="3600"/>
              <a:buFont typeface="Montserrat"/>
              <a:buChar char="●"/>
            </a:pPr>
            <a:r>
              <a:rPr lang="en-US" sz="4400">
                <a:solidFill>
                  <a:srgbClr val="002A44"/>
                </a:solidFill>
                <a:latin typeface="Montserrat"/>
                <a:ea typeface="Montserrat"/>
                <a:cs typeface="Montserrat"/>
                <a:sym typeface="Montserrat"/>
              </a:rPr>
              <a:t>C5LA, a 501(c)(3) nonprofit, has a mission to change the odds for high-potential teens from under-resourced communities by inspiring them to pursue personal success, while preparing them for leadership roles in school, college, work, and their communities within the greater Los Angeles area. </a:t>
            </a:r>
          </a:p>
          <a:p>
            <a:pPr marL="457200" lvl="0" indent="-457200" algn="l" rtl="0">
              <a:spcBef>
                <a:spcPts val="0"/>
              </a:spcBef>
              <a:spcAft>
                <a:spcPts val="600"/>
              </a:spcAft>
              <a:buClr>
                <a:srgbClr val="002A44"/>
              </a:buClr>
              <a:buSzPts val="3600"/>
              <a:buFont typeface="Montserrat"/>
              <a:buChar char="●"/>
            </a:pPr>
            <a:r>
              <a:rPr lang="en-US" sz="4400">
                <a:solidFill>
                  <a:srgbClr val="002A44"/>
                </a:solidFill>
                <a:latin typeface="Montserrat"/>
                <a:ea typeface="Montserrat"/>
                <a:cs typeface="Montserrat"/>
                <a:sym typeface="Montserrat"/>
              </a:rPr>
              <a:t>They accomplish this through programming focused on youth leadership, mentorship, and professional development support for high school, college and young professionals. </a:t>
            </a:r>
          </a:p>
          <a:p>
            <a:pPr marL="457200" lvl="0" indent="-457200" algn="l" rtl="0">
              <a:spcBef>
                <a:spcPts val="0"/>
              </a:spcBef>
              <a:spcAft>
                <a:spcPts val="600"/>
              </a:spcAft>
              <a:buClr>
                <a:srgbClr val="002A44"/>
              </a:buClr>
              <a:buSzPts val="3600"/>
              <a:buFont typeface="Montserrat"/>
              <a:buChar char="●"/>
            </a:pPr>
            <a:r>
              <a:rPr lang="en-US" sz="4400">
                <a:solidFill>
                  <a:srgbClr val="002A44"/>
                </a:solidFill>
                <a:latin typeface="Montserrat"/>
                <a:ea typeface="Montserrat"/>
                <a:cs typeface="Montserrat"/>
                <a:sym typeface="Montserrat"/>
              </a:rPr>
              <a:t>To further its mission, C5LA would like to analyze donor and giving trends to better understand their donor base and help target future outreach.</a:t>
            </a:r>
          </a:p>
          <a:p>
            <a:pPr marL="0" lvl="0" indent="0" algn="l" rtl="0">
              <a:spcBef>
                <a:spcPts val="0"/>
              </a:spcBef>
              <a:spcAft>
                <a:spcPts val="600"/>
              </a:spcAft>
              <a:buNone/>
            </a:pPr>
            <a:endParaRPr sz="3600">
              <a:solidFill>
                <a:srgbClr val="002A44"/>
              </a:solidFill>
              <a:latin typeface="Montserrat"/>
              <a:ea typeface="Montserrat"/>
              <a:cs typeface="Montserrat"/>
              <a:sym typeface="Montserrat"/>
            </a:endParaRPr>
          </a:p>
        </p:txBody>
      </p:sp>
      <p:pic>
        <p:nvPicPr>
          <p:cNvPr id="2050" name="Picture 2" descr="C5LA">
            <a:extLst>
              <a:ext uri="{FF2B5EF4-FFF2-40B4-BE49-F238E27FC236}">
                <a16:creationId xmlns:a16="http://schemas.microsoft.com/office/drawing/2014/main" id="{5E762FAD-EB72-7B38-6705-55BE4E1CE28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280950" y="3295022"/>
            <a:ext cx="4857838" cy="167325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extLst>
    <p:ext uri="{6950BFC3-D8DA-4A85-94F7-54DA5524770B}">
      <p188:commentRel xmlns:p188="http://schemas.microsoft.com/office/powerpoint/2018/8/main" r:id="rId3"/>
    </p:ext>
  </p:extLs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DV_TOP" val="493.4643"/>
  <p:tag name="ADV_LEFT" val="148.479"/>
  <p:tag name="ADV_HEIGHT" val="14.54063"/>
  <p:tag name="ADV_WIDTH" val="367.5207"/>
  <p:tag name="ADV_COPYRIGHT" val="TRU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DV_TOP" val="493.4643"/>
  <p:tag name="ADV_LEFT" val="148.479"/>
  <p:tag name="ADV_HEIGHT" val="14.54063"/>
  <p:tag name="ADV_WIDTH" val="367.5207"/>
  <p:tag name="ADV_COPYRIGHT" val="TRU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reakthrough Tech Template">
  <a:themeElements>
    <a:clrScheme name="Office Them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reakthrough Tech Template">
  <a:themeElements>
    <a:clrScheme name="Office Them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KPMG Widescreen [16:9] Feb 2022">
  <a:themeElements>
    <a:clrScheme name="Custom Option">
      <a:dk1>
        <a:srgbClr val="000000"/>
      </a:dk1>
      <a:lt1>
        <a:sysClr val="window" lastClr="FFFFFF"/>
      </a:lt1>
      <a:dk2>
        <a:srgbClr val="00338D"/>
      </a:dk2>
      <a:lt2>
        <a:srgbClr val="ACEAFF"/>
      </a:lt2>
      <a:accent1>
        <a:srgbClr val="1E49E2"/>
      </a:accent1>
      <a:accent2>
        <a:srgbClr val="00338D"/>
      </a:accent2>
      <a:accent3>
        <a:srgbClr val="0C233C"/>
      </a:accent3>
      <a:accent4>
        <a:srgbClr val="00B8F5"/>
      </a:accent4>
      <a:accent5>
        <a:srgbClr val="7213EA"/>
      </a:accent5>
      <a:accent6>
        <a:srgbClr val="FD349C"/>
      </a:accent6>
      <a:hlink>
        <a:srgbClr val="1E49E2"/>
      </a:hlink>
      <a:folHlink>
        <a:srgbClr val="098E80"/>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610" tIns="54610" rIns="54610" bIns="54610" rtlCol="0" anchor="ctr"/>
      <a:lstStyle>
        <a:defPPr algn="l">
          <a:defRPr sz="15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Cobalt">
      <a:srgbClr val="1E49E2"/>
    </a:custClr>
    <a:custClr name="Pacific Blue">
      <a:srgbClr val="00B8F5"/>
    </a:custClr>
    <a:custClr name="Purple">
      <a:srgbClr val="7213EA"/>
    </a:custClr>
    <a:custClr name="Dark Blue">
      <a:srgbClr val="0C233C"/>
    </a:custClr>
    <a:custClr name="Light Blue">
      <a:srgbClr val="ACEAFF"/>
    </a:custClr>
    <a:custClr name="Pink">
      <a:srgbClr val="FD349C"/>
    </a:custClr>
    <a:custClr name="Blank">
      <a:srgbClr val="FFFFFF"/>
    </a:custClr>
    <a:custClr name="Blank">
      <a:srgbClr val="FFFFFF"/>
    </a:custClr>
    <a:custClr name="Blank">
      <a:srgbClr val="FFFFFF"/>
    </a:custClr>
    <a:custClr name="Blue">
      <a:srgbClr val="76D2FF"/>
    </a:custClr>
    <a:custClr name="Dark Purple">
      <a:srgbClr val="510DBC"/>
    </a:custClr>
    <a:custClr name="Light Purple">
      <a:srgbClr val="B497FF"/>
    </a:custClr>
    <a:custClr name="Dark Pink">
      <a:srgbClr val="AB0D82"/>
    </a:custClr>
    <a:custClr name="Light Pink">
      <a:srgbClr val="FFA3DA"/>
    </a:custClr>
    <a:custClr name="Dark Green">
      <a:srgbClr val="098E7E"/>
    </a:custClr>
    <a:custClr name="Green">
      <a:srgbClr val="00C0AE"/>
    </a:custClr>
    <a:custClr name="Light Green">
      <a:srgbClr val="63EBDA"/>
    </a:custClr>
    <a:custClr name="Blank">
      <a:srgbClr val="FFFFFF"/>
    </a:custClr>
    <a:custClr name="Blank">
      <a:srgbClr val="FFFFFF"/>
    </a:custClr>
    <a:custClr name="Gray 1">
      <a:srgbClr val="333333"/>
    </a:custClr>
    <a:custClr name="Gray 2">
      <a:srgbClr val="666666"/>
    </a:custClr>
    <a:custClr name="Gray 3">
      <a:srgbClr val="989898"/>
    </a:custClr>
    <a:custClr name="Gray 4">
      <a:srgbClr val="B2B2B2"/>
    </a:custClr>
    <a:custClr name="Gray 5">
      <a:srgbClr val="E5E5E5"/>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Presentation2" id="{98CD7E71-B12F-4CF6-868C-CAF4EE4B84B7}" vid="{D2E83BC6-E71D-4A5F-8214-19460D05D168}"/>
    </a:ext>
  </a:extLst>
</a:theme>
</file>

<file path=ppt/theme/theme4.xml><?xml version="1.0" encoding="utf-8"?>
<a:theme xmlns:a="http://schemas.openxmlformats.org/drawingml/2006/main" name="1_KPMG Widescreen [16:9] Feb 2022">
  <a:themeElements>
    <a:clrScheme name="Custom Option">
      <a:dk1>
        <a:srgbClr val="000000"/>
      </a:dk1>
      <a:lt1>
        <a:sysClr val="window" lastClr="FFFFFF"/>
      </a:lt1>
      <a:dk2>
        <a:srgbClr val="00338D"/>
      </a:dk2>
      <a:lt2>
        <a:srgbClr val="ACEAFF"/>
      </a:lt2>
      <a:accent1>
        <a:srgbClr val="1E49E2"/>
      </a:accent1>
      <a:accent2>
        <a:srgbClr val="00338D"/>
      </a:accent2>
      <a:accent3>
        <a:srgbClr val="0C233C"/>
      </a:accent3>
      <a:accent4>
        <a:srgbClr val="00B8F5"/>
      </a:accent4>
      <a:accent5>
        <a:srgbClr val="7213EA"/>
      </a:accent5>
      <a:accent6>
        <a:srgbClr val="FD349C"/>
      </a:accent6>
      <a:hlink>
        <a:srgbClr val="1E49E2"/>
      </a:hlink>
      <a:folHlink>
        <a:srgbClr val="098E80"/>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610" tIns="54610" rIns="54610" bIns="54610" rtlCol="0" anchor="ctr"/>
      <a:lstStyle>
        <a:defPPr algn="l">
          <a:defRPr sz="15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Cobalt">
      <a:srgbClr val="1E49E2"/>
    </a:custClr>
    <a:custClr name="Pacific Blue">
      <a:srgbClr val="00B8F5"/>
    </a:custClr>
    <a:custClr name="Purple">
      <a:srgbClr val="7213EA"/>
    </a:custClr>
    <a:custClr name="Dark Blue">
      <a:srgbClr val="0C233C"/>
    </a:custClr>
    <a:custClr name="Light Blue">
      <a:srgbClr val="ACEAFF"/>
    </a:custClr>
    <a:custClr name="Pink">
      <a:srgbClr val="FD349C"/>
    </a:custClr>
    <a:custClr name="Blank">
      <a:srgbClr val="FFFFFF"/>
    </a:custClr>
    <a:custClr name="Blank">
      <a:srgbClr val="FFFFFF"/>
    </a:custClr>
    <a:custClr name="Blank">
      <a:srgbClr val="FFFFFF"/>
    </a:custClr>
    <a:custClr name="Blue">
      <a:srgbClr val="76D2FF"/>
    </a:custClr>
    <a:custClr name="Dark Purple">
      <a:srgbClr val="510DBC"/>
    </a:custClr>
    <a:custClr name="Light Purple">
      <a:srgbClr val="B497FF"/>
    </a:custClr>
    <a:custClr name="Dark Pink">
      <a:srgbClr val="AB0D82"/>
    </a:custClr>
    <a:custClr name="Light Pink">
      <a:srgbClr val="FFA3DA"/>
    </a:custClr>
    <a:custClr name="Dark Green">
      <a:srgbClr val="098E7E"/>
    </a:custClr>
    <a:custClr name="Green">
      <a:srgbClr val="00C0AE"/>
    </a:custClr>
    <a:custClr name="Light Green">
      <a:srgbClr val="63EBDA"/>
    </a:custClr>
    <a:custClr name="Blank">
      <a:srgbClr val="FFFFFF"/>
    </a:custClr>
    <a:custClr name="Blank">
      <a:srgbClr val="FFFFFF"/>
    </a:custClr>
    <a:custClr name="Gray 1">
      <a:srgbClr val="333333"/>
    </a:custClr>
    <a:custClr name="Gray 2">
      <a:srgbClr val="666666"/>
    </a:custClr>
    <a:custClr name="Gray 3">
      <a:srgbClr val="989898"/>
    </a:custClr>
    <a:custClr name="Gray 4">
      <a:srgbClr val="B2B2B2"/>
    </a:custClr>
    <a:custClr name="Gray 5">
      <a:srgbClr val="E5E5E5"/>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Presentation3" id="{80A0E11E-06EA-4FAD-85C3-C40FEDD170D0}" vid="{C3D4F1FF-3FD8-4C0E-AD98-30A30E906AB3}"/>
    </a:ext>
  </a:extLst>
</a:theme>
</file>

<file path=ppt/theme/theme5.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E10E9901E3B1B4FBD12BFB703DC4114" ma:contentTypeVersion="14" ma:contentTypeDescription="Create a new document." ma:contentTypeScope="" ma:versionID="7a836af2095cb338320fe79d7d956905">
  <xsd:schema xmlns:xsd="http://www.w3.org/2001/XMLSchema" xmlns:xs="http://www.w3.org/2001/XMLSchema" xmlns:p="http://schemas.microsoft.com/office/2006/metadata/properties" xmlns:ns2="e76d1f62-2bd6-484e-8566-c2cdffa986db" xmlns:ns3="1bea2c2e-b4c6-4c39-b5d5-174107d6d3a0" targetNamespace="http://schemas.microsoft.com/office/2006/metadata/properties" ma:root="true" ma:fieldsID="7934ce2f30fb593d970dd2c7dbf52791" ns2:_="" ns3:_="">
    <xsd:import namespace="e76d1f62-2bd6-484e-8566-c2cdffa986db"/>
    <xsd:import namespace="1bea2c2e-b4c6-4c39-b5d5-174107d6d3a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MediaServiceObjectDetectorVersions" minOccurs="0"/>
                <xsd:element ref="ns2:MediaServiceSearchProperties" minOccurs="0"/>
                <xsd:element ref="ns2:lcf76f155ced4ddcb4097134ff3c332f" minOccurs="0"/>
                <xsd:element ref="ns3:TaxCatchAll" minOccurs="0"/>
                <xsd:element ref="ns2:MediaServiceGenerationTime" minOccurs="0"/>
                <xsd:element ref="ns2:MediaServiceEventHashCode"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76d1f62-2bd6-484e-8566-c2cdffa986d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8883d318-f35c-4577-94aa-4c8e836d27a7" ma:termSetId="09814cd3-568e-fe90-9814-8d621ff8fb84" ma:anchorId="fba54fb3-c3e1-fe81-a776-ca4b69148c4d" ma:open="true" ma:isKeyword="false">
      <xsd:complexType>
        <xsd:sequence>
          <xsd:element ref="pc:Terms" minOccurs="0" maxOccurs="1"/>
        </xsd:sequence>
      </xsd:complex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bea2c2e-b4c6-4c39-b5d5-174107d6d3a0"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c18c21db-15fb-4fe5-a7e8-e28984802080}" ma:internalName="TaxCatchAll" ma:showField="CatchAllData" ma:web="1bea2c2e-b4c6-4c39-b5d5-174107d6d3a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76d1f62-2bd6-484e-8566-c2cdffa986db">
      <Terms xmlns="http://schemas.microsoft.com/office/infopath/2007/PartnerControls"/>
    </lcf76f155ced4ddcb4097134ff3c332f>
    <TaxCatchAll xmlns="1bea2c2e-b4c6-4c39-b5d5-174107d6d3a0" xsi:nil="true"/>
  </documentManagement>
</p:properties>
</file>

<file path=customXml/itemProps1.xml><?xml version="1.0" encoding="utf-8"?>
<ds:datastoreItem xmlns:ds="http://schemas.openxmlformats.org/officeDocument/2006/customXml" ds:itemID="{C6195F98-725D-4D49-ABF0-E51EBA393360}">
  <ds:schemaRefs>
    <ds:schemaRef ds:uri="1bea2c2e-b4c6-4c39-b5d5-174107d6d3a0"/>
    <ds:schemaRef ds:uri="e76d1f62-2bd6-484e-8566-c2cdffa986d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D7F5FF6-471E-4D86-9182-C78CE6A63F4A}">
  <ds:schemaRefs>
    <ds:schemaRef ds:uri="http://schemas.microsoft.com/sharepoint/v3/contenttype/forms"/>
  </ds:schemaRefs>
</ds:datastoreItem>
</file>

<file path=customXml/itemProps3.xml><?xml version="1.0" encoding="utf-8"?>
<ds:datastoreItem xmlns:ds="http://schemas.openxmlformats.org/officeDocument/2006/customXml" ds:itemID="{94C30C7A-C9EF-4DB8-B7AD-04105CE45066}">
  <ds:schemaRefs>
    <ds:schemaRef ds:uri="1bea2c2e-b4c6-4c39-b5d5-174107d6d3a0"/>
    <ds:schemaRef ds:uri="e76d1f62-2bd6-484e-8566-c2cdffa986db"/>
    <ds:schemaRef ds:uri="http://www.w3.org/XML/1998/namespace"/>
    <ds:schemaRef ds:uri="http://purl.org/dc/elements/1.1/"/>
    <ds:schemaRef ds:uri="http://purl.org/dc/terms/"/>
    <ds:schemaRef ds:uri="http://schemas.microsoft.com/office/2006/metadata/properties"/>
    <ds:schemaRef ds:uri="http://schemas.openxmlformats.org/package/2006/metadata/core-properties"/>
    <ds:schemaRef ds:uri="http://purl.org/dc/dcmitype/"/>
    <ds:schemaRef ds:uri="http://schemas.microsoft.com/office/2006/documentManagement/types"/>
    <ds:schemaRef ds:uri="http://schemas.microsoft.com/office/infopath/2007/PartnerControls"/>
  </ds:schemaRefs>
</ds:datastoreItem>
</file>

<file path=docMetadata/LabelInfo.xml><?xml version="1.0" encoding="utf-8"?>
<clbl:labelList xmlns:clbl="http://schemas.microsoft.com/office/2020/mipLabelMetadata">
  <clbl:label id="{deff24bb-2089-4400-8c8e-f71e680378b2}" enabled="0" method="" siteId="{deff24bb-2089-4400-8c8e-f71e680378b2}" removed="1"/>
</clbl:labelList>
</file>

<file path=docProps/app.xml><?xml version="1.0" encoding="utf-8"?>
<Properties xmlns="http://schemas.openxmlformats.org/officeDocument/2006/extended-properties" xmlns:vt="http://schemas.openxmlformats.org/officeDocument/2006/docPropsVTypes">
  <TotalTime>0</TotalTime>
  <Words>5893</Words>
  <Application>Microsoft Office PowerPoint</Application>
  <PresentationFormat>Custom</PresentationFormat>
  <Paragraphs>547</Paragraphs>
  <Slides>35</Slides>
  <Notes>33</Notes>
  <HiddenSlides>0</HiddenSlides>
  <MMClips>0</MMClips>
  <ScaleCrop>false</ScaleCrop>
  <HeadingPairs>
    <vt:vector size="8" baseType="variant">
      <vt:variant>
        <vt:lpstr>Fonts Used</vt:lpstr>
      </vt:variant>
      <vt:variant>
        <vt:i4>16</vt:i4>
      </vt:variant>
      <vt:variant>
        <vt:lpstr>Theme</vt:lpstr>
      </vt:variant>
      <vt:variant>
        <vt:i4>4</vt:i4>
      </vt:variant>
      <vt:variant>
        <vt:lpstr>Embedded OLE Servers</vt:lpstr>
      </vt:variant>
      <vt:variant>
        <vt:i4>1</vt:i4>
      </vt:variant>
      <vt:variant>
        <vt:lpstr>Slide Titles</vt:lpstr>
      </vt:variant>
      <vt:variant>
        <vt:i4>35</vt:i4>
      </vt:variant>
    </vt:vector>
  </HeadingPairs>
  <TitlesOfParts>
    <vt:vector size="56" baseType="lpstr">
      <vt:lpstr>KPMG Bold</vt:lpstr>
      <vt:lpstr>Aptos</vt:lpstr>
      <vt:lpstr>Courier New</vt:lpstr>
      <vt:lpstr>Century Gothic</vt:lpstr>
      <vt:lpstr>Open Sans SemiBold</vt:lpstr>
      <vt:lpstr>Helvetica Neue</vt:lpstr>
      <vt:lpstr>Arial</vt:lpstr>
      <vt:lpstr>Montserrat Medium</vt:lpstr>
      <vt:lpstr>Montserrat</vt:lpstr>
      <vt:lpstr>Wingdings</vt:lpstr>
      <vt:lpstr>Open Sans Light</vt:lpstr>
      <vt:lpstr>Times</vt:lpstr>
      <vt:lpstr>Calibri</vt:lpstr>
      <vt:lpstr>Montserrat SemiBold</vt:lpstr>
      <vt:lpstr>Open Sans</vt:lpstr>
      <vt:lpstr>Montserrat Black</vt:lpstr>
      <vt:lpstr>Breakthrough Tech Template</vt:lpstr>
      <vt:lpstr>Breakthrough Tech Template</vt:lpstr>
      <vt:lpstr>KPMG Widescreen [16:9] Feb 2022</vt:lpstr>
      <vt:lpstr>1_KPMG Widescreen [16:9] Feb 2022</vt:lpstr>
      <vt:lpstr>think-cell Slide</vt:lpstr>
      <vt:lpstr>Break Through Tech AI Studio</vt:lpstr>
      <vt:lpstr>PowerPoint Presentation</vt:lpstr>
      <vt:lpstr>Session Agenda</vt:lpstr>
      <vt:lpstr>KPMG Overview</vt:lpstr>
      <vt:lpstr>PowerPoint Presentation</vt:lpstr>
      <vt:lpstr>PowerPoint Presentation</vt:lpstr>
      <vt:lpstr>Challenge Overview</vt:lpstr>
      <vt:lpstr>AI Studio Challenge Project Overview</vt:lpstr>
      <vt:lpstr>PowerPoint Presentation</vt:lpstr>
      <vt:lpstr>Final Presentation Expectations</vt:lpstr>
      <vt:lpstr>Data Overview</vt:lpstr>
      <vt:lpstr>PowerPoint Presentation</vt:lpstr>
      <vt:lpstr>PowerPoint Presentation</vt:lpstr>
      <vt:lpstr>PowerPoint Presentation</vt:lpstr>
      <vt:lpstr>PowerPoint Presentation</vt:lpstr>
      <vt:lpstr>PowerPoint Presentation</vt:lpstr>
      <vt:lpstr>Machine Learning Approach</vt:lpstr>
      <vt:lpstr>PowerPoint Presentation</vt:lpstr>
      <vt:lpstr>PowerPoint Presentation</vt:lpstr>
      <vt:lpstr>PowerPoint Presentation</vt:lpstr>
      <vt:lpstr>PowerPoint Presentation</vt:lpstr>
      <vt:lpstr>Project and Milestones</vt:lpstr>
      <vt:lpstr>PowerPoint Presentation</vt:lpstr>
      <vt:lpstr>Suggested Process Approach</vt:lpstr>
      <vt:lpstr>Milestone 1 Expectations</vt:lpstr>
      <vt:lpstr>Understand the problem</vt:lpstr>
      <vt:lpstr>Understand the Data</vt:lpstr>
      <vt:lpstr>Data preprocessing</vt:lpstr>
      <vt:lpstr>Exploratory Data Analysis  </vt:lpstr>
      <vt:lpstr>What to expect: Next steps</vt:lpstr>
      <vt:lpstr>Iterate: Build and evaluate your model  We will review more detail as we approach Milestone 2 after the 2nd Maker Day</vt:lpstr>
      <vt:lpstr>Put it all together in a final presentation  </vt:lpstr>
      <vt:lpstr>How we’ll work together this semester</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uidance for filling in this template</dc:title>
  <dc:creator>Dao, Khoi</dc:creator>
  <cp:lastModifiedBy>Dao, Khoi</cp:lastModifiedBy>
  <cp:revision>1</cp:revision>
  <dcterms:modified xsi:type="dcterms:W3CDTF">2024-08-23T16:22: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E10E9901E3B1B4FBD12BFB703DC4114</vt:lpwstr>
  </property>
  <property fmtid="{D5CDD505-2E9C-101B-9397-08002B2CF9AE}" pid="3" name="MediaServiceImageTags">
    <vt:lpwstr/>
  </property>
</Properties>
</file>